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9.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0.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9" r:id="rId2"/>
    <p:sldMasterId id="2147483729" r:id="rId3"/>
    <p:sldMasterId id="2147483738" r:id="rId4"/>
    <p:sldMasterId id="2147483755" r:id="rId5"/>
    <p:sldMasterId id="2147483791" r:id="rId6"/>
    <p:sldMasterId id="2147483796" r:id="rId7"/>
    <p:sldMasterId id="2147483806" r:id="rId8"/>
    <p:sldMasterId id="2147483811" r:id="rId9"/>
    <p:sldMasterId id="2147483818" r:id="rId10"/>
    <p:sldMasterId id="2147483831" r:id="rId11"/>
  </p:sldMasterIdLst>
  <p:notesMasterIdLst>
    <p:notesMasterId r:id="rId45"/>
  </p:notesMasterIdLst>
  <p:sldIdLst>
    <p:sldId id="256" r:id="rId12"/>
    <p:sldId id="504" r:id="rId13"/>
    <p:sldId id="2147308911" r:id="rId14"/>
    <p:sldId id="2147308935" r:id="rId15"/>
    <p:sldId id="2147308973" r:id="rId16"/>
    <p:sldId id="740" r:id="rId17"/>
    <p:sldId id="2147308974" r:id="rId18"/>
    <p:sldId id="437" r:id="rId19"/>
    <p:sldId id="438" r:id="rId20"/>
    <p:sldId id="439" r:id="rId21"/>
    <p:sldId id="440" r:id="rId22"/>
    <p:sldId id="441" r:id="rId23"/>
    <p:sldId id="442" r:id="rId24"/>
    <p:sldId id="443" r:id="rId25"/>
    <p:sldId id="444" r:id="rId26"/>
    <p:sldId id="445" r:id="rId27"/>
    <p:sldId id="446" r:id="rId28"/>
    <p:sldId id="447" r:id="rId29"/>
    <p:sldId id="448" r:id="rId30"/>
    <p:sldId id="449" r:id="rId31"/>
    <p:sldId id="450" r:id="rId32"/>
    <p:sldId id="2147308975" r:id="rId33"/>
    <p:sldId id="2147308969" r:id="rId34"/>
    <p:sldId id="1867" r:id="rId35"/>
    <p:sldId id="2147308910" r:id="rId36"/>
    <p:sldId id="2147308977" r:id="rId37"/>
    <p:sldId id="494" r:id="rId38"/>
    <p:sldId id="2147308971" r:id="rId39"/>
    <p:sldId id="426" r:id="rId40"/>
    <p:sldId id="2147308978" r:id="rId41"/>
    <p:sldId id="655" r:id="rId42"/>
    <p:sldId id="2147308976" r:id="rId43"/>
    <p:sldId id="373" r:id="rId44"/>
  </p:sldIdLst>
  <p:sldSz cx="12192000" cy="6858000"/>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454AE4BC-B66C-4C75-813A-C55C80C338C9}">
          <p14:sldIdLst>
            <p14:sldId id="256"/>
            <p14:sldId id="504"/>
            <p14:sldId id="2147308911"/>
            <p14:sldId id="2147308935"/>
            <p14:sldId id="2147308973"/>
            <p14:sldId id="740"/>
            <p14:sldId id="2147308974"/>
            <p14:sldId id="437"/>
            <p14:sldId id="438"/>
            <p14:sldId id="439"/>
            <p14:sldId id="440"/>
            <p14:sldId id="441"/>
            <p14:sldId id="442"/>
            <p14:sldId id="443"/>
            <p14:sldId id="444"/>
            <p14:sldId id="445"/>
            <p14:sldId id="446"/>
            <p14:sldId id="447"/>
            <p14:sldId id="448"/>
            <p14:sldId id="449"/>
            <p14:sldId id="450"/>
            <p14:sldId id="2147308975"/>
            <p14:sldId id="2147308969"/>
            <p14:sldId id="1867"/>
            <p14:sldId id="2147308910"/>
            <p14:sldId id="2147308977"/>
            <p14:sldId id="494"/>
            <p14:sldId id="2147308971"/>
            <p14:sldId id="426"/>
            <p14:sldId id="2147308978"/>
            <p14:sldId id="655"/>
            <p14:sldId id="2147308976"/>
            <p14:sldId id="37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1A5BC7-1F6C-4DE3-828E-EA8480D0E616}" v="2" dt="2026-02-17T09:00:12.287"/>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3" autoAdjust="0"/>
    <p:restoredTop sz="94660"/>
  </p:normalViewPr>
  <p:slideViewPr>
    <p:cSldViewPr snapToGrid="0">
      <p:cViewPr varScale="1">
        <p:scale>
          <a:sx n="117" d="100"/>
          <a:sy n="117" d="100"/>
        </p:scale>
        <p:origin x="396" y="102"/>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theme" Target="theme/theme1.xml"/><Relationship Id="rId8" Type="http://schemas.openxmlformats.org/officeDocument/2006/relationships/slideMaster" Target="slideMasters/slideMaster8.xml"/><Relationship Id="rId51"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il Solvind" userId="e90a48f4-1cf5-48a2-a964-a4aae31414c1" providerId="ADAL" clId="{42C7080A-448B-4C44-9661-CF11DC9899CA}"/>
    <pc:docChg chg="custSel addSld delSld modSld sldOrd modSection modNotesMaster">
      <pc:chgData name="Emil Solvind" userId="e90a48f4-1cf5-48a2-a964-a4aae31414c1" providerId="ADAL" clId="{42C7080A-448B-4C44-9661-CF11DC9899CA}" dt="2026-02-17T09:00:12.287" v="1055"/>
      <pc:docMkLst>
        <pc:docMk/>
      </pc:docMkLst>
      <pc:sldChg chg="modSp mod">
        <pc:chgData name="Emil Solvind" userId="e90a48f4-1cf5-48a2-a964-a4aae31414c1" providerId="ADAL" clId="{42C7080A-448B-4C44-9661-CF11DC9899CA}" dt="2026-01-29T11:54:53.672" v="5" actId="20577"/>
        <pc:sldMkLst>
          <pc:docMk/>
          <pc:sldMk cId="978948870" sldId="256"/>
        </pc:sldMkLst>
        <pc:spChg chg="mod">
          <ac:chgData name="Emil Solvind" userId="e90a48f4-1cf5-48a2-a964-a4aae31414c1" providerId="ADAL" clId="{42C7080A-448B-4C44-9661-CF11DC9899CA}" dt="2026-01-29T11:54:53.672" v="5" actId="20577"/>
          <ac:spMkLst>
            <pc:docMk/>
            <pc:sldMk cId="978948870" sldId="256"/>
            <ac:spMk id="3" creationId="{CE5BF6C3-7E5F-4F97-A443-E94353FEDA53}"/>
          </ac:spMkLst>
        </pc:spChg>
      </pc:sldChg>
      <pc:sldChg chg="add">
        <pc:chgData name="Emil Solvind" userId="e90a48f4-1cf5-48a2-a964-a4aae31414c1" providerId="ADAL" clId="{42C7080A-448B-4C44-9661-CF11DC9899CA}" dt="2026-02-03T09:27:40.232" v="183"/>
        <pc:sldMkLst>
          <pc:docMk/>
          <pc:sldMk cId="1720833042" sldId="426"/>
        </pc:sldMkLst>
      </pc:sldChg>
      <pc:sldChg chg="add">
        <pc:chgData name="Emil Solvind" userId="e90a48f4-1cf5-48a2-a964-a4aae31414c1" providerId="ADAL" clId="{42C7080A-448B-4C44-9661-CF11DC9899CA}" dt="2026-02-02T12:40:22.452" v="41"/>
        <pc:sldMkLst>
          <pc:docMk/>
          <pc:sldMk cId="99354482" sldId="437"/>
        </pc:sldMkLst>
      </pc:sldChg>
      <pc:sldChg chg="modSp add mod">
        <pc:chgData name="Emil Solvind" userId="e90a48f4-1cf5-48a2-a964-a4aae31414c1" providerId="ADAL" clId="{42C7080A-448B-4C44-9661-CF11DC9899CA}" dt="2026-02-02T12:41:47.932" v="88" actId="20577"/>
        <pc:sldMkLst>
          <pc:docMk/>
          <pc:sldMk cId="2547428082" sldId="438"/>
        </pc:sldMkLst>
        <pc:spChg chg="mod">
          <ac:chgData name="Emil Solvind" userId="e90a48f4-1cf5-48a2-a964-a4aae31414c1" providerId="ADAL" clId="{42C7080A-448B-4C44-9661-CF11DC9899CA}" dt="2026-02-02T12:41:47.932" v="88" actId="20577"/>
          <ac:spMkLst>
            <pc:docMk/>
            <pc:sldMk cId="2547428082" sldId="438"/>
            <ac:spMk id="6147" creationId="{608514F0-9736-62BB-BE43-FDB4BDD4F915}"/>
          </ac:spMkLst>
        </pc:spChg>
      </pc:sldChg>
      <pc:sldChg chg="add">
        <pc:chgData name="Emil Solvind" userId="e90a48f4-1cf5-48a2-a964-a4aae31414c1" providerId="ADAL" clId="{42C7080A-448B-4C44-9661-CF11DC9899CA}" dt="2026-02-02T12:40:22.452" v="41"/>
        <pc:sldMkLst>
          <pc:docMk/>
          <pc:sldMk cId="2446954554" sldId="439"/>
        </pc:sldMkLst>
      </pc:sldChg>
      <pc:sldChg chg="add">
        <pc:chgData name="Emil Solvind" userId="e90a48f4-1cf5-48a2-a964-a4aae31414c1" providerId="ADAL" clId="{42C7080A-448B-4C44-9661-CF11DC9899CA}" dt="2026-02-02T12:40:22.452" v="41"/>
        <pc:sldMkLst>
          <pc:docMk/>
          <pc:sldMk cId="587317898" sldId="440"/>
        </pc:sldMkLst>
      </pc:sldChg>
      <pc:sldChg chg="modSp add mod">
        <pc:chgData name="Emil Solvind" userId="e90a48f4-1cf5-48a2-a964-a4aae31414c1" providerId="ADAL" clId="{42C7080A-448B-4C44-9661-CF11DC9899CA}" dt="2026-02-02T12:42:13.905" v="94" actId="20577"/>
        <pc:sldMkLst>
          <pc:docMk/>
          <pc:sldMk cId="2235566908" sldId="441"/>
        </pc:sldMkLst>
        <pc:graphicFrameChg chg="modGraphic">
          <ac:chgData name="Emil Solvind" userId="e90a48f4-1cf5-48a2-a964-a4aae31414c1" providerId="ADAL" clId="{42C7080A-448B-4C44-9661-CF11DC9899CA}" dt="2026-02-02T12:42:13.905" v="94" actId="20577"/>
          <ac:graphicFrameMkLst>
            <pc:docMk/>
            <pc:sldMk cId="2235566908" sldId="441"/>
            <ac:graphicFrameMk id="9221" creationId="{009ACBBB-DCC6-FDC0-D566-CBD8BCD59CBC}"/>
          </ac:graphicFrameMkLst>
        </pc:graphicFrameChg>
      </pc:sldChg>
      <pc:sldChg chg="modSp add mod">
        <pc:chgData name="Emil Solvind" userId="e90a48f4-1cf5-48a2-a964-a4aae31414c1" providerId="ADAL" clId="{42C7080A-448B-4C44-9661-CF11DC9899CA}" dt="2026-02-02T12:42:33.067" v="95" actId="6549"/>
        <pc:sldMkLst>
          <pc:docMk/>
          <pc:sldMk cId="3634284995" sldId="442"/>
        </pc:sldMkLst>
        <pc:spChg chg="mod">
          <ac:chgData name="Emil Solvind" userId="e90a48f4-1cf5-48a2-a964-a4aae31414c1" providerId="ADAL" clId="{42C7080A-448B-4C44-9661-CF11DC9899CA}" dt="2026-02-02T12:42:33.067" v="95" actId="6549"/>
          <ac:spMkLst>
            <pc:docMk/>
            <pc:sldMk cId="3634284995" sldId="442"/>
            <ac:spMk id="3" creationId="{38433EC5-3532-E882-9795-C08B7CCBB2B2}"/>
          </ac:spMkLst>
        </pc:spChg>
      </pc:sldChg>
      <pc:sldChg chg="modSp add mod">
        <pc:chgData name="Emil Solvind" userId="e90a48f4-1cf5-48a2-a964-a4aae31414c1" providerId="ADAL" clId="{42C7080A-448B-4C44-9661-CF11DC9899CA}" dt="2026-02-02T12:43:09.518" v="97" actId="478"/>
        <pc:sldMkLst>
          <pc:docMk/>
          <pc:sldMk cId="335495546" sldId="443"/>
        </pc:sldMkLst>
        <pc:graphicFrameChg chg="mod modGraphic">
          <ac:chgData name="Emil Solvind" userId="e90a48f4-1cf5-48a2-a964-a4aae31414c1" providerId="ADAL" clId="{42C7080A-448B-4C44-9661-CF11DC9899CA}" dt="2026-02-02T12:43:09.518" v="97" actId="478"/>
          <ac:graphicFrameMkLst>
            <pc:docMk/>
            <pc:sldMk cId="335495546" sldId="443"/>
            <ac:graphicFrameMk id="22532" creationId="{BA263FEE-0335-4732-9DAE-0B4AF682C7D0}"/>
          </ac:graphicFrameMkLst>
        </pc:graphicFrameChg>
      </pc:sldChg>
      <pc:sldChg chg="modSp add mod">
        <pc:chgData name="Emil Solvind" userId="e90a48f4-1cf5-48a2-a964-a4aae31414c1" providerId="ADAL" clId="{42C7080A-448B-4C44-9661-CF11DC9899CA}" dt="2026-02-02T12:44:06.118" v="126" actId="5793"/>
        <pc:sldMkLst>
          <pc:docMk/>
          <pc:sldMk cId="3750263466" sldId="444"/>
        </pc:sldMkLst>
        <pc:spChg chg="mod">
          <ac:chgData name="Emil Solvind" userId="e90a48f4-1cf5-48a2-a964-a4aae31414c1" providerId="ADAL" clId="{42C7080A-448B-4C44-9661-CF11DC9899CA}" dt="2026-02-02T12:44:06.118" v="126" actId="5793"/>
          <ac:spMkLst>
            <pc:docMk/>
            <pc:sldMk cId="3750263466" sldId="444"/>
            <ac:spMk id="3" creationId="{263EC2C8-5BB2-5537-7A68-59315039E71D}"/>
          </ac:spMkLst>
        </pc:spChg>
      </pc:sldChg>
      <pc:sldChg chg="add">
        <pc:chgData name="Emil Solvind" userId="e90a48f4-1cf5-48a2-a964-a4aae31414c1" providerId="ADAL" clId="{42C7080A-448B-4C44-9661-CF11DC9899CA}" dt="2026-02-02T12:40:22.452" v="41"/>
        <pc:sldMkLst>
          <pc:docMk/>
          <pc:sldMk cId="1562697306" sldId="445"/>
        </pc:sldMkLst>
      </pc:sldChg>
      <pc:sldChg chg="add">
        <pc:chgData name="Emil Solvind" userId="e90a48f4-1cf5-48a2-a964-a4aae31414c1" providerId="ADAL" clId="{42C7080A-448B-4C44-9661-CF11DC9899CA}" dt="2026-02-02T12:40:22.452" v="41"/>
        <pc:sldMkLst>
          <pc:docMk/>
          <pc:sldMk cId="1511952127" sldId="446"/>
        </pc:sldMkLst>
      </pc:sldChg>
      <pc:sldChg chg="add">
        <pc:chgData name="Emil Solvind" userId="e90a48f4-1cf5-48a2-a964-a4aae31414c1" providerId="ADAL" clId="{42C7080A-448B-4C44-9661-CF11DC9899CA}" dt="2026-02-02T12:40:22.452" v="41"/>
        <pc:sldMkLst>
          <pc:docMk/>
          <pc:sldMk cId="769469365" sldId="447"/>
        </pc:sldMkLst>
      </pc:sldChg>
      <pc:sldChg chg="modSp add mod">
        <pc:chgData name="Emil Solvind" userId="e90a48f4-1cf5-48a2-a964-a4aae31414c1" providerId="ADAL" clId="{42C7080A-448B-4C44-9661-CF11DC9899CA}" dt="2026-02-05T11:24:12.514" v="188" actId="6549"/>
        <pc:sldMkLst>
          <pc:docMk/>
          <pc:sldMk cId="1812579216" sldId="448"/>
        </pc:sldMkLst>
        <pc:spChg chg="mod">
          <ac:chgData name="Emil Solvind" userId="e90a48f4-1cf5-48a2-a964-a4aae31414c1" providerId="ADAL" clId="{42C7080A-448B-4C44-9661-CF11DC9899CA}" dt="2026-02-05T11:24:12.514" v="188" actId="6549"/>
          <ac:spMkLst>
            <pc:docMk/>
            <pc:sldMk cId="1812579216" sldId="448"/>
            <ac:spMk id="95235" creationId="{70E2EC81-C7C7-7212-5049-84C7538D63A0}"/>
          </ac:spMkLst>
        </pc:spChg>
      </pc:sldChg>
      <pc:sldChg chg="add">
        <pc:chgData name="Emil Solvind" userId="e90a48f4-1cf5-48a2-a964-a4aae31414c1" providerId="ADAL" clId="{42C7080A-448B-4C44-9661-CF11DC9899CA}" dt="2026-02-02T12:40:22.452" v="41"/>
        <pc:sldMkLst>
          <pc:docMk/>
          <pc:sldMk cId="3139797894" sldId="449"/>
        </pc:sldMkLst>
      </pc:sldChg>
      <pc:sldChg chg="add">
        <pc:chgData name="Emil Solvind" userId="e90a48f4-1cf5-48a2-a964-a4aae31414c1" providerId="ADAL" clId="{42C7080A-448B-4C44-9661-CF11DC9899CA}" dt="2026-02-02T12:40:22.452" v="41"/>
        <pc:sldMkLst>
          <pc:docMk/>
          <pc:sldMk cId="1894340741" sldId="450"/>
        </pc:sldMkLst>
      </pc:sldChg>
      <pc:sldChg chg="addSp delSp modSp mod">
        <pc:chgData name="Emil Solvind" userId="e90a48f4-1cf5-48a2-a964-a4aae31414c1" providerId="ADAL" clId="{42C7080A-448B-4C44-9661-CF11DC9899CA}" dt="2026-02-06T11:04:33.897" v="950" actId="6549"/>
        <pc:sldMkLst>
          <pc:docMk/>
          <pc:sldMk cId="3191469662" sldId="494"/>
        </pc:sldMkLst>
        <pc:spChg chg="mod">
          <ac:chgData name="Emil Solvind" userId="e90a48f4-1cf5-48a2-a964-a4aae31414c1" providerId="ADAL" clId="{42C7080A-448B-4C44-9661-CF11DC9899CA}" dt="2026-02-06T11:04:33.897" v="950" actId="6549"/>
          <ac:spMkLst>
            <pc:docMk/>
            <pc:sldMk cId="3191469662" sldId="494"/>
            <ac:spMk id="2" creationId="{39462324-7EF1-4F62-ACD5-67B457538559}"/>
          </ac:spMkLst>
        </pc:spChg>
        <pc:graphicFrameChg chg="add mod">
          <ac:chgData name="Emil Solvind" userId="e90a48f4-1cf5-48a2-a964-a4aae31414c1" providerId="ADAL" clId="{42C7080A-448B-4C44-9661-CF11DC9899CA}" dt="2026-02-06T11:04:28.054" v="937" actId="1076"/>
          <ac:graphicFrameMkLst>
            <pc:docMk/>
            <pc:sldMk cId="3191469662" sldId="494"/>
            <ac:graphicFrameMk id="3" creationId="{0B048E87-70E3-69CF-C424-E277ED5A2627}"/>
          </ac:graphicFrameMkLst>
        </pc:graphicFrameChg>
      </pc:sldChg>
      <pc:sldChg chg="addSp delSp modSp mod">
        <pc:chgData name="Emil Solvind" userId="e90a48f4-1cf5-48a2-a964-a4aae31414c1" providerId="ADAL" clId="{42C7080A-448B-4C44-9661-CF11DC9899CA}" dt="2026-02-06T11:05:58.122" v="955" actId="26606"/>
        <pc:sldMkLst>
          <pc:docMk/>
          <pc:sldMk cId="21826989" sldId="655"/>
        </pc:sldMkLst>
        <pc:spChg chg="add">
          <ac:chgData name="Emil Solvind" userId="e90a48f4-1cf5-48a2-a964-a4aae31414c1" providerId="ADAL" clId="{42C7080A-448B-4C44-9661-CF11DC9899CA}" dt="2026-02-06T11:05:58.122" v="955" actId="26606"/>
          <ac:spMkLst>
            <pc:docMk/>
            <pc:sldMk cId="21826989" sldId="655"/>
            <ac:spMk id="290" creationId="{42A4FC2C-047E-45A5-965D-8E1E3BF09BC6}"/>
          </ac:spMkLst>
        </pc:spChg>
        <pc:picChg chg="add mod">
          <ac:chgData name="Emil Solvind" userId="e90a48f4-1cf5-48a2-a964-a4aae31414c1" providerId="ADAL" clId="{42C7080A-448B-4C44-9661-CF11DC9899CA}" dt="2026-02-06T11:05:58.122" v="955" actId="26606"/>
          <ac:picMkLst>
            <pc:docMk/>
            <pc:sldMk cId="21826989" sldId="655"/>
            <ac:picMk id="4" creationId="{3E368312-70E3-3D59-E570-3F900A2A2C85}"/>
          </ac:picMkLst>
        </pc:picChg>
      </pc:sldChg>
      <pc:sldChg chg="ord">
        <pc:chgData name="Emil Solvind" userId="e90a48f4-1cf5-48a2-a964-a4aae31414c1" providerId="ADAL" clId="{42C7080A-448B-4C44-9661-CF11DC9899CA}" dt="2026-01-29T12:08:05.553" v="14"/>
        <pc:sldMkLst>
          <pc:docMk/>
          <pc:sldMk cId="3638655044" sldId="740"/>
        </pc:sldMkLst>
      </pc:sldChg>
      <pc:sldChg chg="delSp modSp add mod setBg delDesignElem">
        <pc:chgData name="Emil Solvind" userId="e90a48f4-1cf5-48a2-a964-a4aae31414c1" providerId="ADAL" clId="{42C7080A-448B-4C44-9661-CF11DC9899CA}" dt="2026-02-06T10:20:42.292" v="234" actId="20577"/>
        <pc:sldMkLst>
          <pc:docMk/>
          <pc:sldMk cId="1767603529" sldId="2147308910"/>
        </pc:sldMkLst>
        <pc:spChg chg="mod">
          <ac:chgData name="Emil Solvind" userId="e90a48f4-1cf5-48a2-a964-a4aae31414c1" providerId="ADAL" clId="{42C7080A-448B-4C44-9661-CF11DC9899CA}" dt="2026-02-06T10:20:42.292" v="234" actId="20577"/>
          <ac:spMkLst>
            <pc:docMk/>
            <pc:sldMk cId="1767603529" sldId="2147308910"/>
            <ac:spMk id="2" creationId="{CE337AE8-BD5D-2D1B-8BBB-8D83AC645BEA}"/>
          </ac:spMkLst>
        </pc:spChg>
      </pc:sldChg>
      <pc:sldChg chg="modSp mod">
        <pc:chgData name="Emil Solvind" userId="e90a48f4-1cf5-48a2-a964-a4aae31414c1" providerId="ADAL" clId="{42C7080A-448B-4C44-9661-CF11DC9899CA}" dt="2026-01-29T12:07:39.204" v="7" actId="113"/>
        <pc:sldMkLst>
          <pc:docMk/>
          <pc:sldMk cId="931735341" sldId="2147308911"/>
        </pc:sldMkLst>
        <pc:spChg chg="mod">
          <ac:chgData name="Emil Solvind" userId="e90a48f4-1cf5-48a2-a964-a4aae31414c1" providerId="ADAL" clId="{42C7080A-448B-4C44-9661-CF11DC9899CA}" dt="2026-01-29T12:07:39.204" v="7" actId="113"/>
          <ac:spMkLst>
            <pc:docMk/>
            <pc:sldMk cId="931735341" sldId="2147308911"/>
            <ac:spMk id="27" creationId="{D4754DB8-2A24-D154-8BB0-85ADB8099E03}"/>
          </ac:spMkLst>
        </pc:spChg>
      </pc:sldChg>
      <pc:sldChg chg="modSp add mod">
        <pc:chgData name="Emil Solvind" userId="e90a48f4-1cf5-48a2-a964-a4aae31414c1" providerId="ADAL" clId="{42C7080A-448B-4C44-9661-CF11DC9899CA}" dt="2026-02-03T09:03:00.480" v="182" actId="6549"/>
        <pc:sldMkLst>
          <pc:docMk/>
          <pc:sldMk cId="2235024914" sldId="2147308935"/>
        </pc:sldMkLst>
        <pc:spChg chg="mod">
          <ac:chgData name="Emil Solvind" userId="e90a48f4-1cf5-48a2-a964-a4aae31414c1" providerId="ADAL" clId="{42C7080A-448B-4C44-9661-CF11DC9899CA}" dt="2026-02-03T09:03:00.480" v="182" actId="6549"/>
          <ac:spMkLst>
            <pc:docMk/>
            <pc:sldMk cId="2235024914" sldId="2147308935"/>
            <ac:spMk id="2" creationId="{17C8ED0B-3495-0DCD-DD84-7F0F0AEF2214}"/>
          </ac:spMkLst>
        </pc:spChg>
      </pc:sldChg>
      <pc:sldChg chg="modSp mod">
        <pc:chgData name="Emil Solvind" userId="e90a48f4-1cf5-48a2-a964-a4aae31414c1" providerId="ADAL" clId="{42C7080A-448B-4C44-9661-CF11DC9899CA}" dt="2026-02-06T10:51:47.881" v="551" actId="20577"/>
        <pc:sldMkLst>
          <pc:docMk/>
          <pc:sldMk cId="4197308320" sldId="2147308969"/>
        </pc:sldMkLst>
        <pc:spChg chg="mod">
          <ac:chgData name="Emil Solvind" userId="e90a48f4-1cf5-48a2-a964-a4aae31414c1" providerId="ADAL" clId="{42C7080A-448B-4C44-9661-CF11DC9899CA}" dt="2026-02-06T10:50:56.949" v="235" actId="6549"/>
          <ac:spMkLst>
            <pc:docMk/>
            <pc:sldMk cId="4197308320" sldId="2147308969"/>
            <ac:spMk id="2" creationId="{7E269324-C2F1-CF39-F3C7-7BC15B41D3B2}"/>
          </ac:spMkLst>
        </pc:spChg>
        <pc:spChg chg="mod">
          <ac:chgData name="Emil Solvind" userId="e90a48f4-1cf5-48a2-a964-a4aae31414c1" providerId="ADAL" clId="{42C7080A-448B-4C44-9661-CF11DC9899CA}" dt="2026-02-06T10:51:47.881" v="551" actId="20577"/>
          <ac:spMkLst>
            <pc:docMk/>
            <pc:sldMk cId="4197308320" sldId="2147308969"/>
            <ac:spMk id="3" creationId="{24E32893-3D47-3236-5509-0377BF4BA4C5}"/>
          </ac:spMkLst>
        </pc:spChg>
        <pc:spChg chg="mod">
          <ac:chgData name="Emil Solvind" userId="e90a48f4-1cf5-48a2-a964-a4aae31414c1" providerId="ADAL" clId="{42C7080A-448B-4C44-9661-CF11DC9899CA}" dt="2026-02-06T10:51:23.470" v="316" actId="27636"/>
          <ac:spMkLst>
            <pc:docMk/>
            <pc:sldMk cId="4197308320" sldId="2147308969"/>
            <ac:spMk id="4" creationId="{DE6F6EFE-D8E7-10D6-B3E9-93B29C9B7221}"/>
          </ac:spMkLst>
        </pc:spChg>
      </pc:sldChg>
      <pc:sldChg chg="modSp add mod ord">
        <pc:chgData name="Emil Solvind" userId="e90a48f4-1cf5-48a2-a964-a4aae31414c1" providerId="ADAL" clId="{42C7080A-448B-4C44-9661-CF11DC9899CA}" dt="2026-01-29T12:07:56.300" v="12" actId="113"/>
        <pc:sldMkLst>
          <pc:docMk/>
          <pc:sldMk cId="3045476623" sldId="2147308973"/>
        </pc:sldMkLst>
        <pc:spChg chg="mod">
          <ac:chgData name="Emil Solvind" userId="e90a48f4-1cf5-48a2-a964-a4aae31414c1" providerId="ADAL" clId="{42C7080A-448B-4C44-9661-CF11DC9899CA}" dt="2026-01-29T12:07:56.300" v="12" actId="113"/>
          <ac:spMkLst>
            <pc:docMk/>
            <pc:sldMk cId="3045476623" sldId="2147308973"/>
            <ac:spMk id="27" creationId="{4017C53F-6598-DAD8-F529-118DFB08F7C5}"/>
          </ac:spMkLst>
        </pc:spChg>
      </pc:sldChg>
      <pc:sldChg chg="modSp add mod ord">
        <pc:chgData name="Emil Solvind" userId="e90a48f4-1cf5-48a2-a964-a4aae31414c1" providerId="ADAL" clId="{42C7080A-448B-4C44-9661-CF11DC9899CA}" dt="2026-01-29T12:08:19.443" v="19" actId="113"/>
        <pc:sldMkLst>
          <pc:docMk/>
          <pc:sldMk cId="1620879552" sldId="2147308974"/>
        </pc:sldMkLst>
        <pc:spChg chg="mod">
          <ac:chgData name="Emil Solvind" userId="e90a48f4-1cf5-48a2-a964-a4aae31414c1" providerId="ADAL" clId="{42C7080A-448B-4C44-9661-CF11DC9899CA}" dt="2026-01-29T12:08:19.443" v="19" actId="113"/>
          <ac:spMkLst>
            <pc:docMk/>
            <pc:sldMk cId="1620879552" sldId="2147308974"/>
            <ac:spMk id="27" creationId="{FB4FA665-043E-9142-93B7-B39BCF674A29}"/>
          </ac:spMkLst>
        </pc:spChg>
      </pc:sldChg>
      <pc:sldChg chg="modSp add mod">
        <pc:chgData name="Emil Solvind" userId="e90a48f4-1cf5-48a2-a964-a4aae31414c1" providerId="ADAL" clId="{42C7080A-448B-4C44-9661-CF11DC9899CA}" dt="2026-01-29T12:08:29.673" v="22" actId="113"/>
        <pc:sldMkLst>
          <pc:docMk/>
          <pc:sldMk cId="2940536481" sldId="2147308975"/>
        </pc:sldMkLst>
        <pc:spChg chg="mod">
          <ac:chgData name="Emil Solvind" userId="e90a48f4-1cf5-48a2-a964-a4aae31414c1" providerId="ADAL" clId="{42C7080A-448B-4C44-9661-CF11DC9899CA}" dt="2026-01-29T12:08:29.673" v="22" actId="113"/>
          <ac:spMkLst>
            <pc:docMk/>
            <pc:sldMk cId="2940536481" sldId="2147308975"/>
            <ac:spMk id="27" creationId="{B26DA3F0-F74D-3BA7-D77D-16BF8487E78C}"/>
          </ac:spMkLst>
        </pc:spChg>
      </pc:sldChg>
      <pc:sldChg chg="modSp add mod ord">
        <pc:chgData name="Emil Solvind" userId="e90a48f4-1cf5-48a2-a964-a4aae31414c1" providerId="ADAL" clId="{42C7080A-448B-4C44-9661-CF11DC9899CA}" dt="2026-01-29T12:08:57.192" v="29" actId="113"/>
        <pc:sldMkLst>
          <pc:docMk/>
          <pc:sldMk cId="1266389251" sldId="2147308976"/>
        </pc:sldMkLst>
        <pc:spChg chg="mod">
          <ac:chgData name="Emil Solvind" userId="e90a48f4-1cf5-48a2-a964-a4aae31414c1" providerId="ADAL" clId="{42C7080A-448B-4C44-9661-CF11DC9899CA}" dt="2026-01-29T12:08:57.192" v="29" actId="113"/>
          <ac:spMkLst>
            <pc:docMk/>
            <pc:sldMk cId="1266389251" sldId="2147308976"/>
            <ac:spMk id="27" creationId="{336544B4-33B3-683B-8B0A-5205EFC2073E}"/>
          </ac:spMkLst>
        </pc:spChg>
      </pc:sldChg>
      <pc:sldChg chg="addSp modSp new mod setBg">
        <pc:chgData name="Emil Solvind" userId="e90a48f4-1cf5-48a2-a964-a4aae31414c1" providerId="ADAL" clId="{42C7080A-448B-4C44-9661-CF11DC9899CA}" dt="2026-02-17T08:58:38.406" v="1053" actId="6549"/>
        <pc:sldMkLst>
          <pc:docMk/>
          <pc:sldMk cId="504422312" sldId="2147308977"/>
        </pc:sldMkLst>
        <pc:spChg chg="mod">
          <ac:chgData name="Emil Solvind" userId="e90a48f4-1cf5-48a2-a964-a4aae31414c1" providerId="ADAL" clId="{42C7080A-448B-4C44-9661-CF11DC9899CA}" dt="2026-02-06T11:03:12.176" v="908" actId="26606"/>
          <ac:spMkLst>
            <pc:docMk/>
            <pc:sldMk cId="504422312" sldId="2147308977"/>
            <ac:spMk id="2" creationId="{208827FB-2832-1238-E1DF-538A78A7BC15}"/>
          </ac:spMkLst>
        </pc:spChg>
        <pc:spChg chg="mod">
          <ac:chgData name="Emil Solvind" userId="e90a48f4-1cf5-48a2-a964-a4aae31414c1" providerId="ADAL" clId="{42C7080A-448B-4C44-9661-CF11DC9899CA}" dt="2026-02-17T08:58:38.406" v="1053" actId="6549"/>
          <ac:spMkLst>
            <pc:docMk/>
            <pc:sldMk cId="504422312" sldId="2147308977"/>
            <ac:spMk id="3" creationId="{E14A3E1B-4D99-2D9D-2CE4-BF1FA53943AA}"/>
          </ac:spMkLst>
        </pc:spChg>
        <pc:spChg chg="add">
          <ac:chgData name="Emil Solvind" userId="e90a48f4-1cf5-48a2-a964-a4aae31414c1" providerId="ADAL" clId="{42C7080A-448B-4C44-9661-CF11DC9899CA}" dt="2026-02-06T11:03:12.176" v="908" actId="26606"/>
          <ac:spMkLst>
            <pc:docMk/>
            <pc:sldMk cId="504422312" sldId="2147308977"/>
            <ac:spMk id="8" creationId="{907EF6B7-1338-4443-8C46-6A318D952DFD}"/>
          </ac:spMkLst>
        </pc:spChg>
        <pc:spChg chg="add">
          <ac:chgData name="Emil Solvind" userId="e90a48f4-1cf5-48a2-a964-a4aae31414c1" providerId="ADAL" clId="{42C7080A-448B-4C44-9661-CF11DC9899CA}" dt="2026-02-06T11:03:12.176" v="908" actId="26606"/>
          <ac:spMkLst>
            <pc:docMk/>
            <pc:sldMk cId="504422312" sldId="2147308977"/>
            <ac:spMk id="10" creationId="{DAAE4CDD-124C-4DCF-9584-B6033B545DD5}"/>
          </ac:spMkLst>
        </pc:spChg>
        <pc:spChg chg="add">
          <ac:chgData name="Emil Solvind" userId="e90a48f4-1cf5-48a2-a964-a4aae31414c1" providerId="ADAL" clId="{42C7080A-448B-4C44-9661-CF11DC9899CA}" dt="2026-02-06T11:03:12.176" v="908" actId="26606"/>
          <ac:spMkLst>
            <pc:docMk/>
            <pc:sldMk cId="504422312" sldId="2147308977"/>
            <ac:spMk id="12" creationId="{081E4A58-353D-44AE-B2FC-2A74E2E400F7}"/>
          </ac:spMkLst>
        </pc:spChg>
      </pc:sldChg>
      <pc:sldChg chg="addSp modSp new mod setBg">
        <pc:chgData name="Emil Solvind" userId="e90a48f4-1cf5-48a2-a964-a4aae31414c1" providerId="ADAL" clId="{42C7080A-448B-4C44-9661-CF11DC9899CA}" dt="2026-02-16T13:06:34.480" v="1038" actId="20577"/>
        <pc:sldMkLst>
          <pc:docMk/>
          <pc:sldMk cId="3863360735" sldId="2147308978"/>
        </pc:sldMkLst>
        <pc:spChg chg="mod">
          <ac:chgData name="Emil Solvind" userId="e90a48f4-1cf5-48a2-a964-a4aae31414c1" providerId="ADAL" clId="{42C7080A-448B-4C44-9661-CF11DC9899CA}" dt="2026-02-16T13:06:18.190" v="1035" actId="26606"/>
          <ac:spMkLst>
            <pc:docMk/>
            <pc:sldMk cId="3863360735" sldId="2147308978"/>
            <ac:spMk id="2" creationId="{D2F2EBF9-CB3D-812F-AFB1-24FED8871102}"/>
          </ac:spMkLst>
        </pc:spChg>
        <pc:spChg chg="mod">
          <ac:chgData name="Emil Solvind" userId="e90a48f4-1cf5-48a2-a964-a4aae31414c1" providerId="ADAL" clId="{42C7080A-448B-4C44-9661-CF11DC9899CA}" dt="2026-02-16T13:06:34.480" v="1038" actId="20577"/>
          <ac:spMkLst>
            <pc:docMk/>
            <pc:sldMk cId="3863360735" sldId="2147308978"/>
            <ac:spMk id="3" creationId="{CFAABF3D-A034-3C3A-0BF4-0A6959C6FFE1}"/>
          </ac:spMkLst>
        </pc:spChg>
        <pc:spChg chg="add">
          <ac:chgData name="Emil Solvind" userId="e90a48f4-1cf5-48a2-a964-a4aae31414c1" providerId="ADAL" clId="{42C7080A-448B-4C44-9661-CF11DC9899CA}" dt="2026-02-16T13:06:18.190" v="1035" actId="26606"/>
          <ac:spMkLst>
            <pc:docMk/>
            <pc:sldMk cId="3863360735" sldId="2147308978"/>
            <ac:spMk id="8" creationId="{0E30439A-8A5B-46EC-8283-9B6B031D40D0}"/>
          </ac:spMkLst>
        </pc:spChg>
        <pc:spChg chg="add">
          <ac:chgData name="Emil Solvind" userId="e90a48f4-1cf5-48a2-a964-a4aae31414c1" providerId="ADAL" clId="{42C7080A-448B-4C44-9661-CF11DC9899CA}" dt="2026-02-16T13:06:18.190" v="1035" actId="26606"/>
          <ac:spMkLst>
            <pc:docMk/>
            <pc:sldMk cId="3863360735" sldId="2147308978"/>
            <ac:spMk id="10" creationId="{5CEAD642-85CF-4750-8432-7C80C901F001}"/>
          </ac:spMkLst>
        </pc:spChg>
        <pc:spChg chg="add">
          <ac:chgData name="Emil Solvind" userId="e90a48f4-1cf5-48a2-a964-a4aae31414c1" providerId="ADAL" clId="{42C7080A-448B-4C44-9661-CF11DC9899CA}" dt="2026-02-16T13:06:18.190" v="1035" actId="26606"/>
          <ac:spMkLst>
            <pc:docMk/>
            <pc:sldMk cId="3863360735" sldId="2147308978"/>
            <ac:spMk id="12" creationId="{FA33EEAE-15D5-4119-8C1E-89D943F911EF}"/>
          </ac:spMkLst>
        </pc:spChg>
        <pc:spChg chg="add">
          <ac:chgData name="Emil Solvind" userId="e90a48f4-1cf5-48a2-a964-a4aae31414c1" providerId="ADAL" clId="{42C7080A-448B-4C44-9661-CF11DC9899CA}" dt="2026-02-16T13:06:18.190" v="1035" actId="26606"/>
          <ac:spMkLst>
            <pc:docMk/>
            <pc:sldMk cId="3863360735" sldId="2147308978"/>
            <ac:spMk id="14" creationId="{730D8B3B-9B80-4025-B934-26DC7D7CD231}"/>
          </ac:spMkLst>
        </pc:spChg>
        <pc:spChg chg="add">
          <ac:chgData name="Emil Solvind" userId="e90a48f4-1cf5-48a2-a964-a4aae31414c1" providerId="ADAL" clId="{42C7080A-448B-4C44-9661-CF11DC9899CA}" dt="2026-02-16T13:06:18.190" v="1035" actId="26606"/>
          <ac:spMkLst>
            <pc:docMk/>
            <pc:sldMk cId="3863360735" sldId="2147308978"/>
            <ac:spMk id="16" creationId="{B5A1B09C-1565-46F8-B70F-621C5EB48A09}"/>
          </ac:spMkLst>
        </pc:spChg>
        <pc:spChg chg="add">
          <ac:chgData name="Emil Solvind" userId="e90a48f4-1cf5-48a2-a964-a4aae31414c1" providerId="ADAL" clId="{42C7080A-448B-4C44-9661-CF11DC9899CA}" dt="2026-02-16T13:06:18.190" v="1035" actId="26606"/>
          <ac:spMkLst>
            <pc:docMk/>
            <pc:sldMk cId="3863360735" sldId="2147308978"/>
            <ac:spMk id="18" creationId="{8C516CC8-80AC-446C-A56E-9F54B7210402}"/>
          </ac:spMkLst>
        </pc:spChg>
        <pc:spChg chg="add">
          <ac:chgData name="Emil Solvind" userId="e90a48f4-1cf5-48a2-a964-a4aae31414c1" providerId="ADAL" clId="{42C7080A-448B-4C44-9661-CF11DC9899CA}" dt="2026-02-16T13:06:18.190" v="1035" actId="26606"/>
          <ac:spMkLst>
            <pc:docMk/>
            <pc:sldMk cId="3863360735" sldId="2147308978"/>
            <ac:spMk id="20" creationId="{53947E58-F088-49F1-A3D1-DEA690192E84}"/>
          </ac:spMkLst>
        </pc:spChg>
      </pc:sldChg>
    </pc:docChg>
  </pc:docChgLst>
</pc:chgInfo>
</file>

<file path=ppt/diagrams/_rels/data4.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svg"/><Relationship Id="rId1" Type="http://schemas.openxmlformats.org/officeDocument/2006/relationships/image" Target="../media/image53.png"/><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diagrams/_rels/drawing4.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svg"/><Relationship Id="rId1" Type="http://schemas.openxmlformats.org/officeDocument/2006/relationships/image" Target="../media/image53.png"/><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463D43-5522-414F-AC9E-78039A309A03}"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70337CAB-5F47-49CE-8AA2-F8A1F8A54C37}">
      <dgm:prSet/>
      <dgm:spPr/>
      <dgm:t>
        <a:bodyPr/>
        <a:lstStyle/>
        <a:p>
          <a:r>
            <a:rPr lang="da-DK"/>
            <a:t>Ledelsesretten </a:t>
          </a:r>
          <a:endParaRPr lang="en-US"/>
        </a:p>
      </dgm:t>
    </dgm:pt>
    <dgm:pt modelId="{AAD42EDF-1DC4-433C-B938-8AB63160BBA3}" type="parTrans" cxnId="{C4D9CA40-C7AE-4C16-9B13-939489DBE742}">
      <dgm:prSet/>
      <dgm:spPr/>
      <dgm:t>
        <a:bodyPr/>
        <a:lstStyle/>
        <a:p>
          <a:endParaRPr lang="en-US"/>
        </a:p>
      </dgm:t>
    </dgm:pt>
    <dgm:pt modelId="{9BBF89F9-86EE-49B4-B071-DC5511F26391}" type="sibTrans" cxnId="{C4D9CA40-C7AE-4C16-9B13-939489DBE742}">
      <dgm:prSet/>
      <dgm:spPr/>
      <dgm:t>
        <a:bodyPr/>
        <a:lstStyle/>
        <a:p>
          <a:endParaRPr lang="en-US"/>
        </a:p>
      </dgm:t>
    </dgm:pt>
    <dgm:pt modelId="{BC07367C-BF9A-4484-93EE-AE956BE4FF7D}">
      <dgm:prSet/>
      <dgm:spPr/>
      <dgm:t>
        <a:bodyPr/>
        <a:lstStyle/>
        <a:p>
          <a:r>
            <a:rPr lang="da-DK" dirty="0"/>
            <a:t>Drøftes med den ansatte og der tages hensyn til ønsker</a:t>
          </a:r>
          <a:endParaRPr lang="en-US" dirty="0"/>
        </a:p>
      </dgm:t>
    </dgm:pt>
    <dgm:pt modelId="{B3C19933-934F-4501-8E3F-E9D88E06FE7A}" type="parTrans" cxnId="{C1E60BCD-BA42-47A6-B5F1-BFABAB67EFE3}">
      <dgm:prSet/>
      <dgm:spPr/>
      <dgm:t>
        <a:bodyPr/>
        <a:lstStyle/>
        <a:p>
          <a:endParaRPr lang="en-US"/>
        </a:p>
      </dgm:t>
    </dgm:pt>
    <dgm:pt modelId="{B60223DC-FDBD-48FF-B8CD-66342AA38F48}" type="sibTrans" cxnId="{C1E60BCD-BA42-47A6-B5F1-BFABAB67EFE3}">
      <dgm:prSet/>
      <dgm:spPr/>
      <dgm:t>
        <a:bodyPr/>
        <a:lstStyle/>
        <a:p>
          <a:endParaRPr lang="en-US"/>
        </a:p>
      </dgm:t>
    </dgm:pt>
    <dgm:pt modelId="{36EEF7B0-17F9-4AAB-AD79-0963CE674599}">
      <dgm:prSet/>
      <dgm:spPr/>
      <dgm:t>
        <a:bodyPr/>
        <a:lstStyle/>
        <a:p>
          <a:r>
            <a:rPr lang="da-DK"/>
            <a:t>Principper i MED</a:t>
          </a:r>
          <a:endParaRPr lang="en-US"/>
        </a:p>
      </dgm:t>
    </dgm:pt>
    <dgm:pt modelId="{7A068E35-A7FE-4EF8-813C-2892CCE976EA}" type="parTrans" cxnId="{6C71E055-5CCA-4BE7-9A42-1B0B2E0C3990}">
      <dgm:prSet/>
      <dgm:spPr/>
      <dgm:t>
        <a:bodyPr/>
        <a:lstStyle/>
        <a:p>
          <a:endParaRPr lang="en-US"/>
        </a:p>
      </dgm:t>
    </dgm:pt>
    <dgm:pt modelId="{5B308810-183B-48ED-AB3E-A473FA211C8E}" type="sibTrans" cxnId="{6C71E055-5CCA-4BE7-9A42-1B0B2E0C3990}">
      <dgm:prSet/>
      <dgm:spPr/>
      <dgm:t>
        <a:bodyPr/>
        <a:lstStyle/>
        <a:p>
          <a:endParaRPr lang="en-US"/>
        </a:p>
      </dgm:t>
    </dgm:pt>
    <dgm:pt modelId="{DDB8C980-6057-4CB9-AF4C-B5CA1A9E27C7}">
      <dgm:prSet/>
      <dgm:spPr/>
      <dgm:t>
        <a:bodyPr/>
        <a:lstStyle/>
        <a:p>
          <a:r>
            <a:rPr lang="da-DK"/>
            <a:t>Hovedferien (3 uger) mellem: 1. maj og 30. september</a:t>
          </a:r>
          <a:endParaRPr lang="en-US"/>
        </a:p>
      </dgm:t>
    </dgm:pt>
    <dgm:pt modelId="{7EA1AFA6-FFF5-4A01-B7D5-E9EF01881ABB}" type="parTrans" cxnId="{165280C6-D20C-4E45-8178-C18DF535B313}">
      <dgm:prSet/>
      <dgm:spPr/>
      <dgm:t>
        <a:bodyPr/>
        <a:lstStyle/>
        <a:p>
          <a:endParaRPr lang="en-US"/>
        </a:p>
      </dgm:t>
    </dgm:pt>
    <dgm:pt modelId="{9792FA7D-C29D-465B-8A12-EEFE7C8DA883}" type="sibTrans" cxnId="{165280C6-D20C-4E45-8178-C18DF535B313}">
      <dgm:prSet/>
      <dgm:spPr/>
      <dgm:t>
        <a:bodyPr/>
        <a:lstStyle/>
        <a:p>
          <a:endParaRPr lang="en-US"/>
        </a:p>
      </dgm:t>
    </dgm:pt>
    <dgm:pt modelId="{BFCE23DF-5E2E-4436-81CA-9A7ACE58178E}">
      <dgm:prSet/>
      <dgm:spPr/>
      <dgm:t>
        <a:bodyPr/>
        <a:lstStyle/>
        <a:p>
          <a:r>
            <a:rPr lang="da-DK" dirty="0"/>
            <a:t>Restuger mellem 1. </a:t>
          </a:r>
          <a:r>
            <a:rPr lang="da-DK"/>
            <a:t>oktober </a:t>
          </a:r>
          <a:r>
            <a:rPr lang="da-DK" dirty="0"/>
            <a:t>- 31. december + 1. januar – 30. april</a:t>
          </a:r>
          <a:endParaRPr lang="en-US" dirty="0"/>
        </a:p>
      </dgm:t>
    </dgm:pt>
    <dgm:pt modelId="{F0C546FC-C6EE-4C41-897A-0072318F40F3}" type="parTrans" cxnId="{CA95D19E-2F89-4968-8562-91CEBEFFE6FA}">
      <dgm:prSet/>
      <dgm:spPr/>
      <dgm:t>
        <a:bodyPr/>
        <a:lstStyle/>
        <a:p>
          <a:endParaRPr lang="en-US"/>
        </a:p>
      </dgm:t>
    </dgm:pt>
    <dgm:pt modelId="{CEB321D3-B8B8-4147-B113-0804FF90A0D9}" type="sibTrans" cxnId="{CA95D19E-2F89-4968-8562-91CEBEFFE6FA}">
      <dgm:prSet/>
      <dgm:spPr/>
      <dgm:t>
        <a:bodyPr/>
        <a:lstStyle/>
        <a:p>
          <a:endParaRPr lang="en-US"/>
        </a:p>
      </dgm:t>
    </dgm:pt>
    <dgm:pt modelId="{F2F4F297-5088-46B3-A11A-9FC946D6CF84}" type="pres">
      <dgm:prSet presAssocID="{DD463D43-5522-414F-AC9E-78039A309A03}" presName="linear" presStyleCnt="0">
        <dgm:presLayoutVars>
          <dgm:animLvl val="lvl"/>
          <dgm:resizeHandles val="exact"/>
        </dgm:presLayoutVars>
      </dgm:prSet>
      <dgm:spPr/>
    </dgm:pt>
    <dgm:pt modelId="{F700DA37-1F16-405D-AAC8-643E8284F055}" type="pres">
      <dgm:prSet presAssocID="{70337CAB-5F47-49CE-8AA2-F8A1F8A54C37}" presName="parentText" presStyleLbl="node1" presStyleIdx="0" presStyleCnt="5">
        <dgm:presLayoutVars>
          <dgm:chMax val="0"/>
          <dgm:bulletEnabled val="1"/>
        </dgm:presLayoutVars>
      </dgm:prSet>
      <dgm:spPr/>
    </dgm:pt>
    <dgm:pt modelId="{B5869A12-03A3-4964-8358-BDFEF7C1CB56}" type="pres">
      <dgm:prSet presAssocID="{9BBF89F9-86EE-49B4-B071-DC5511F26391}" presName="spacer" presStyleCnt="0"/>
      <dgm:spPr/>
    </dgm:pt>
    <dgm:pt modelId="{A712FBC5-2AB5-4E1B-B7B7-85BAE6AD4C6E}" type="pres">
      <dgm:prSet presAssocID="{BC07367C-BF9A-4484-93EE-AE956BE4FF7D}" presName="parentText" presStyleLbl="node1" presStyleIdx="1" presStyleCnt="5">
        <dgm:presLayoutVars>
          <dgm:chMax val="0"/>
          <dgm:bulletEnabled val="1"/>
        </dgm:presLayoutVars>
      </dgm:prSet>
      <dgm:spPr/>
    </dgm:pt>
    <dgm:pt modelId="{EC59ED63-371A-413E-9E0E-1946C5EC6EA9}" type="pres">
      <dgm:prSet presAssocID="{B60223DC-FDBD-48FF-B8CD-66342AA38F48}" presName="spacer" presStyleCnt="0"/>
      <dgm:spPr/>
    </dgm:pt>
    <dgm:pt modelId="{452040EF-E212-4169-A723-AAEC7686BEBF}" type="pres">
      <dgm:prSet presAssocID="{36EEF7B0-17F9-4AAB-AD79-0963CE674599}" presName="parentText" presStyleLbl="node1" presStyleIdx="2" presStyleCnt="5">
        <dgm:presLayoutVars>
          <dgm:chMax val="0"/>
          <dgm:bulletEnabled val="1"/>
        </dgm:presLayoutVars>
      </dgm:prSet>
      <dgm:spPr/>
    </dgm:pt>
    <dgm:pt modelId="{8DCDAF44-BED2-4655-9EBA-6EEB45076C34}" type="pres">
      <dgm:prSet presAssocID="{5B308810-183B-48ED-AB3E-A473FA211C8E}" presName="spacer" presStyleCnt="0"/>
      <dgm:spPr/>
    </dgm:pt>
    <dgm:pt modelId="{770160AC-A468-4740-B543-9E0C4D552DDB}" type="pres">
      <dgm:prSet presAssocID="{DDB8C980-6057-4CB9-AF4C-B5CA1A9E27C7}" presName="parentText" presStyleLbl="node1" presStyleIdx="3" presStyleCnt="5">
        <dgm:presLayoutVars>
          <dgm:chMax val="0"/>
          <dgm:bulletEnabled val="1"/>
        </dgm:presLayoutVars>
      </dgm:prSet>
      <dgm:spPr/>
    </dgm:pt>
    <dgm:pt modelId="{9BCA1762-DB27-48B4-B9FF-72FC54610AD7}" type="pres">
      <dgm:prSet presAssocID="{9792FA7D-C29D-465B-8A12-EEFE7C8DA883}" presName="spacer" presStyleCnt="0"/>
      <dgm:spPr/>
    </dgm:pt>
    <dgm:pt modelId="{612EDFB3-B371-40BA-B3DC-3DF97F0AAFEC}" type="pres">
      <dgm:prSet presAssocID="{BFCE23DF-5E2E-4436-81CA-9A7ACE58178E}" presName="parentText" presStyleLbl="node1" presStyleIdx="4" presStyleCnt="5">
        <dgm:presLayoutVars>
          <dgm:chMax val="0"/>
          <dgm:bulletEnabled val="1"/>
        </dgm:presLayoutVars>
      </dgm:prSet>
      <dgm:spPr/>
    </dgm:pt>
  </dgm:ptLst>
  <dgm:cxnLst>
    <dgm:cxn modelId="{FC4F8B20-7924-486B-969D-509A901022D8}" type="presOf" srcId="{BC07367C-BF9A-4484-93EE-AE956BE4FF7D}" destId="{A712FBC5-2AB5-4E1B-B7B7-85BAE6AD4C6E}" srcOrd="0" destOrd="0" presId="urn:microsoft.com/office/officeart/2005/8/layout/vList2"/>
    <dgm:cxn modelId="{06229922-4C3B-43AB-8FAF-5044CA6A6790}" type="presOf" srcId="{BFCE23DF-5E2E-4436-81CA-9A7ACE58178E}" destId="{612EDFB3-B371-40BA-B3DC-3DF97F0AAFEC}" srcOrd="0" destOrd="0" presId="urn:microsoft.com/office/officeart/2005/8/layout/vList2"/>
    <dgm:cxn modelId="{C4D9CA40-C7AE-4C16-9B13-939489DBE742}" srcId="{DD463D43-5522-414F-AC9E-78039A309A03}" destId="{70337CAB-5F47-49CE-8AA2-F8A1F8A54C37}" srcOrd="0" destOrd="0" parTransId="{AAD42EDF-1DC4-433C-B938-8AB63160BBA3}" sibTransId="{9BBF89F9-86EE-49B4-B071-DC5511F26391}"/>
    <dgm:cxn modelId="{4859B05C-2DDE-469A-8443-E1FA1E2A85C0}" type="presOf" srcId="{70337CAB-5F47-49CE-8AA2-F8A1F8A54C37}" destId="{F700DA37-1F16-405D-AAC8-643E8284F055}" srcOrd="0" destOrd="0" presId="urn:microsoft.com/office/officeart/2005/8/layout/vList2"/>
    <dgm:cxn modelId="{6C71E055-5CCA-4BE7-9A42-1B0B2E0C3990}" srcId="{DD463D43-5522-414F-AC9E-78039A309A03}" destId="{36EEF7B0-17F9-4AAB-AD79-0963CE674599}" srcOrd="2" destOrd="0" parTransId="{7A068E35-A7FE-4EF8-813C-2892CCE976EA}" sibTransId="{5B308810-183B-48ED-AB3E-A473FA211C8E}"/>
    <dgm:cxn modelId="{D267F456-0734-4E74-AD86-7127C156FF51}" type="presOf" srcId="{DD463D43-5522-414F-AC9E-78039A309A03}" destId="{F2F4F297-5088-46B3-A11A-9FC946D6CF84}" srcOrd="0" destOrd="0" presId="urn:microsoft.com/office/officeart/2005/8/layout/vList2"/>
    <dgm:cxn modelId="{5929A28C-AB5F-4078-977D-627BFD50CCCA}" type="presOf" srcId="{DDB8C980-6057-4CB9-AF4C-B5CA1A9E27C7}" destId="{770160AC-A468-4740-B543-9E0C4D552DDB}" srcOrd="0" destOrd="0" presId="urn:microsoft.com/office/officeart/2005/8/layout/vList2"/>
    <dgm:cxn modelId="{E2A90B99-A663-4D64-8A8C-642C863C82C2}" type="presOf" srcId="{36EEF7B0-17F9-4AAB-AD79-0963CE674599}" destId="{452040EF-E212-4169-A723-AAEC7686BEBF}" srcOrd="0" destOrd="0" presId="urn:microsoft.com/office/officeart/2005/8/layout/vList2"/>
    <dgm:cxn modelId="{CA95D19E-2F89-4968-8562-91CEBEFFE6FA}" srcId="{DD463D43-5522-414F-AC9E-78039A309A03}" destId="{BFCE23DF-5E2E-4436-81CA-9A7ACE58178E}" srcOrd="4" destOrd="0" parTransId="{F0C546FC-C6EE-4C41-897A-0072318F40F3}" sibTransId="{CEB321D3-B8B8-4147-B113-0804FF90A0D9}"/>
    <dgm:cxn modelId="{165280C6-D20C-4E45-8178-C18DF535B313}" srcId="{DD463D43-5522-414F-AC9E-78039A309A03}" destId="{DDB8C980-6057-4CB9-AF4C-B5CA1A9E27C7}" srcOrd="3" destOrd="0" parTransId="{7EA1AFA6-FFF5-4A01-B7D5-E9EF01881ABB}" sibTransId="{9792FA7D-C29D-465B-8A12-EEFE7C8DA883}"/>
    <dgm:cxn modelId="{C1E60BCD-BA42-47A6-B5F1-BFABAB67EFE3}" srcId="{DD463D43-5522-414F-AC9E-78039A309A03}" destId="{BC07367C-BF9A-4484-93EE-AE956BE4FF7D}" srcOrd="1" destOrd="0" parTransId="{B3C19933-934F-4501-8E3F-E9D88E06FE7A}" sibTransId="{B60223DC-FDBD-48FF-B8CD-66342AA38F48}"/>
    <dgm:cxn modelId="{6E1C6826-FAED-4258-B531-9994AE1754BA}" type="presParOf" srcId="{F2F4F297-5088-46B3-A11A-9FC946D6CF84}" destId="{F700DA37-1F16-405D-AAC8-643E8284F055}" srcOrd="0" destOrd="0" presId="urn:microsoft.com/office/officeart/2005/8/layout/vList2"/>
    <dgm:cxn modelId="{386A9C08-44FE-4CF5-A7FA-A945AEE35970}" type="presParOf" srcId="{F2F4F297-5088-46B3-A11A-9FC946D6CF84}" destId="{B5869A12-03A3-4964-8358-BDFEF7C1CB56}" srcOrd="1" destOrd="0" presId="urn:microsoft.com/office/officeart/2005/8/layout/vList2"/>
    <dgm:cxn modelId="{62E15CEE-8CC5-4B5D-9606-413B3E5CD4C1}" type="presParOf" srcId="{F2F4F297-5088-46B3-A11A-9FC946D6CF84}" destId="{A712FBC5-2AB5-4E1B-B7B7-85BAE6AD4C6E}" srcOrd="2" destOrd="0" presId="urn:microsoft.com/office/officeart/2005/8/layout/vList2"/>
    <dgm:cxn modelId="{4A3820FB-9CBD-435A-B8AB-2D3C90C56134}" type="presParOf" srcId="{F2F4F297-5088-46B3-A11A-9FC946D6CF84}" destId="{EC59ED63-371A-413E-9E0E-1946C5EC6EA9}" srcOrd="3" destOrd="0" presId="urn:microsoft.com/office/officeart/2005/8/layout/vList2"/>
    <dgm:cxn modelId="{3FB6CD3D-FF5A-4006-9DE5-31EAE58ACC55}" type="presParOf" srcId="{F2F4F297-5088-46B3-A11A-9FC946D6CF84}" destId="{452040EF-E212-4169-A723-AAEC7686BEBF}" srcOrd="4" destOrd="0" presId="urn:microsoft.com/office/officeart/2005/8/layout/vList2"/>
    <dgm:cxn modelId="{A3770812-56DA-4A72-AA68-C7BA2EE26227}" type="presParOf" srcId="{F2F4F297-5088-46B3-A11A-9FC946D6CF84}" destId="{8DCDAF44-BED2-4655-9EBA-6EEB45076C34}" srcOrd="5" destOrd="0" presId="urn:microsoft.com/office/officeart/2005/8/layout/vList2"/>
    <dgm:cxn modelId="{A65FC42D-D463-489C-8522-4F155792304C}" type="presParOf" srcId="{F2F4F297-5088-46B3-A11A-9FC946D6CF84}" destId="{770160AC-A468-4740-B543-9E0C4D552DDB}" srcOrd="6" destOrd="0" presId="urn:microsoft.com/office/officeart/2005/8/layout/vList2"/>
    <dgm:cxn modelId="{394D5DF2-3D7F-440D-8307-784825148290}" type="presParOf" srcId="{F2F4F297-5088-46B3-A11A-9FC946D6CF84}" destId="{9BCA1762-DB27-48B4-B9FF-72FC54610AD7}" srcOrd="7" destOrd="0" presId="urn:microsoft.com/office/officeart/2005/8/layout/vList2"/>
    <dgm:cxn modelId="{35BB38A8-635B-4DC3-B92E-50F7487A7742}" type="presParOf" srcId="{F2F4F297-5088-46B3-A11A-9FC946D6CF84}" destId="{612EDFB3-B371-40BA-B3DC-3DF97F0AAFEC}"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F612E1-95FA-436F-B143-9C422A18ED2D}"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331F361E-58F9-4743-9CA6-4BB5BBA2D05A}">
      <dgm:prSet/>
      <dgm:spPr/>
      <dgm:t>
        <a:bodyPr/>
        <a:lstStyle/>
        <a:p>
          <a:r>
            <a:rPr lang="da-DK"/>
            <a:t>Hovedferie varsles med 3 måneder</a:t>
          </a:r>
          <a:endParaRPr lang="en-US"/>
        </a:p>
      </dgm:t>
    </dgm:pt>
    <dgm:pt modelId="{B1CF25B0-8D32-44DF-91C6-021576A23A1C}" type="parTrans" cxnId="{27EA2650-18E0-4AA3-9183-FB5A13ADC9E1}">
      <dgm:prSet/>
      <dgm:spPr/>
      <dgm:t>
        <a:bodyPr/>
        <a:lstStyle/>
        <a:p>
          <a:endParaRPr lang="en-US"/>
        </a:p>
      </dgm:t>
    </dgm:pt>
    <dgm:pt modelId="{7C904849-32A5-4128-8AC1-4E0CB2FCC98B}" type="sibTrans" cxnId="{27EA2650-18E0-4AA3-9183-FB5A13ADC9E1}">
      <dgm:prSet/>
      <dgm:spPr/>
      <dgm:t>
        <a:bodyPr/>
        <a:lstStyle/>
        <a:p>
          <a:endParaRPr lang="en-US"/>
        </a:p>
      </dgm:t>
    </dgm:pt>
    <dgm:pt modelId="{F305D1AE-2C13-477A-8835-225CA3322B26}">
      <dgm:prSet/>
      <dgm:spPr/>
      <dgm:t>
        <a:bodyPr/>
        <a:lstStyle/>
        <a:p>
          <a:r>
            <a:rPr lang="da-DK"/>
            <a:t>Restferie varsles med 1 måned</a:t>
          </a:r>
          <a:endParaRPr lang="en-US"/>
        </a:p>
      </dgm:t>
    </dgm:pt>
    <dgm:pt modelId="{375AC26C-1F88-40B5-8859-FAC9B01D4D2B}" type="parTrans" cxnId="{6C0C4EBF-57BE-48BD-BB3D-5CD8F79FD751}">
      <dgm:prSet/>
      <dgm:spPr/>
      <dgm:t>
        <a:bodyPr/>
        <a:lstStyle/>
        <a:p>
          <a:endParaRPr lang="en-US"/>
        </a:p>
      </dgm:t>
    </dgm:pt>
    <dgm:pt modelId="{8C59DDE3-0E21-455C-9402-497F12341366}" type="sibTrans" cxnId="{6C0C4EBF-57BE-48BD-BB3D-5CD8F79FD751}">
      <dgm:prSet/>
      <dgm:spPr/>
      <dgm:t>
        <a:bodyPr/>
        <a:lstStyle/>
        <a:p>
          <a:endParaRPr lang="en-US"/>
        </a:p>
      </dgm:t>
    </dgm:pt>
    <dgm:pt modelId="{9FC9EB70-3586-493A-8EAA-EB21E35E17AD}">
      <dgm:prSet/>
      <dgm:spPr/>
      <dgm:t>
        <a:bodyPr/>
        <a:lstStyle/>
        <a:p>
          <a:r>
            <a:rPr lang="da-DK"/>
            <a:t>6. ferieuge planlægges efter medarbejders ønske (dog under hensyn til driften)</a:t>
          </a:r>
          <a:endParaRPr lang="en-US"/>
        </a:p>
      </dgm:t>
    </dgm:pt>
    <dgm:pt modelId="{41B4113F-F356-4133-A405-CCE881ED9EC1}" type="parTrans" cxnId="{1C8BAC41-1206-4907-9A2E-6FD4D66CAD46}">
      <dgm:prSet/>
      <dgm:spPr/>
      <dgm:t>
        <a:bodyPr/>
        <a:lstStyle/>
        <a:p>
          <a:endParaRPr lang="en-US"/>
        </a:p>
      </dgm:t>
    </dgm:pt>
    <dgm:pt modelId="{5853B3B1-5EE4-4EF6-AC4C-E86EAC48B044}" type="sibTrans" cxnId="{1C8BAC41-1206-4907-9A2E-6FD4D66CAD46}">
      <dgm:prSet/>
      <dgm:spPr/>
      <dgm:t>
        <a:bodyPr/>
        <a:lstStyle/>
        <a:p>
          <a:endParaRPr lang="en-US"/>
        </a:p>
      </dgm:t>
    </dgm:pt>
    <dgm:pt modelId="{63F7BEA4-7F1E-4B43-8EEB-C52D3466098C}" type="pres">
      <dgm:prSet presAssocID="{F9F612E1-95FA-436F-B143-9C422A18ED2D}" presName="linear" presStyleCnt="0">
        <dgm:presLayoutVars>
          <dgm:animLvl val="lvl"/>
          <dgm:resizeHandles val="exact"/>
        </dgm:presLayoutVars>
      </dgm:prSet>
      <dgm:spPr/>
    </dgm:pt>
    <dgm:pt modelId="{1D22FA6E-CAA5-4996-B0A9-C8F86F8B6B3C}" type="pres">
      <dgm:prSet presAssocID="{331F361E-58F9-4743-9CA6-4BB5BBA2D05A}" presName="parentText" presStyleLbl="node1" presStyleIdx="0" presStyleCnt="3">
        <dgm:presLayoutVars>
          <dgm:chMax val="0"/>
          <dgm:bulletEnabled val="1"/>
        </dgm:presLayoutVars>
      </dgm:prSet>
      <dgm:spPr/>
    </dgm:pt>
    <dgm:pt modelId="{92578072-3615-4E14-AC29-B7A187A03FA3}" type="pres">
      <dgm:prSet presAssocID="{7C904849-32A5-4128-8AC1-4E0CB2FCC98B}" presName="spacer" presStyleCnt="0"/>
      <dgm:spPr/>
    </dgm:pt>
    <dgm:pt modelId="{B1D9D993-C69A-4E30-82FF-4F4FD20704A1}" type="pres">
      <dgm:prSet presAssocID="{F305D1AE-2C13-477A-8835-225CA3322B26}" presName="parentText" presStyleLbl="node1" presStyleIdx="1" presStyleCnt="3">
        <dgm:presLayoutVars>
          <dgm:chMax val="0"/>
          <dgm:bulletEnabled val="1"/>
        </dgm:presLayoutVars>
      </dgm:prSet>
      <dgm:spPr/>
    </dgm:pt>
    <dgm:pt modelId="{056AD5ED-E2E7-4E9A-B484-FB0AD9628121}" type="pres">
      <dgm:prSet presAssocID="{8C59DDE3-0E21-455C-9402-497F12341366}" presName="spacer" presStyleCnt="0"/>
      <dgm:spPr/>
    </dgm:pt>
    <dgm:pt modelId="{834B8872-C16B-46FE-AF94-13D7EE0B7BD4}" type="pres">
      <dgm:prSet presAssocID="{9FC9EB70-3586-493A-8EAA-EB21E35E17AD}" presName="parentText" presStyleLbl="node1" presStyleIdx="2" presStyleCnt="3">
        <dgm:presLayoutVars>
          <dgm:chMax val="0"/>
          <dgm:bulletEnabled val="1"/>
        </dgm:presLayoutVars>
      </dgm:prSet>
      <dgm:spPr/>
    </dgm:pt>
  </dgm:ptLst>
  <dgm:cxnLst>
    <dgm:cxn modelId="{E6D13B15-2360-4E0E-AC18-DF2786694AEF}" type="presOf" srcId="{F9F612E1-95FA-436F-B143-9C422A18ED2D}" destId="{63F7BEA4-7F1E-4B43-8EEB-C52D3466098C}" srcOrd="0" destOrd="0" presId="urn:microsoft.com/office/officeart/2005/8/layout/vList2"/>
    <dgm:cxn modelId="{1C8BAC41-1206-4907-9A2E-6FD4D66CAD46}" srcId="{F9F612E1-95FA-436F-B143-9C422A18ED2D}" destId="{9FC9EB70-3586-493A-8EAA-EB21E35E17AD}" srcOrd="2" destOrd="0" parTransId="{41B4113F-F356-4133-A405-CCE881ED9EC1}" sibTransId="{5853B3B1-5EE4-4EF6-AC4C-E86EAC48B044}"/>
    <dgm:cxn modelId="{27EA2650-18E0-4AA3-9183-FB5A13ADC9E1}" srcId="{F9F612E1-95FA-436F-B143-9C422A18ED2D}" destId="{331F361E-58F9-4743-9CA6-4BB5BBA2D05A}" srcOrd="0" destOrd="0" parTransId="{B1CF25B0-8D32-44DF-91C6-021576A23A1C}" sibTransId="{7C904849-32A5-4128-8AC1-4E0CB2FCC98B}"/>
    <dgm:cxn modelId="{30DDEE7D-D995-484B-A211-F3DCFB3F69C3}" type="presOf" srcId="{F305D1AE-2C13-477A-8835-225CA3322B26}" destId="{B1D9D993-C69A-4E30-82FF-4F4FD20704A1}" srcOrd="0" destOrd="0" presId="urn:microsoft.com/office/officeart/2005/8/layout/vList2"/>
    <dgm:cxn modelId="{62E063AE-07F1-40A9-A417-B7CBA007867D}" type="presOf" srcId="{9FC9EB70-3586-493A-8EAA-EB21E35E17AD}" destId="{834B8872-C16B-46FE-AF94-13D7EE0B7BD4}" srcOrd="0" destOrd="0" presId="urn:microsoft.com/office/officeart/2005/8/layout/vList2"/>
    <dgm:cxn modelId="{C359E9BB-3629-4930-A4E5-54453FFA7D93}" type="presOf" srcId="{331F361E-58F9-4743-9CA6-4BB5BBA2D05A}" destId="{1D22FA6E-CAA5-4996-B0A9-C8F86F8B6B3C}" srcOrd="0" destOrd="0" presId="urn:microsoft.com/office/officeart/2005/8/layout/vList2"/>
    <dgm:cxn modelId="{6C0C4EBF-57BE-48BD-BB3D-5CD8F79FD751}" srcId="{F9F612E1-95FA-436F-B143-9C422A18ED2D}" destId="{F305D1AE-2C13-477A-8835-225CA3322B26}" srcOrd="1" destOrd="0" parTransId="{375AC26C-1F88-40B5-8859-FAC9B01D4D2B}" sibTransId="{8C59DDE3-0E21-455C-9402-497F12341366}"/>
    <dgm:cxn modelId="{C7B604C5-6E77-4B50-81DF-6E6557F73B68}" type="presParOf" srcId="{63F7BEA4-7F1E-4B43-8EEB-C52D3466098C}" destId="{1D22FA6E-CAA5-4996-B0A9-C8F86F8B6B3C}" srcOrd="0" destOrd="0" presId="urn:microsoft.com/office/officeart/2005/8/layout/vList2"/>
    <dgm:cxn modelId="{309612FC-0E19-46A6-B388-C97DC819267F}" type="presParOf" srcId="{63F7BEA4-7F1E-4B43-8EEB-C52D3466098C}" destId="{92578072-3615-4E14-AC29-B7A187A03FA3}" srcOrd="1" destOrd="0" presId="urn:microsoft.com/office/officeart/2005/8/layout/vList2"/>
    <dgm:cxn modelId="{A5B8A968-D488-4E9E-9A2F-987D449CAA33}" type="presParOf" srcId="{63F7BEA4-7F1E-4B43-8EEB-C52D3466098C}" destId="{B1D9D993-C69A-4E30-82FF-4F4FD20704A1}" srcOrd="2" destOrd="0" presId="urn:microsoft.com/office/officeart/2005/8/layout/vList2"/>
    <dgm:cxn modelId="{EDC19E7D-3414-4B50-8692-AD81594A54B0}" type="presParOf" srcId="{63F7BEA4-7F1E-4B43-8EEB-C52D3466098C}" destId="{056AD5ED-E2E7-4E9A-B484-FB0AD9628121}" srcOrd="3" destOrd="0" presId="urn:microsoft.com/office/officeart/2005/8/layout/vList2"/>
    <dgm:cxn modelId="{CBEADDEB-B28A-4246-A322-EBD42C661803}" type="presParOf" srcId="{63F7BEA4-7F1E-4B43-8EEB-C52D3466098C}" destId="{834B8872-C16B-46FE-AF94-13D7EE0B7BD4}"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BBA931A-17E0-4ECD-BE69-40BB05239169}" type="doc">
      <dgm:prSet loTypeId="urn:microsoft.com/office/officeart/2005/8/layout/vProcess5" loCatId="process" qsTypeId="urn:microsoft.com/office/officeart/2005/8/quickstyle/simple2" qsCatId="simple" csTypeId="urn:microsoft.com/office/officeart/2005/8/colors/colorful5" csCatId="colorful" phldr="1"/>
      <dgm:spPr/>
      <dgm:t>
        <a:bodyPr/>
        <a:lstStyle/>
        <a:p>
          <a:endParaRPr lang="en-US"/>
        </a:p>
      </dgm:t>
    </dgm:pt>
    <dgm:pt modelId="{73DA08A8-480E-42B8-A5B3-82C70428B503}">
      <dgm:prSet/>
      <dgm:spPr/>
      <dgm:t>
        <a:bodyPr/>
        <a:lstStyle/>
        <a:p>
          <a:r>
            <a:rPr lang="da-DK" dirty="0"/>
            <a:t>Arbejdstidsbegyndelse den første arbejdsdag</a:t>
          </a:r>
          <a:endParaRPr lang="en-US" dirty="0"/>
        </a:p>
      </dgm:t>
    </dgm:pt>
    <dgm:pt modelId="{E9A76784-150C-4EDA-AA95-E2749E5640D0}" type="parTrans" cxnId="{56F7A313-18DF-47AA-8002-577194CB17A5}">
      <dgm:prSet/>
      <dgm:spPr/>
      <dgm:t>
        <a:bodyPr/>
        <a:lstStyle/>
        <a:p>
          <a:endParaRPr lang="en-US"/>
        </a:p>
      </dgm:t>
    </dgm:pt>
    <dgm:pt modelId="{FA261A6E-2172-436B-BA55-4BF7EFBA153C}" type="sibTrans" cxnId="{56F7A313-18DF-47AA-8002-577194CB17A5}">
      <dgm:prSet/>
      <dgm:spPr/>
      <dgm:t>
        <a:bodyPr/>
        <a:lstStyle/>
        <a:p>
          <a:endParaRPr lang="en-US"/>
        </a:p>
      </dgm:t>
    </dgm:pt>
    <dgm:pt modelId="{3ECF83C0-8CF3-484A-89A3-E64533CB56F2}">
      <dgm:prSet/>
      <dgm:spPr/>
      <dgm:t>
        <a:bodyPr/>
        <a:lstStyle/>
        <a:p>
          <a:r>
            <a:rPr lang="da-DK" dirty="0"/>
            <a:t>Ferieugens/ferieugernes sidste arbejdsdag</a:t>
          </a:r>
          <a:endParaRPr lang="en-US" dirty="0"/>
        </a:p>
      </dgm:t>
    </dgm:pt>
    <dgm:pt modelId="{4508FD5F-928E-4D97-83C8-EAFA40D81CA5}" type="parTrans" cxnId="{FCD2CF39-18CB-445E-A7AC-DE5E5F1597CB}">
      <dgm:prSet/>
      <dgm:spPr/>
      <dgm:t>
        <a:bodyPr/>
        <a:lstStyle/>
        <a:p>
          <a:endParaRPr lang="en-US"/>
        </a:p>
      </dgm:t>
    </dgm:pt>
    <dgm:pt modelId="{EBA65766-08C8-4DB4-A33B-79AF2F76CCBB}" type="sibTrans" cxnId="{FCD2CF39-18CB-445E-A7AC-DE5E5F1597CB}">
      <dgm:prSet/>
      <dgm:spPr/>
      <dgm:t>
        <a:bodyPr/>
        <a:lstStyle/>
        <a:p>
          <a:endParaRPr lang="en-US"/>
        </a:p>
      </dgm:t>
    </dgm:pt>
    <dgm:pt modelId="{9565F19B-0104-48E6-83C9-80FFAB8BF61A}" type="pres">
      <dgm:prSet presAssocID="{EBBA931A-17E0-4ECD-BE69-40BB05239169}" presName="outerComposite" presStyleCnt="0">
        <dgm:presLayoutVars>
          <dgm:chMax val="5"/>
          <dgm:dir/>
          <dgm:resizeHandles val="exact"/>
        </dgm:presLayoutVars>
      </dgm:prSet>
      <dgm:spPr/>
    </dgm:pt>
    <dgm:pt modelId="{A906440B-BE8E-4CD0-B837-3A8EA37CB1CB}" type="pres">
      <dgm:prSet presAssocID="{EBBA931A-17E0-4ECD-BE69-40BB05239169}" presName="dummyMaxCanvas" presStyleCnt="0">
        <dgm:presLayoutVars/>
      </dgm:prSet>
      <dgm:spPr/>
    </dgm:pt>
    <dgm:pt modelId="{7B7183DB-2036-4595-B32E-C62413E71295}" type="pres">
      <dgm:prSet presAssocID="{EBBA931A-17E0-4ECD-BE69-40BB05239169}" presName="TwoNodes_1" presStyleLbl="node1" presStyleIdx="0" presStyleCnt="2">
        <dgm:presLayoutVars>
          <dgm:bulletEnabled val="1"/>
        </dgm:presLayoutVars>
      </dgm:prSet>
      <dgm:spPr/>
    </dgm:pt>
    <dgm:pt modelId="{DEA57791-AA4F-42C2-AD87-E588290D8331}" type="pres">
      <dgm:prSet presAssocID="{EBBA931A-17E0-4ECD-BE69-40BB05239169}" presName="TwoNodes_2" presStyleLbl="node1" presStyleIdx="1" presStyleCnt="2">
        <dgm:presLayoutVars>
          <dgm:bulletEnabled val="1"/>
        </dgm:presLayoutVars>
      </dgm:prSet>
      <dgm:spPr/>
    </dgm:pt>
    <dgm:pt modelId="{4A0C9741-F6EF-4005-B4F0-B970CAD49679}" type="pres">
      <dgm:prSet presAssocID="{EBBA931A-17E0-4ECD-BE69-40BB05239169}" presName="TwoConn_1-2" presStyleLbl="fgAccFollowNode1" presStyleIdx="0" presStyleCnt="1">
        <dgm:presLayoutVars>
          <dgm:bulletEnabled val="1"/>
        </dgm:presLayoutVars>
      </dgm:prSet>
      <dgm:spPr/>
    </dgm:pt>
    <dgm:pt modelId="{7152E604-7C0A-4F24-AB3D-A68FE5D1578E}" type="pres">
      <dgm:prSet presAssocID="{EBBA931A-17E0-4ECD-BE69-40BB05239169}" presName="TwoNodes_1_text" presStyleLbl="node1" presStyleIdx="1" presStyleCnt="2">
        <dgm:presLayoutVars>
          <dgm:bulletEnabled val="1"/>
        </dgm:presLayoutVars>
      </dgm:prSet>
      <dgm:spPr/>
    </dgm:pt>
    <dgm:pt modelId="{9F815BB8-1830-46D5-B4F9-0F09E023D009}" type="pres">
      <dgm:prSet presAssocID="{EBBA931A-17E0-4ECD-BE69-40BB05239169}" presName="TwoNodes_2_text" presStyleLbl="node1" presStyleIdx="1" presStyleCnt="2">
        <dgm:presLayoutVars>
          <dgm:bulletEnabled val="1"/>
        </dgm:presLayoutVars>
      </dgm:prSet>
      <dgm:spPr/>
    </dgm:pt>
  </dgm:ptLst>
  <dgm:cxnLst>
    <dgm:cxn modelId="{5F47E206-387A-4C63-82CF-8840DF039263}" type="presOf" srcId="{FA261A6E-2172-436B-BA55-4BF7EFBA153C}" destId="{4A0C9741-F6EF-4005-B4F0-B970CAD49679}" srcOrd="0" destOrd="0" presId="urn:microsoft.com/office/officeart/2005/8/layout/vProcess5"/>
    <dgm:cxn modelId="{56F7A313-18DF-47AA-8002-577194CB17A5}" srcId="{EBBA931A-17E0-4ECD-BE69-40BB05239169}" destId="{73DA08A8-480E-42B8-A5B3-82C70428B503}" srcOrd="0" destOrd="0" parTransId="{E9A76784-150C-4EDA-AA95-E2749E5640D0}" sibTransId="{FA261A6E-2172-436B-BA55-4BF7EFBA153C}"/>
    <dgm:cxn modelId="{FCD2CF39-18CB-445E-A7AC-DE5E5F1597CB}" srcId="{EBBA931A-17E0-4ECD-BE69-40BB05239169}" destId="{3ECF83C0-8CF3-484A-89A3-E64533CB56F2}" srcOrd="1" destOrd="0" parTransId="{4508FD5F-928E-4D97-83C8-EAFA40D81CA5}" sibTransId="{EBA65766-08C8-4DB4-A33B-79AF2F76CCBB}"/>
    <dgm:cxn modelId="{5F000EA0-D022-4629-BC13-687E75270EA3}" type="presOf" srcId="{EBBA931A-17E0-4ECD-BE69-40BB05239169}" destId="{9565F19B-0104-48E6-83C9-80FFAB8BF61A}" srcOrd="0" destOrd="0" presId="urn:microsoft.com/office/officeart/2005/8/layout/vProcess5"/>
    <dgm:cxn modelId="{D5153BA6-8473-47EB-8E50-C2BAA70C5BB2}" type="presOf" srcId="{3ECF83C0-8CF3-484A-89A3-E64533CB56F2}" destId="{DEA57791-AA4F-42C2-AD87-E588290D8331}" srcOrd="0" destOrd="0" presId="urn:microsoft.com/office/officeart/2005/8/layout/vProcess5"/>
    <dgm:cxn modelId="{559947BD-141A-4A25-9AC1-8F42376838CB}" type="presOf" srcId="{73DA08A8-480E-42B8-A5B3-82C70428B503}" destId="{7B7183DB-2036-4595-B32E-C62413E71295}" srcOrd="0" destOrd="0" presId="urn:microsoft.com/office/officeart/2005/8/layout/vProcess5"/>
    <dgm:cxn modelId="{856176BF-9B82-43E5-B3CF-1C9969F68356}" type="presOf" srcId="{73DA08A8-480E-42B8-A5B3-82C70428B503}" destId="{7152E604-7C0A-4F24-AB3D-A68FE5D1578E}" srcOrd="1" destOrd="0" presId="urn:microsoft.com/office/officeart/2005/8/layout/vProcess5"/>
    <dgm:cxn modelId="{3B0FF2ED-8483-486F-A491-68F21E3BBD68}" type="presOf" srcId="{3ECF83C0-8CF3-484A-89A3-E64533CB56F2}" destId="{9F815BB8-1830-46D5-B4F9-0F09E023D009}" srcOrd="1" destOrd="0" presId="urn:microsoft.com/office/officeart/2005/8/layout/vProcess5"/>
    <dgm:cxn modelId="{B65CBBD0-942F-4B2C-9195-4FA99491E715}" type="presParOf" srcId="{9565F19B-0104-48E6-83C9-80FFAB8BF61A}" destId="{A906440B-BE8E-4CD0-B837-3A8EA37CB1CB}" srcOrd="0" destOrd="0" presId="urn:microsoft.com/office/officeart/2005/8/layout/vProcess5"/>
    <dgm:cxn modelId="{77A6C672-1656-4A9A-993B-C730382787A1}" type="presParOf" srcId="{9565F19B-0104-48E6-83C9-80FFAB8BF61A}" destId="{7B7183DB-2036-4595-B32E-C62413E71295}" srcOrd="1" destOrd="0" presId="urn:microsoft.com/office/officeart/2005/8/layout/vProcess5"/>
    <dgm:cxn modelId="{DC76E211-10BD-4DAB-A89D-DDBCC1E456B1}" type="presParOf" srcId="{9565F19B-0104-48E6-83C9-80FFAB8BF61A}" destId="{DEA57791-AA4F-42C2-AD87-E588290D8331}" srcOrd="2" destOrd="0" presId="urn:microsoft.com/office/officeart/2005/8/layout/vProcess5"/>
    <dgm:cxn modelId="{1080A7EB-5138-451F-BE38-FAA6A5274408}" type="presParOf" srcId="{9565F19B-0104-48E6-83C9-80FFAB8BF61A}" destId="{4A0C9741-F6EF-4005-B4F0-B970CAD49679}" srcOrd="3" destOrd="0" presId="urn:microsoft.com/office/officeart/2005/8/layout/vProcess5"/>
    <dgm:cxn modelId="{3F109C40-DCF6-4B40-B044-3616C7DE48E9}" type="presParOf" srcId="{9565F19B-0104-48E6-83C9-80FFAB8BF61A}" destId="{7152E604-7C0A-4F24-AB3D-A68FE5D1578E}" srcOrd="4" destOrd="0" presId="urn:microsoft.com/office/officeart/2005/8/layout/vProcess5"/>
    <dgm:cxn modelId="{C0C7664D-201A-4BEA-8FB1-53F0FDAB41E8}" type="presParOf" srcId="{9565F19B-0104-48E6-83C9-80FFAB8BF61A}" destId="{9F815BB8-1830-46D5-B4F9-0F09E023D009}" srcOrd="5"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F7A8DB1-211F-43D9-9D2A-6934FABF6FC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919A6E21-B5A3-4701-9299-49686DEB0D85}">
      <dgm:prSet/>
      <dgm:spPr/>
      <dgm:t>
        <a:bodyPr/>
        <a:lstStyle/>
        <a:p>
          <a:r>
            <a:rPr lang="da-DK" dirty="0"/>
            <a:t>Sygdom er feriehindring. </a:t>
          </a:r>
          <a:endParaRPr lang="en-US" dirty="0"/>
        </a:p>
      </dgm:t>
    </dgm:pt>
    <dgm:pt modelId="{0698ADF2-9E79-41A7-8C38-039E8A581E51}" type="parTrans" cxnId="{7249B53D-A364-442B-85ED-1A1DEA99FAA1}">
      <dgm:prSet/>
      <dgm:spPr/>
      <dgm:t>
        <a:bodyPr/>
        <a:lstStyle/>
        <a:p>
          <a:endParaRPr lang="en-US"/>
        </a:p>
      </dgm:t>
    </dgm:pt>
    <dgm:pt modelId="{FCD12CFA-C644-4881-9934-EC9BAD6B969B}" type="sibTrans" cxnId="{7249B53D-A364-442B-85ED-1A1DEA99FAA1}">
      <dgm:prSet/>
      <dgm:spPr/>
      <dgm:t>
        <a:bodyPr/>
        <a:lstStyle/>
        <a:p>
          <a:endParaRPr lang="en-US"/>
        </a:p>
      </dgm:t>
    </dgm:pt>
    <dgm:pt modelId="{9C1026C0-49AE-4F2D-96B8-D33D167CB1FD}">
      <dgm:prSet/>
      <dgm:spPr/>
      <dgm:t>
        <a:bodyPr/>
        <a:lstStyle/>
        <a:p>
          <a:r>
            <a:rPr lang="da-DK"/>
            <a:t>- man kan altså ikke holde ferie, når man er syg.</a:t>
          </a:r>
          <a:endParaRPr lang="en-US"/>
        </a:p>
      </dgm:t>
    </dgm:pt>
    <dgm:pt modelId="{43699878-468C-4CED-8901-CF87446F3FC9}" type="parTrans" cxnId="{FCF8EA3E-20D1-49BB-B540-B7970D5CA017}">
      <dgm:prSet/>
      <dgm:spPr/>
      <dgm:t>
        <a:bodyPr/>
        <a:lstStyle/>
        <a:p>
          <a:endParaRPr lang="en-US"/>
        </a:p>
      </dgm:t>
    </dgm:pt>
    <dgm:pt modelId="{EB3047E8-5653-47DF-86C0-2BB1E92280D2}" type="sibTrans" cxnId="{FCF8EA3E-20D1-49BB-B540-B7970D5CA017}">
      <dgm:prSet/>
      <dgm:spPr/>
      <dgm:t>
        <a:bodyPr/>
        <a:lstStyle/>
        <a:p>
          <a:endParaRPr lang="en-US"/>
        </a:p>
      </dgm:t>
    </dgm:pt>
    <dgm:pt modelId="{BD2BD9F5-89F4-4D78-8DA9-C32EC5BDCE6D}">
      <dgm:prSet/>
      <dgm:spPr/>
      <dgm:t>
        <a:bodyPr/>
        <a:lstStyle/>
        <a:p>
          <a:r>
            <a:rPr lang="da-DK"/>
            <a:t>Ønsker man sin ferie, skal man raskmeldes sig forinden den påbegyndes</a:t>
          </a:r>
          <a:endParaRPr lang="en-US"/>
        </a:p>
      </dgm:t>
    </dgm:pt>
    <dgm:pt modelId="{1C9C35E7-88B7-4767-B159-30417D48EAD1}" type="parTrans" cxnId="{69259956-DAF3-4273-AD4E-BE7AB4127D94}">
      <dgm:prSet/>
      <dgm:spPr/>
      <dgm:t>
        <a:bodyPr/>
        <a:lstStyle/>
        <a:p>
          <a:endParaRPr lang="en-US"/>
        </a:p>
      </dgm:t>
    </dgm:pt>
    <dgm:pt modelId="{740FDB69-1215-4885-9CB3-269F11CB1DD4}" type="sibTrans" cxnId="{69259956-DAF3-4273-AD4E-BE7AB4127D94}">
      <dgm:prSet/>
      <dgm:spPr/>
      <dgm:t>
        <a:bodyPr/>
        <a:lstStyle/>
        <a:p>
          <a:endParaRPr lang="en-US"/>
        </a:p>
      </dgm:t>
    </dgm:pt>
    <dgm:pt modelId="{BF55BCA6-0DA9-4FC5-B40E-3AF779AA64C2}">
      <dgm:prSet/>
      <dgm:spPr/>
      <dgm:t>
        <a:bodyPr/>
        <a:lstStyle/>
        <a:p>
          <a:r>
            <a:rPr lang="da-DK"/>
            <a:t>Ved langtidssygdom kan der indgås aftale om teknisk raskmelding</a:t>
          </a:r>
          <a:endParaRPr lang="en-US"/>
        </a:p>
      </dgm:t>
    </dgm:pt>
    <dgm:pt modelId="{3C1B7928-35D9-4FB8-B5C6-C511445DE4A6}" type="parTrans" cxnId="{FABB4897-BC3C-442D-B2C2-B952EF34CF55}">
      <dgm:prSet/>
      <dgm:spPr/>
      <dgm:t>
        <a:bodyPr/>
        <a:lstStyle/>
        <a:p>
          <a:endParaRPr lang="en-US"/>
        </a:p>
      </dgm:t>
    </dgm:pt>
    <dgm:pt modelId="{F7051BF1-669B-4820-A850-4C2F5508F805}" type="sibTrans" cxnId="{FABB4897-BC3C-442D-B2C2-B952EF34CF55}">
      <dgm:prSet/>
      <dgm:spPr/>
      <dgm:t>
        <a:bodyPr/>
        <a:lstStyle/>
        <a:p>
          <a:endParaRPr lang="en-US"/>
        </a:p>
      </dgm:t>
    </dgm:pt>
    <dgm:pt modelId="{CDA9F9EE-6CCC-49F4-A752-8B7BAFDBF857}" type="pres">
      <dgm:prSet presAssocID="{2F7A8DB1-211F-43D9-9D2A-6934FABF6FC4}" presName="root" presStyleCnt="0">
        <dgm:presLayoutVars>
          <dgm:dir/>
          <dgm:resizeHandles val="exact"/>
        </dgm:presLayoutVars>
      </dgm:prSet>
      <dgm:spPr/>
    </dgm:pt>
    <dgm:pt modelId="{3511F2E0-0E21-4EBB-9262-0C139E822D8A}" type="pres">
      <dgm:prSet presAssocID="{919A6E21-B5A3-4701-9299-49686DEB0D85}" presName="compNode" presStyleCnt="0"/>
      <dgm:spPr/>
    </dgm:pt>
    <dgm:pt modelId="{B73CF924-5121-4A5B-B64C-8C9C0B19B4C4}" type="pres">
      <dgm:prSet presAssocID="{919A6E21-B5A3-4701-9299-49686DEB0D85}" presName="bgRect" presStyleLbl="bgShp" presStyleIdx="0" presStyleCnt="4"/>
      <dgm:spPr/>
    </dgm:pt>
    <dgm:pt modelId="{88E61AEE-48FB-4876-82DF-7F3001D8FB63}" type="pres">
      <dgm:prSet presAssocID="{919A6E21-B5A3-4701-9299-49686DEB0D85}"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tetoskop"/>
        </a:ext>
      </dgm:extLst>
    </dgm:pt>
    <dgm:pt modelId="{28828198-AA25-4516-80E0-64FBBC979330}" type="pres">
      <dgm:prSet presAssocID="{919A6E21-B5A3-4701-9299-49686DEB0D85}" presName="spaceRect" presStyleCnt="0"/>
      <dgm:spPr/>
    </dgm:pt>
    <dgm:pt modelId="{6477AA4A-1D6A-4B88-BFDA-68D52A46FC2C}" type="pres">
      <dgm:prSet presAssocID="{919A6E21-B5A3-4701-9299-49686DEB0D85}" presName="parTx" presStyleLbl="revTx" presStyleIdx="0" presStyleCnt="4">
        <dgm:presLayoutVars>
          <dgm:chMax val="0"/>
          <dgm:chPref val="0"/>
        </dgm:presLayoutVars>
      </dgm:prSet>
      <dgm:spPr/>
    </dgm:pt>
    <dgm:pt modelId="{71E77582-9BD3-4AB3-ADFC-90C5194E9ED4}" type="pres">
      <dgm:prSet presAssocID="{FCD12CFA-C644-4881-9934-EC9BAD6B969B}" presName="sibTrans" presStyleCnt="0"/>
      <dgm:spPr/>
    </dgm:pt>
    <dgm:pt modelId="{33C9478C-BDE9-4CAE-B2A7-206E2675EAFC}" type="pres">
      <dgm:prSet presAssocID="{9C1026C0-49AE-4F2D-96B8-D33D167CB1FD}" presName="compNode" presStyleCnt="0"/>
      <dgm:spPr/>
    </dgm:pt>
    <dgm:pt modelId="{1BAAAE92-D696-4DEF-BD6C-02EA79F4C24B}" type="pres">
      <dgm:prSet presAssocID="{9C1026C0-49AE-4F2D-96B8-D33D167CB1FD}" presName="bgRect" presStyleLbl="bgShp" presStyleIdx="1" presStyleCnt="4"/>
      <dgm:spPr/>
    </dgm:pt>
    <dgm:pt modelId="{3A69638D-A8BB-4ED3-8FA4-F7DC416FFE2E}" type="pres">
      <dgm:prSet presAssocID="{9C1026C0-49AE-4F2D-96B8-D33D167CB1F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oon Viewing Ceremony"/>
        </a:ext>
      </dgm:extLst>
    </dgm:pt>
    <dgm:pt modelId="{A1E3972B-3F61-43BD-84BF-E5F6EF63EAF8}" type="pres">
      <dgm:prSet presAssocID="{9C1026C0-49AE-4F2D-96B8-D33D167CB1FD}" presName="spaceRect" presStyleCnt="0"/>
      <dgm:spPr/>
    </dgm:pt>
    <dgm:pt modelId="{0E1DC7E7-250D-4BD3-9350-2B78DB7ED02D}" type="pres">
      <dgm:prSet presAssocID="{9C1026C0-49AE-4F2D-96B8-D33D167CB1FD}" presName="parTx" presStyleLbl="revTx" presStyleIdx="1" presStyleCnt="4">
        <dgm:presLayoutVars>
          <dgm:chMax val="0"/>
          <dgm:chPref val="0"/>
        </dgm:presLayoutVars>
      </dgm:prSet>
      <dgm:spPr/>
    </dgm:pt>
    <dgm:pt modelId="{99B78375-B6A8-4C18-BB4F-BDFB77A55E41}" type="pres">
      <dgm:prSet presAssocID="{EB3047E8-5653-47DF-86C0-2BB1E92280D2}" presName="sibTrans" presStyleCnt="0"/>
      <dgm:spPr/>
    </dgm:pt>
    <dgm:pt modelId="{0CC7426D-C5BC-4FCB-AF1D-E7B0615B0F6B}" type="pres">
      <dgm:prSet presAssocID="{BD2BD9F5-89F4-4D78-8DA9-C32EC5BDCE6D}" presName="compNode" presStyleCnt="0"/>
      <dgm:spPr/>
    </dgm:pt>
    <dgm:pt modelId="{950ACA18-1F86-4001-BA9D-691E7A979829}" type="pres">
      <dgm:prSet presAssocID="{BD2BD9F5-89F4-4D78-8DA9-C32EC5BDCE6D}" presName="bgRect" presStyleLbl="bgShp" presStyleIdx="2" presStyleCnt="4"/>
      <dgm:spPr/>
    </dgm:pt>
    <dgm:pt modelId="{680883EE-D0BC-4422-BB3B-C032EAC19C51}" type="pres">
      <dgm:prSet presAssocID="{BD2BD9F5-89F4-4D78-8DA9-C32EC5BDCE6D}"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ræsenter"/>
        </a:ext>
      </dgm:extLst>
    </dgm:pt>
    <dgm:pt modelId="{449D76AB-46C6-4F8B-9E30-D82D848A3B3D}" type="pres">
      <dgm:prSet presAssocID="{BD2BD9F5-89F4-4D78-8DA9-C32EC5BDCE6D}" presName="spaceRect" presStyleCnt="0"/>
      <dgm:spPr/>
    </dgm:pt>
    <dgm:pt modelId="{E9699E56-3E65-4362-8328-5A739E12BEB4}" type="pres">
      <dgm:prSet presAssocID="{BD2BD9F5-89F4-4D78-8DA9-C32EC5BDCE6D}" presName="parTx" presStyleLbl="revTx" presStyleIdx="2" presStyleCnt="4">
        <dgm:presLayoutVars>
          <dgm:chMax val="0"/>
          <dgm:chPref val="0"/>
        </dgm:presLayoutVars>
      </dgm:prSet>
      <dgm:spPr/>
    </dgm:pt>
    <dgm:pt modelId="{061EA5D0-805E-4528-AE8B-672586A8A7F0}" type="pres">
      <dgm:prSet presAssocID="{740FDB69-1215-4885-9CB3-269F11CB1DD4}" presName="sibTrans" presStyleCnt="0"/>
      <dgm:spPr/>
    </dgm:pt>
    <dgm:pt modelId="{756FC95E-0B2B-42EA-9AF3-332815AF3A37}" type="pres">
      <dgm:prSet presAssocID="{BF55BCA6-0DA9-4FC5-B40E-3AF779AA64C2}" presName="compNode" presStyleCnt="0"/>
      <dgm:spPr/>
    </dgm:pt>
    <dgm:pt modelId="{C0359591-DDF9-4C95-BDA4-5BB5CCE1D742}" type="pres">
      <dgm:prSet presAssocID="{BF55BCA6-0DA9-4FC5-B40E-3AF779AA64C2}" presName="bgRect" presStyleLbl="bgShp" presStyleIdx="3" presStyleCnt="4"/>
      <dgm:spPr/>
    </dgm:pt>
    <dgm:pt modelId="{45B61B61-908F-4481-935A-5085DE4C7517}" type="pres">
      <dgm:prSet presAssocID="{BF55BCA6-0DA9-4FC5-B40E-3AF779AA64C2}"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åndtryk"/>
        </a:ext>
      </dgm:extLst>
    </dgm:pt>
    <dgm:pt modelId="{5AF64108-5AC6-4ED7-98B9-54F99A2BF57A}" type="pres">
      <dgm:prSet presAssocID="{BF55BCA6-0DA9-4FC5-B40E-3AF779AA64C2}" presName="spaceRect" presStyleCnt="0"/>
      <dgm:spPr/>
    </dgm:pt>
    <dgm:pt modelId="{35676D7E-1E3A-48CC-BD3C-537CC04F6917}" type="pres">
      <dgm:prSet presAssocID="{BF55BCA6-0DA9-4FC5-B40E-3AF779AA64C2}" presName="parTx" presStyleLbl="revTx" presStyleIdx="3" presStyleCnt="4">
        <dgm:presLayoutVars>
          <dgm:chMax val="0"/>
          <dgm:chPref val="0"/>
        </dgm:presLayoutVars>
      </dgm:prSet>
      <dgm:spPr/>
    </dgm:pt>
  </dgm:ptLst>
  <dgm:cxnLst>
    <dgm:cxn modelId="{7249B53D-A364-442B-85ED-1A1DEA99FAA1}" srcId="{2F7A8DB1-211F-43D9-9D2A-6934FABF6FC4}" destId="{919A6E21-B5A3-4701-9299-49686DEB0D85}" srcOrd="0" destOrd="0" parTransId="{0698ADF2-9E79-41A7-8C38-039E8A581E51}" sibTransId="{FCD12CFA-C644-4881-9934-EC9BAD6B969B}"/>
    <dgm:cxn modelId="{FCF8EA3E-20D1-49BB-B540-B7970D5CA017}" srcId="{2F7A8DB1-211F-43D9-9D2A-6934FABF6FC4}" destId="{9C1026C0-49AE-4F2D-96B8-D33D167CB1FD}" srcOrd="1" destOrd="0" parTransId="{43699878-468C-4CED-8901-CF87446F3FC9}" sibTransId="{EB3047E8-5653-47DF-86C0-2BB1E92280D2}"/>
    <dgm:cxn modelId="{657DC649-C3E9-4F52-B7B3-D2D9000068AE}" type="presOf" srcId="{2F7A8DB1-211F-43D9-9D2A-6934FABF6FC4}" destId="{CDA9F9EE-6CCC-49F4-A752-8B7BAFDBF857}" srcOrd="0" destOrd="0" presId="urn:microsoft.com/office/officeart/2018/2/layout/IconVerticalSolidList"/>
    <dgm:cxn modelId="{69259956-DAF3-4273-AD4E-BE7AB4127D94}" srcId="{2F7A8DB1-211F-43D9-9D2A-6934FABF6FC4}" destId="{BD2BD9F5-89F4-4D78-8DA9-C32EC5BDCE6D}" srcOrd="2" destOrd="0" parTransId="{1C9C35E7-88B7-4767-B159-30417D48EAD1}" sibTransId="{740FDB69-1215-4885-9CB3-269F11CB1DD4}"/>
    <dgm:cxn modelId="{FABB4897-BC3C-442D-B2C2-B952EF34CF55}" srcId="{2F7A8DB1-211F-43D9-9D2A-6934FABF6FC4}" destId="{BF55BCA6-0DA9-4FC5-B40E-3AF779AA64C2}" srcOrd="3" destOrd="0" parTransId="{3C1B7928-35D9-4FB8-B5C6-C511445DE4A6}" sibTransId="{F7051BF1-669B-4820-A850-4C2F5508F805}"/>
    <dgm:cxn modelId="{444AADA9-911A-4730-83D4-DBBEDD0A920A}" type="presOf" srcId="{BF55BCA6-0DA9-4FC5-B40E-3AF779AA64C2}" destId="{35676D7E-1E3A-48CC-BD3C-537CC04F6917}" srcOrd="0" destOrd="0" presId="urn:microsoft.com/office/officeart/2018/2/layout/IconVerticalSolidList"/>
    <dgm:cxn modelId="{98BB8BB6-ABFE-44F5-A8D4-DD45860F0C96}" type="presOf" srcId="{919A6E21-B5A3-4701-9299-49686DEB0D85}" destId="{6477AA4A-1D6A-4B88-BFDA-68D52A46FC2C}" srcOrd="0" destOrd="0" presId="urn:microsoft.com/office/officeart/2018/2/layout/IconVerticalSolidList"/>
    <dgm:cxn modelId="{641509D2-2241-46CD-B175-0722AF9DE85E}" type="presOf" srcId="{9C1026C0-49AE-4F2D-96B8-D33D167CB1FD}" destId="{0E1DC7E7-250D-4BD3-9350-2B78DB7ED02D}" srcOrd="0" destOrd="0" presId="urn:microsoft.com/office/officeart/2018/2/layout/IconVerticalSolidList"/>
    <dgm:cxn modelId="{A46A06F0-DC87-45CA-967A-5A41FD7DA318}" type="presOf" srcId="{BD2BD9F5-89F4-4D78-8DA9-C32EC5BDCE6D}" destId="{E9699E56-3E65-4362-8328-5A739E12BEB4}" srcOrd="0" destOrd="0" presId="urn:microsoft.com/office/officeart/2018/2/layout/IconVerticalSolidList"/>
    <dgm:cxn modelId="{F243DB01-A37A-4FD6-B328-01EA04BC7AC9}" type="presParOf" srcId="{CDA9F9EE-6CCC-49F4-A752-8B7BAFDBF857}" destId="{3511F2E0-0E21-4EBB-9262-0C139E822D8A}" srcOrd="0" destOrd="0" presId="urn:microsoft.com/office/officeart/2018/2/layout/IconVerticalSolidList"/>
    <dgm:cxn modelId="{42BA27B0-91FD-4120-8C83-0F1F3CE2A669}" type="presParOf" srcId="{3511F2E0-0E21-4EBB-9262-0C139E822D8A}" destId="{B73CF924-5121-4A5B-B64C-8C9C0B19B4C4}" srcOrd="0" destOrd="0" presId="urn:microsoft.com/office/officeart/2018/2/layout/IconVerticalSolidList"/>
    <dgm:cxn modelId="{6C4BE6ED-3C72-44DE-AABD-773C035CBB5E}" type="presParOf" srcId="{3511F2E0-0E21-4EBB-9262-0C139E822D8A}" destId="{88E61AEE-48FB-4876-82DF-7F3001D8FB63}" srcOrd="1" destOrd="0" presId="urn:microsoft.com/office/officeart/2018/2/layout/IconVerticalSolidList"/>
    <dgm:cxn modelId="{A97FC204-C7D4-44C4-843B-DC525C567C11}" type="presParOf" srcId="{3511F2E0-0E21-4EBB-9262-0C139E822D8A}" destId="{28828198-AA25-4516-80E0-64FBBC979330}" srcOrd="2" destOrd="0" presId="urn:microsoft.com/office/officeart/2018/2/layout/IconVerticalSolidList"/>
    <dgm:cxn modelId="{619B0CF0-8E1B-4BF3-A440-C38E70F4E3EA}" type="presParOf" srcId="{3511F2E0-0E21-4EBB-9262-0C139E822D8A}" destId="{6477AA4A-1D6A-4B88-BFDA-68D52A46FC2C}" srcOrd="3" destOrd="0" presId="urn:microsoft.com/office/officeart/2018/2/layout/IconVerticalSolidList"/>
    <dgm:cxn modelId="{8F41C06C-9B1C-4FD1-8EC4-8A2117F37BF5}" type="presParOf" srcId="{CDA9F9EE-6CCC-49F4-A752-8B7BAFDBF857}" destId="{71E77582-9BD3-4AB3-ADFC-90C5194E9ED4}" srcOrd="1" destOrd="0" presId="urn:microsoft.com/office/officeart/2018/2/layout/IconVerticalSolidList"/>
    <dgm:cxn modelId="{31CC335E-E1DC-4F9F-8432-72B326473BB8}" type="presParOf" srcId="{CDA9F9EE-6CCC-49F4-A752-8B7BAFDBF857}" destId="{33C9478C-BDE9-4CAE-B2A7-206E2675EAFC}" srcOrd="2" destOrd="0" presId="urn:microsoft.com/office/officeart/2018/2/layout/IconVerticalSolidList"/>
    <dgm:cxn modelId="{B3A87E96-7E71-4FA2-BAB5-406E6BD565A4}" type="presParOf" srcId="{33C9478C-BDE9-4CAE-B2A7-206E2675EAFC}" destId="{1BAAAE92-D696-4DEF-BD6C-02EA79F4C24B}" srcOrd="0" destOrd="0" presId="urn:microsoft.com/office/officeart/2018/2/layout/IconVerticalSolidList"/>
    <dgm:cxn modelId="{4A7EC120-5CC3-4523-AAB6-58F65239E657}" type="presParOf" srcId="{33C9478C-BDE9-4CAE-B2A7-206E2675EAFC}" destId="{3A69638D-A8BB-4ED3-8FA4-F7DC416FFE2E}" srcOrd="1" destOrd="0" presId="urn:microsoft.com/office/officeart/2018/2/layout/IconVerticalSolidList"/>
    <dgm:cxn modelId="{7ED55190-1969-4AC1-877C-85C73B5E2ADC}" type="presParOf" srcId="{33C9478C-BDE9-4CAE-B2A7-206E2675EAFC}" destId="{A1E3972B-3F61-43BD-84BF-E5F6EF63EAF8}" srcOrd="2" destOrd="0" presId="urn:microsoft.com/office/officeart/2018/2/layout/IconVerticalSolidList"/>
    <dgm:cxn modelId="{FD566BED-4398-408D-8F56-FDE7A6C5AE61}" type="presParOf" srcId="{33C9478C-BDE9-4CAE-B2A7-206E2675EAFC}" destId="{0E1DC7E7-250D-4BD3-9350-2B78DB7ED02D}" srcOrd="3" destOrd="0" presId="urn:microsoft.com/office/officeart/2018/2/layout/IconVerticalSolidList"/>
    <dgm:cxn modelId="{2CAA6A5A-07C8-45C8-8B49-65243A909231}" type="presParOf" srcId="{CDA9F9EE-6CCC-49F4-A752-8B7BAFDBF857}" destId="{99B78375-B6A8-4C18-BB4F-BDFB77A55E41}" srcOrd="3" destOrd="0" presId="urn:microsoft.com/office/officeart/2018/2/layout/IconVerticalSolidList"/>
    <dgm:cxn modelId="{B8C599F6-D09E-418E-BA4A-7603733EACAA}" type="presParOf" srcId="{CDA9F9EE-6CCC-49F4-A752-8B7BAFDBF857}" destId="{0CC7426D-C5BC-4FCB-AF1D-E7B0615B0F6B}" srcOrd="4" destOrd="0" presId="urn:microsoft.com/office/officeart/2018/2/layout/IconVerticalSolidList"/>
    <dgm:cxn modelId="{75B40BAF-A7A0-484D-94ED-77D19F73A2DD}" type="presParOf" srcId="{0CC7426D-C5BC-4FCB-AF1D-E7B0615B0F6B}" destId="{950ACA18-1F86-4001-BA9D-691E7A979829}" srcOrd="0" destOrd="0" presId="urn:microsoft.com/office/officeart/2018/2/layout/IconVerticalSolidList"/>
    <dgm:cxn modelId="{87A33438-AB9D-48BC-B33A-752BFE2F4331}" type="presParOf" srcId="{0CC7426D-C5BC-4FCB-AF1D-E7B0615B0F6B}" destId="{680883EE-D0BC-4422-BB3B-C032EAC19C51}" srcOrd="1" destOrd="0" presId="urn:microsoft.com/office/officeart/2018/2/layout/IconVerticalSolidList"/>
    <dgm:cxn modelId="{4947AA81-A6B8-42AC-833C-6DADDB8B2426}" type="presParOf" srcId="{0CC7426D-C5BC-4FCB-AF1D-E7B0615B0F6B}" destId="{449D76AB-46C6-4F8B-9E30-D82D848A3B3D}" srcOrd="2" destOrd="0" presId="urn:microsoft.com/office/officeart/2018/2/layout/IconVerticalSolidList"/>
    <dgm:cxn modelId="{1C8B2F8E-DEC2-404D-AB5D-09AAB69C846A}" type="presParOf" srcId="{0CC7426D-C5BC-4FCB-AF1D-E7B0615B0F6B}" destId="{E9699E56-3E65-4362-8328-5A739E12BEB4}" srcOrd="3" destOrd="0" presId="urn:microsoft.com/office/officeart/2018/2/layout/IconVerticalSolidList"/>
    <dgm:cxn modelId="{A2204E96-47DD-4DB2-AFEB-9979D51E99CC}" type="presParOf" srcId="{CDA9F9EE-6CCC-49F4-A752-8B7BAFDBF857}" destId="{061EA5D0-805E-4528-AE8B-672586A8A7F0}" srcOrd="5" destOrd="0" presId="urn:microsoft.com/office/officeart/2018/2/layout/IconVerticalSolidList"/>
    <dgm:cxn modelId="{2B0CFB9D-8978-4393-B1D2-A8A5BC04024E}" type="presParOf" srcId="{CDA9F9EE-6CCC-49F4-A752-8B7BAFDBF857}" destId="{756FC95E-0B2B-42EA-9AF3-332815AF3A37}" srcOrd="6" destOrd="0" presId="urn:microsoft.com/office/officeart/2018/2/layout/IconVerticalSolidList"/>
    <dgm:cxn modelId="{D2A893A7-8453-4054-A220-D7D42C693E86}" type="presParOf" srcId="{756FC95E-0B2B-42EA-9AF3-332815AF3A37}" destId="{C0359591-DDF9-4C95-BDA4-5BB5CCE1D742}" srcOrd="0" destOrd="0" presId="urn:microsoft.com/office/officeart/2018/2/layout/IconVerticalSolidList"/>
    <dgm:cxn modelId="{ABE573C9-68F7-4FFD-B367-2084D25DCADF}" type="presParOf" srcId="{756FC95E-0B2B-42EA-9AF3-332815AF3A37}" destId="{45B61B61-908F-4481-935A-5085DE4C7517}" srcOrd="1" destOrd="0" presId="urn:microsoft.com/office/officeart/2018/2/layout/IconVerticalSolidList"/>
    <dgm:cxn modelId="{06EAC69A-CAEC-411B-AE88-24F54E2D7BD7}" type="presParOf" srcId="{756FC95E-0B2B-42EA-9AF3-332815AF3A37}" destId="{5AF64108-5AC6-4ED7-98B9-54F99A2BF57A}" srcOrd="2" destOrd="0" presId="urn:microsoft.com/office/officeart/2018/2/layout/IconVerticalSolidList"/>
    <dgm:cxn modelId="{03159DE6-2759-4751-8494-FEAAFCAD2879}" type="presParOf" srcId="{756FC95E-0B2B-42EA-9AF3-332815AF3A37}" destId="{35676D7E-1E3A-48CC-BD3C-537CC04F691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0DA37-1F16-405D-AAC8-643E8284F055}">
      <dsp:nvSpPr>
        <dsp:cNvPr id="0" name=""/>
        <dsp:cNvSpPr/>
      </dsp:nvSpPr>
      <dsp:spPr>
        <a:xfrm>
          <a:off x="0" y="36175"/>
          <a:ext cx="6900512" cy="1032854"/>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da-DK" sz="2600" kern="1200"/>
            <a:t>Ledelsesretten </a:t>
          </a:r>
          <a:endParaRPr lang="en-US" sz="2600" kern="1200"/>
        </a:p>
      </dsp:txBody>
      <dsp:txXfrm>
        <a:off x="50420" y="86595"/>
        <a:ext cx="6799672" cy="932014"/>
      </dsp:txXfrm>
    </dsp:sp>
    <dsp:sp modelId="{A712FBC5-2AB5-4E1B-B7B7-85BAE6AD4C6E}">
      <dsp:nvSpPr>
        <dsp:cNvPr id="0" name=""/>
        <dsp:cNvSpPr/>
      </dsp:nvSpPr>
      <dsp:spPr>
        <a:xfrm>
          <a:off x="0" y="1143909"/>
          <a:ext cx="6900512" cy="1032854"/>
        </a:xfrm>
        <a:prstGeom prst="roundRect">
          <a:avLst/>
        </a:prstGeom>
        <a:solidFill>
          <a:schemeClr val="accent2">
            <a:hueOff val="-363841"/>
            <a:satOff val="-20982"/>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da-DK" sz="2600" kern="1200" dirty="0"/>
            <a:t>Drøftes med den ansatte og der tages hensyn til ønsker</a:t>
          </a:r>
          <a:endParaRPr lang="en-US" sz="2600" kern="1200" dirty="0"/>
        </a:p>
      </dsp:txBody>
      <dsp:txXfrm>
        <a:off x="50420" y="1194329"/>
        <a:ext cx="6799672" cy="932014"/>
      </dsp:txXfrm>
    </dsp:sp>
    <dsp:sp modelId="{452040EF-E212-4169-A723-AAEC7686BEBF}">
      <dsp:nvSpPr>
        <dsp:cNvPr id="0" name=""/>
        <dsp:cNvSpPr/>
      </dsp:nvSpPr>
      <dsp:spPr>
        <a:xfrm>
          <a:off x="0" y="2251643"/>
          <a:ext cx="6900512" cy="1032854"/>
        </a:xfrm>
        <a:prstGeom prst="roundRect">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da-DK" sz="2600" kern="1200"/>
            <a:t>Principper i MED</a:t>
          </a:r>
          <a:endParaRPr lang="en-US" sz="2600" kern="1200"/>
        </a:p>
      </dsp:txBody>
      <dsp:txXfrm>
        <a:off x="50420" y="2302063"/>
        <a:ext cx="6799672" cy="932014"/>
      </dsp:txXfrm>
    </dsp:sp>
    <dsp:sp modelId="{770160AC-A468-4740-B543-9E0C4D552DDB}">
      <dsp:nvSpPr>
        <dsp:cNvPr id="0" name=""/>
        <dsp:cNvSpPr/>
      </dsp:nvSpPr>
      <dsp:spPr>
        <a:xfrm>
          <a:off x="0" y="3359377"/>
          <a:ext cx="6900512" cy="1032854"/>
        </a:xfrm>
        <a:prstGeom prst="roundRect">
          <a:avLst/>
        </a:prstGeom>
        <a:solidFill>
          <a:schemeClr val="accent2">
            <a:hueOff val="-1091522"/>
            <a:satOff val="-62946"/>
            <a:lumOff val="6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da-DK" sz="2600" kern="1200"/>
            <a:t>Hovedferien (3 uger) mellem: 1. maj og 30. september</a:t>
          </a:r>
          <a:endParaRPr lang="en-US" sz="2600" kern="1200"/>
        </a:p>
      </dsp:txBody>
      <dsp:txXfrm>
        <a:off x="50420" y="3409797"/>
        <a:ext cx="6799672" cy="932014"/>
      </dsp:txXfrm>
    </dsp:sp>
    <dsp:sp modelId="{612EDFB3-B371-40BA-B3DC-3DF97F0AAFEC}">
      <dsp:nvSpPr>
        <dsp:cNvPr id="0" name=""/>
        <dsp:cNvSpPr/>
      </dsp:nvSpPr>
      <dsp:spPr>
        <a:xfrm>
          <a:off x="0" y="4467111"/>
          <a:ext cx="6900512" cy="1032854"/>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da-DK" sz="2600" kern="1200" dirty="0"/>
            <a:t>Restuger mellem 1. </a:t>
          </a:r>
          <a:r>
            <a:rPr lang="da-DK" sz="2600" kern="1200"/>
            <a:t>oktober </a:t>
          </a:r>
          <a:r>
            <a:rPr lang="da-DK" sz="2600" kern="1200" dirty="0"/>
            <a:t>- 31. december + 1. januar – 30. april</a:t>
          </a:r>
          <a:endParaRPr lang="en-US" sz="2600" kern="1200" dirty="0"/>
        </a:p>
      </dsp:txBody>
      <dsp:txXfrm>
        <a:off x="50420" y="4517531"/>
        <a:ext cx="6799672" cy="9320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22FA6E-CAA5-4996-B0A9-C8F86F8B6B3C}">
      <dsp:nvSpPr>
        <dsp:cNvPr id="0" name=""/>
        <dsp:cNvSpPr/>
      </dsp:nvSpPr>
      <dsp:spPr>
        <a:xfrm>
          <a:off x="0" y="58542"/>
          <a:ext cx="6666833" cy="1719424"/>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da-DK" sz="3100" kern="1200"/>
            <a:t>Hovedferie varsles med 3 måneder</a:t>
          </a:r>
          <a:endParaRPr lang="en-US" sz="3100" kern="1200"/>
        </a:p>
      </dsp:txBody>
      <dsp:txXfrm>
        <a:off x="83935" y="142477"/>
        <a:ext cx="6498963" cy="1551554"/>
      </dsp:txXfrm>
    </dsp:sp>
    <dsp:sp modelId="{B1D9D993-C69A-4E30-82FF-4F4FD20704A1}">
      <dsp:nvSpPr>
        <dsp:cNvPr id="0" name=""/>
        <dsp:cNvSpPr/>
      </dsp:nvSpPr>
      <dsp:spPr>
        <a:xfrm>
          <a:off x="0" y="1867247"/>
          <a:ext cx="6666833" cy="1719424"/>
        </a:xfrm>
        <a:prstGeom prst="roundRect">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da-DK" sz="3100" kern="1200"/>
            <a:t>Restferie varsles med 1 måned</a:t>
          </a:r>
          <a:endParaRPr lang="en-US" sz="3100" kern="1200"/>
        </a:p>
      </dsp:txBody>
      <dsp:txXfrm>
        <a:off x="83935" y="1951182"/>
        <a:ext cx="6498963" cy="1551554"/>
      </dsp:txXfrm>
    </dsp:sp>
    <dsp:sp modelId="{834B8872-C16B-46FE-AF94-13D7EE0B7BD4}">
      <dsp:nvSpPr>
        <dsp:cNvPr id="0" name=""/>
        <dsp:cNvSpPr/>
      </dsp:nvSpPr>
      <dsp:spPr>
        <a:xfrm>
          <a:off x="0" y="3675952"/>
          <a:ext cx="6666833" cy="1719424"/>
        </a:xfrm>
        <a:prstGeom prst="roundRect">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da-DK" sz="3100" kern="1200"/>
            <a:t>6. ferieuge planlægges efter medarbejders ønske (dog under hensyn til driften)</a:t>
          </a:r>
          <a:endParaRPr lang="en-US" sz="3100" kern="1200"/>
        </a:p>
      </dsp:txBody>
      <dsp:txXfrm>
        <a:off x="83935" y="3759887"/>
        <a:ext cx="6498963" cy="15515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7183DB-2036-4595-B32E-C62413E71295}">
      <dsp:nvSpPr>
        <dsp:cNvPr id="0" name=""/>
        <dsp:cNvSpPr/>
      </dsp:nvSpPr>
      <dsp:spPr>
        <a:xfrm>
          <a:off x="0" y="0"/>
          <a:ext cx="8938260" cy="1958102"/>
        </a:xfrm>
        <a:prstGeom prst="roundRect">
          <a:avLst>
            <a:gd name="adj" fmla="val 1000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l" defTabSz="1955800">
            <a:lnSpc>
              <a:spcPct val="90000"/>
            </a:lnSpc>
            <a:spcBef>
              <a:spcPct val="0"/>
            </a:spcBef>
            <a:spcAft>
              <a:spcPct val="35000"/>
            </a:spcAft>
            <a:buNone/>
          </a:pPr>
          <a:r>
            <a:rPr lang="da-DK" sz="4400" kern="1200" dirty="0"/>
            <a:t>Arbejdstidsbegyndelse den første arbejdsdag</a:t>
          </a:r>
          <a:endParaRPr lang="en-US" sz="4400" kern="1200" dirty="0"/>
        </a:p>
      </dsp:txBody>
      <dsp:txXfrm>
        <a:off x="57351" y="57351"/>
        <a:ext cx="6914408" cy="1843400"/>
      </dsp:txXfrm>
    </dsp:sp>
    <dsp:sp modelId="{DEA57791-AA4F-42C2-AD87-E588290D8331}">
      <dsp:nvSpPr>
        <dsp:cNvPr id="0" name=""/>
        <dsp:cNvSpPr/>
      </dsp:nvSpPr>
      <dsp:spPr>
        <a:xfrm>
          <a:off x="1577339" y="2393235"/>
          <a:ext cx="8938260" cy="1958102"/>
        </a:xfrm>
        <a:prstGeom prst="roundRect">
          <a:avLst>
            <a:gd name="adj" fmla="val 10000"/>
          </a:avLst>
        </a:prstGeom>
        <a:solidFill>
          <a:schemeClr val="accent5">
            <a:hueOff val="-6758543"/>
            <a:satOff val="-17419"/>
            <a:lumOff val="-11765"/>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l" defTabSz="1955800">
            <a:lnSpc>
              <a:spcPct val="90000"/>
            </a:lnSpc>
            <a:spcBef>
              <a:spcPct val="0"/>
            </a:spcBef>
            <a:spcAft>
              <a:spcPct val="35000"/>
            </a:spcAft>
            <a:buNone/>
          </a:pPr>
          <a:r>
            <a:rPr lang="da-DK" sz="4400" kern="1200" dirty="0"/>
            <a:t>Ferieugens/ferieugernes sidste arbejdsdag</a:t>
          </a:r>
          <a:endParaRPr lang="en-US" sz="4400" kern="1200" dirty="0"/>
        </a:p>
      </dsp:txBody>
      <dsp:txXfrm>
        <a:off x="1634690" y="2450586"/>
        <a:ext cx="5973451" cy="1843400"/>
      </dsp:txXfrm>
    </dsp:sp>
    <dsp:sp modelId="{4A0C9741-F6EF-4005-B4F0-B970CAD49679}">
      <dsp:nvSpPr>
        <dsp:cNvPr id="0" name=""/>
        <dsp:cNvSpPr/>
      </dsp:nvSpPr>
      <dsp:spPr>
        <a:xfrm>
          <a:off x="7665493" y="1539285"/>
          <a:ext cx="1272766" cy="1272766"/>
        </a:xfrm>
        <a:prstGeom prst="downArrow">
          <a:avLst>
            <a:gd name="adj1" fmla="val 55000"/>
            <a:gd name="adj2" fmla="val 45000"/>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7951865" y="1539285"/>
        <a:ext cx="700022" cy="95775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3CF924-5121-4A5B-B64C-8C9C0B19B4C4}">
      <dsp:nvSpPr>
        <dsp:cNvPr id="0" name=""/>
        <dsp:cNvSpPr/>
      </dsp:nvSpPr>
      <dsp:spPr>
        <a:xfrm>
          <a:off x="0" y="2319"/>
          <a:ext cx="6245265" cy="117572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E61AEE-48FB-4876-82DF-7F3001D8FB63}">
      <dsp:nvSpPr>
        <dsp:cNvPr id="0" name=""/>
        <dsp:cNvSpPr/>
      </dsp:nvSpPr>
      <dsp:spPr>
        <a:xfrm>
          <a:off x="355657" y="266858"/>
          <a:ext cx="646650" cy="64665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77AA4A-1D6A-4B88-BFDA-68D52A46FC2C}">
      <dsp:nvSpPr>
        <dsp:cNvPr id="0" name=""/>
        <dsp:cNvSpPr/>
      </dsp:nvSpPr>
      <dsp:spPr>
        <a:xfrm>
          <a:off x="1357965" y="2319"/>
          <a:ext cx="4887299" cy="11757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431" tIns="124431" rIns="124431" bIns="124431" numCol="1" spcCol="1270" anchor="ctr" anchorCtr="0">
          <a:noAutofit/>
        </a:bodyPr>
        <a:lstStyle/>
        <a:p>
          <a:pPr marL="0" lvl="0" indent="0" algn="l" defTabSz="977900">
            <a:lnSpc>
              <a:spcPct val="90000"/>
            </a:lnSpc>
            <a:spcBef>
              <a:spcPct val="0"/>
            </a:spcBef>
            <a:spcAft>
              <a:spcPct val="35000"/>
            </a:spcAft>
            <a:buNone/>
          </a:pPr>
          <a:r>
            <a:rPr lang="da-DK" sz="2200" kern="1200" dirty="0"/>
            <a:t>Sygdom er feriehindring. </a:t>
          </a:r>
          <a:endParaRPr lang="en-US" sz="2200" kern="1200" dirty="0"/>
        </a:p>
      </dsp:txBody>
      <dsp:txXfrm>
        <a:off x="1357965" y="2319"/>
        <a:ext cx="4887299" cy="1175727"/>
      </dsp:txXfrm>
    </dsp:sp>
    <dsp:sp modelId="{1BAAAE92-D696-4DEF-BD6C-02EA79F4C24B}">
      <dsp:nvSpPr>
        <dsp:cNvPr id="0" name=""/>
        <dsp:cNvSpPr/>
      </dsp:nvSpPr>
      <dsp:spPr>
        <a:xfrm>
          <a:off x="0" y="1471979"/>
          <a:ext cx="6245265" cy="117572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69638D-A8BB-4ED3-8FA4-F7DC416FFE2E}">
      <dsp:nvSpPr>
        <dsp:cNvPr id="0" name=""/>
        <dsp:cNvSpPr/>
      </dsp:nvSpPr>
      <dsp:spPr>
        <a:xfrm>
          <a:off x="355657" y="1736518"/>
          <a:ext cx="646650" cy="64665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E1DC7E7-250D-4BD3-9350-2B78DB7ED02D}">
      <dsp:nvSpPr>
        <dsp:cNvPr id="0" name=""/>
        <dsp:cNvSpPr/>
      </dsp:nvSpPr>
      <dsp:spPr>
        <a:xfrm>
          <a:off x="1357965" y="1471979"/>
          <a:ext cx="4887299" cy="11757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431" tIns="124431" rIns="124431" bIns="124431" numCol="1" spcCol="1270" anchor="ctr" anchorCtr="0">
          <a:noAutofit/>
        </a:bodyPr>
        <a:lstStyle/>
        <a:p>
          <a:pPr marL="0" lvl="0" indent="0" algn="l" defTabSz="977900">
            <a:lnSpc>
              <a:spcPct val="90000"/>
            </a:lnSpc>
            <a:spcBef>
              <a:spcPct val="0"/>
            </a:spcBef>
            <a:spcAft>
              <a:spcPct val="35000"/>
            </a:spcAft>
            <a:buNone/>
          </a:pPr>
          <a:r>
            <a:rPr lang="da-DK" sz="2200" kern="1200"/>
            <a:t>- man kan altså ikke holde ferie, når man er syg.</a:t>
          </a:r>
          <a:endParaRPr lang="en-US" sz="2200" kern="1200"/>
        </a:p>
      </dsp:txBody>
      <dsp:txXfrm>
        <a:off x="1357965" y="1471979"/>
        <a:ext cx="4887299" cy="1175727"/>
      </dsp:txXfrm>
    </dsp:sp>
    <dsp:sp modelId="{950ACA18-1F86-4001-BA9D-691E7A979829}">
      <dsp:nvSpPr>
        <dsp:cNvPr id="0" name=""/>
        <dsp:cNvSpPr/>
      </dsp:nvSpPr>
      <dsp:spPr>
        <a:xfrm>
          <a:off x="0" y="2941639"/>
          <a:ext cx="6245265" cy="117572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0883EE-D0BC-4422-BB3B-C032EAC19C51}">
      <dsp:nvSpPr>
        <dsp:cNvPr id="0" name=""/>
        <dsp:cNvSpPr/>
      </dsp:nvSpPr>
      <dsp:spPr>
        <a:xfrm>
          <a:off x="355657" y="3206178"/>
          <a:ext cx="646650" cy="64665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699E56-3E65-4362-8328-5A739E12BEB4}">
      <dsp:nvSpPr>
        <dsp:cNvPr id="0" name=""/>
        <dsp:cNvSpPr/>
      </dsp:nvSpPr>
      <dsp:spPr>
        <a:xfrm>
          <a:off x="1357965" y="2941639"/>
          <a:ext cx="4887299" cy="11757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431" tIns="124431" rIns="124431" bIns="124431" numCol="1" spcCol="1270" anchor="ctr" anchorCtr="0">
          <a:noAutofit/>
        </a:bodyPr>
        <a:lstStyle/>
        <a:p>
          <a:pPr marL="0" lvl="0" indent="0" algn="l" defTabSz="977900">
            <a:lnSpc>
              <a:spcPct val="90000"/>
            </a:lnSpc>
            <a:spcBef>
              <a:spcPct val="0"/>
            </a:spcBef>
            <a:spcAft>
              <a:spcPct val="35000"/>
            </a:spcAft>
            <a:buNone/>
          </a:pPr>
          <a:r>
            <a:rPr lang="da-DK" sz="2200" kern="1200"/>
            <a:t>Ønsker man sin ferie, skal man raskmeldes sig forinden den påbegyndes</a:t>
          </a:r>
          <a:endParaRPr lang="en-US" sz="2200" kern="1200"/>
        </a:p>
      </dsp:txBody>
      <dsp:txXfrm>
        <a:off x="1357965" y="2941639"/>
        <a:ext cx="4887299" cy="1175727"/>
      </dsp:txXfrm>
    </dsp:sp>
    <dsp:sp modelId="{C0359591-DDF9-4C95-BDA4-5BB5CCE1D742}">
      <dsp:nvSpPr>
        <dsp:cNvPr id="0" name=""/>
        <dsp:cNvSpPr/>
      </dsp:nvSpPr>
      <dsp:spPr>
        <a:xfrm>
          <a:off x="0" y="4411299"/>
          <a:ext cx="6245265" cy="117572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B61B61-908F-4481-935A-5085DE4C7517}">
      <dsp:nvSpPr>
        <dsp:cNvPr id="0" name=""/>
        <dsp:cNvSpPr/>
      </dsp:nvSpPr>
      <dsp:spPr>
        <a:xfrm>
          <a:off x="355657" y="4675838"/>
          <a:ext cx="646650" cy="64665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5676D7E-1E3A-48CC-BD3C-537CC04F6917}">
      <dsp:nvSpPr>
        <dsp:cNvPr id="0" name=""/>
        <dsp:cNvSpPr/>
      </dsp:nvSpPr>
      <dsp:spPr>
        <a:xfrm>
          <a:off x="1357965" y="4411299"/>
          <a:ext cx="4887299" cy="11757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431" tIns="124431" rIns="124431" bIns="124431" numCol="1" spcCol="1270" anchor="ctr" anchorCtr="0">
          <a:noAutofit/>
        </a:bodyPr>
        <a:lstStyle/>
        <a:p>
          <a:pPr marL="0" lvl="0" indent="0" algn="l" defTabSz="977900">
            <a:lnSpc>
              <a:spcPct val="90000"/>
            </a:lnSpc>
            <a:spcBef>
              <a:spcPct val="0"/>
            </a:spcBef>
            <a:spcAft>
              <a:spcPct val="35000"/>
            </a:spcAft>
            <a:buNone/>
          </a:pPr>
          <a:r>
            <a:rPr lang="da-DK" sz="2200" kern="1200"/>
            <a:t>Ved langtidssygdom kan der indgås aftale om teknisk raskmelding</a:t>
          </a:r>
          <a:endParaRPr lang="en-US" sz="2200" kern="1200"/>
        </a:p>
      </dsp:txBody>
      <dsp:txXfrm>
        <a:off x="1357965" y="4411299"/>
        <a:ext cx="4887299" cy="117572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2" y="0"/>
            <a:ext cx="2945659" cy="498055"/>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5" y="0"/>
            <a:ext cx="2945659" cy="498055"/>
          </a:xfrm>
          <a:prstGeom prst="rect">
            <a:avLst/>
          </a:prstGeom>
        </p:spPr>
        <p:txBody>
          <a:bodyPr vert="horz" lIns="91440" tIns="45720" rIns="91440" bIns="45720" rtlCol="0"/>
          <a:lstStyle>
            <a:lvl1pPr algn="r">
              <a:defRPr sz="1200"/>
            </a:lvl1pPr>
          </a:lstStyle>
          <a:p>
            <a:fld id="{BF1527D8-8589-40CC-873D-EBFE2809A501}" type="datetimeFigureOut">
              <a:rPr lang="da-DK" smtClean="0"/>
              <a:t>17-02-2026</a:t>
            </a:fld>
            <a:endParaRPr lang="da-DK"/>
          </a:p>
        </p:txBody>
      </p:sp>
      <p:sp>
        <p:nvSpPr>
          <p:cNvPr id="4" name="Pladsholder til slidebillede 3"/>
          <p:cNvSpPr>
            <a:spLocks noGrp="1" noRot="1" noChangeAspect="1"/>
          </p:cNvSpPr>
          <p:nvPr>
            <p:ph type="sldImg" idx="2"/>
          </p:nvPr>
        </p:nvSpPr>
        <p:spPr>
          <a:xfrm>
            <a:off x="425450" y="1243013"/>
            <a:ext cx="5946775" cy="33464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2"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5" y="9428584"/>
            <a:ext cx="2945659" cy="498055"/>
          </a:xfrm>
          <a:prstGeom prst="rect">
            <a:avLst/>
          </a:prstGeom>
        </p:spPr>
        <p:txBody>
          <a:bodyPr vert="horz" lIns="91440" tIns="45720" rIns="91440" bIns="45720" rtlCol="0" anchor="b"/>
          <a:lstStyle>
            <a:lvl1pPr algn="r">
              <a:defRPr sz="1200"/>
            </a:lvl1pPr>
          </a:lstStyle>
          <a:p>
            <a:fld id="{45599F38-6C5F-49EB-82E0-2624FB3238C2}" type="slidenum">
              <a:rPr lang="da-DK" smtClean="0"/>
              <a:t>‹nr.›</a:t>
            </a:fld>
            <a:endParaRPr lang="da-DK"/>
          </a:p>
        </p:txBody>
      </p:sp>
    </p:spTree>
    <p:extLst>
      <p:ext uri="{BB962C8B-B14F-4D97-AF65-F5344CB8AC3E}">
        <p14:creationId xmlns:p14="http://schemas.microsoft.com/office/powerpoint/2010/main" val="26621649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1</a:t>
            </a:fld>
            <a:endParaRPr lang="da-DK"/>
          </a:p>
        </p:txBody>
      </p:sp>
    </p:spTree>
    <p:extLst>
      <p:ext uri="{BB962C8B-B14F-4D97-AF65-F5344CB8AC3E}">
        <p14:creationId xmlns:p14="http://schemas.microsoft.com/office/powerpoint/2010/main" val="33136286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a:extLst>
              <a:ext uri="{FF2B5EF4-FFF2-40B4-BE49-F238E27FC236}">
                <a16:creationId xmlns:a16="http://schemas.microsoft.com/office/drawing/2014/main" id="{7E68FCED-62AF-A508-ACD7-A9513062CE3B}"/>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19163">
              <a:spcBef>
                <a:spcPct val="30000"/>
              </a:spcBef>
              <a:defRPr sz="1200">
                <a:solidFill>
                  <a:schemeClr val="tx1"/>
                </a:solidFill>
                <a:latin typeface="Times New Roman" panose="02020603050405020304" pitchFamily="18" charset="0"/>
              </a:defRPr>
            </a:lvl1pPr>
            <a:lvl2pPr marL="742950" indent="-285750" defTabSz="919163">
              <a:spcBef>
                <a:spcPct val="30000"/>
              </a:spcBef>
              <a:defRPr sz="1200">
                <a:solidFill>
                  <a:schemeClr val="tx1"/>
                </a:solidFill>
                <a:latin typeface="Times New Roman" panose="02020603050405020304" pitchFamily="18" charset="0"/>
              </a:defRPr>
            </a:lvl2pPr>
            <a:lvl3pPr marL="1143000" indent="-228600" defTabSz="919163">
              <a:spcBef>
                <a:spcPct val="30000"/>
              </a:spcBef>
              <a:defRPr sz="1200">
                <a:solidFill>
                  <a:schemeClr val="tx1"/>
                </a:solidFill>
                <a:latin typeface="Times New Roman" panose="02020603050405020304" pitchFamily="18" charset="0"/>
              </a:defRPr>
            </a:lvl3pPr>
            <a:lvl4pPr marL="1600200" indent="-228600" defTabSz="919163">
              <a:spcBef>
                <a:spcPct val="30000"/>
              </a:spcBef>
              <a:defRPr sz="1200">
                <a:solidFill>
                  <a:schemeClr val="tx1"/>
                </a:solidFill>
                <a:latin typeface="Times New Roman" panose="02020603050405020304" pitchFamily="18" charset="0"/>
              </a:defRPr>
            </a:lvl4pPr>
            <a:lvl5pPr marL="2057400" indent="-228600" defTabSz="919163">
              <a:spcBef>
                <a:spcPct val="30000"/>
              </a:spcBef>
              <a:defRPr sz="1200">
                <a:solidFill>
                  <a:schemeClr val="tx1"/>
                </a:solidFill>
                <a:latin typeface="Times New Roman" panose="02020603050405020304" pitchFamily="18" charset="0"/>
              </a:defRPr>
            </a:lvl5pPr>
            <a:lvl6pPr marL="2514600" indent="-228600" defTabSz="9191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191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191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19163"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19163" rtl="0" eaLnBrk="1" fontAlgn="auto" latinLnBrk="0" hangingPunct="1">
              <a:lnSpc>
                <a:spcPct val="100000"/>
              </a:lnSpc>
              <a:spcBef>
                <a:spcPct val="0"/>
              </a:spcBef>
              <a:spcAft>
                <a:spcPts val="0"/>
              </a:spcAft>
              <a:buClrTx/>
              <a:buSzTx/>
              <a:buFontTx/>
              <a:buNone/>
              <a:tabLst/>
              <a:defRPr/>
            </a:pPr>
            <a:fld id="{DB9A6E6B-0060-4611-8DC8-C79250A3F072}" type="slidenum">
              <a:rPr kumimoji="0" lang="da-DK" altLang="da-DK"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9163" rtl="0" eaLnBrk="1" fontAlgn="auto" latinLnBrk="0" hangingPunct="1">
                <a:lnSpc>
                  <a:spcPct val="100000"/>
                </a:lnSpc>
                <a:spcBef>
                  <a:spcPct val="0"/>
                </a:spcBef>
                <a:spcAft>
                  <a:spcPts val="0"/>
                </a:spcAft>
                <a:buClrTx/>
                <a:buSzTx/>
                <a:buFontTx/>
                <a:buNone/>
                <a:tabLst/>
                <a:defRPr/>
              </a:pPr>
              <a:t>14</a:t>
            </a:fld>
            <a:endParaRPr kumimoji="0" lang="da-DK" altLang="da-DK"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
        <p:nvSpPr>
          <p:cNvPr id="29699" name="Rectangle 2">
            <a:extLst>
              <a:ext uri="{FF2B5EF4-FFF2-40B4-BE49-F238E27FC236}">
                <a16:creationId xmlns:a16="http://schemas.microsoft.com/office/drawing/2014/main" id="{C484E9A2-9C96-7FB1-F817-9FF77010EB84}"/>
              </a:ext>
            </a:extLst>
          </p:cNvPr>
          <p:cNvSpPr>
            <a:spLocks noGrp="1" noRot="1" noChangeAspect="1" noChangeArrowheads="1" noTextEdit="1"/>
          </p:cNvSpPr>
          <p:nvPr>
            <p:ph type="sldImg"/>
          </p:nvPr>
        </p:nvSpPr>
        <p:spPr>
          <a:ln/>
        </p:spPr>
      </p:sp>
      <p:sp>
        <p:nvSpPr>
          <p:cNvPr id="29700" name="Rectangle 3">
            <a:extLst>
              <a:ext uri="{FF2B5EF4-FFF2-40B4-BE49-F238E27FC236}">
                <a16:creationId xmlns:a16="http://schemas.microsoft.com/office/drawing/2014/main" id="{FC5467D8-1004-6A38-4E34-5C622D8937ED}"/>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da-DK" altLang="da-DK" dirty="0"/>
              <a:t>§ 4 stk. 3 Hovedferien skal meddeles lønmodtageren senest 3 måneder før den holdes.</a:t>
            </a:r>
          </a:p>
          <a:p>
            <a:pPr eaLnBrk="1" hangingPunct="1"/>
            <a:r>
              <a:rPr lang="da-DK" altLang="da-DK" dirty="0"/>
              <a:t>§§11-12 + §9 i aftale om 6. ferieuge</a:t>
            </a:r>
          </a:p>
          <a:p>
            <a:pPr eaLnBrk="1" hangingPunct="1"/>
            <a:endParaRPr lang="da-DK" altLang="da-DK" dirty="0"/>
          </a:p>
          <a:p>
            <a:pPr eaLnBrk="1" hangingPunct="1"/>
            <a:endParaRPr lang="da-DK" altLang="da-DK" dirty="0"/>
          </a:p>
          <a:p>
            <a:pPr eaLnBrk="1" hangingPunct="1"/>
            <a:endParaRPr lang="da-DK" altLang="da-DK" dirty="0"/>
          </a:p>
          <a:p>
            <a:pPr eaLnBrk="1" hangingPunct="1"/>
            <a:endParaRPr lang="da-DK" altLang="da-DK" dirty="0"/>
          </a:p>
          <a:p>
            <a:pPr eaLnBrk="1" hangingPunct="1"/>
            <a:endParaRPr lang="da-DK" altLang="da-DK"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a:extLst>
              <a:ext uri="{FF2B5EF4-FFF2-40B4-BE49-F238E27FC236}">
                <a16:creationId xmlns:a16="http://schemas.microsoft.com/office/drawing/2014/main" id="{4B6EA890-875E-792B-8776-38C61269B04E}"/>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19163">
              <a:spcBef>
                <a:spcPct val="30000"/>
              </a:spcBef>
              <a:defRPr sz="1200">
                <a:solidFill>
                  <a:schemeClr val="tx1"/>
                </a:solidFill>
                <a:latin typeface="Times New Roman" panose="02020603050405020304" pitchFamily="18" charset="0"/>
              </a:defRPr>
            </a:lvl1pPr>
            <a:lvl2pPr marL="742950" indent="-285750" defTabSz="919163">
              <a:spcBef>
                <a:spcPct val="30000"/>
              </a:spcBef>
              <a:defRPr sz="1200">
                <a:solidFill>
                  <a:schemeClr val="tx1"/>
                </a:solidFill>
                <a:latin typeface="Times New Roman" panose="02020603050405020304" pitchFamily="18" charset="0"/>
              </a:defRPr>
            </a:lvl2pPr>
            <a:lvl3pPr marL="1143000" indent="-228600" defTabSz="919163">
              <a:spcBef>
                <a:spcPct val="30000"/>
              </a:spcBef>
              <a:defRPr sz="1200">
                <a:solidFill>
                  <a:schemeClr val="tx1"/>
                </a:solidFill>
                <a:latin typeface="Times New Roman" panose="02020603050405020304" pitchFamily="18" charset="0"/>
              </a:defRPr>
            </a:lvl3pPr>
            <a:lvl4pPr marL="1600200" indent="-228600" defTabSz="919163">
              <a:spcBef>
                <a:spcPct val="30000"/>
              </a:spcBef>
              <a:defRPr sz="1200">
                <a:solidFill>
                  <a:schemeClr val="tx1"/>
                </a:solidFill>
                <a:latin typeface="Times New Roman" panose="02020603050405020304" pitchFamily="18" charset="0"/>
              </a:defRPr>
            </a:lvl4pPr>
            <a:lvl5pPr marL="2057400" indent="-228600" defTabSz="919163">
              <a:spcBef>
                <a:spcPct val="30000"/>
              </a:spcBef>
              <a:defRPr sz="1200">
                <a:solidFill>
                  <a:schemeClr val="tx1"/>
                </a:solidFill>
                <a:latin typeface="Times New Roman" panose="02020603050405020304" pitchFamily="18" charset="0"/>
              </a:defRPr>
            </a:lvl5pPr>
            <a:lvl6pPr marL="2514600" indent="-228600" defTabSz="9191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191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191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19163"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19163" rtl="0" eaLnBrk="1" fontAlgn="auto" latinLnBrk="0" hangingPunct="1">
              <a:lnSpc>
                <a:spcPct val="100000"/>
              </a:lnSpc>
              <a:spcBef>
                <a:spcPct val="0"/>
              </a:spcBef>
              <a:spcAft>
                <a:spcPts val="0"/>
              </a:spcAft>
              <a:buClrTx/>
              <a:buSzTx/>
              <a:buFontTx/>
              <a:buNone/>
              <a:tabLst/>
              <a:defRPr/>
            </a:pPr>
            <a:fld id="{2C19DB74-87CA-4C19-A050-E26A1C0812B1}" type="slidenum">
              <a:rPr kumimoji="0" lang="da-DK" altLang="da-DK"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9163" rtl="0" eaLnBrk="1" fontAlgn="auto" latinLnBrk="0" hangingPunct="1">
                <a:lnSpc>
                  <a:spcPct val="100000"/>
                </a:lnSpc>
                <a:spcBef>
                  <a:spcPct val="0"/>
                </a:spcBef>
                <a:spcAft>
                  <a:spcPts val="0"/>
                </a:spcAft>
                <a:buClrTx/>
                <a:buSzTx/>
                <a:buFontTx/>
                <a:buNone/>
                <a:tabLst/>
                <a:defRPr/>
              </a:pPr>
              <a:t>16</a:t>
            </a:fld>
            <a:endParaRPr kumimoji="0" lang="da-DK" altLang="da-DK"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
        <p:nvSpPr>
          <p:cNvPr id="21507" name="Rectangle 2">
            <a:extLst>
              <a:ext uri="{FF2B5EF4-FFF2-40B4-BE49-F238E27FC236}">
                <a16:creationId xmlns:a16="http://schemas.microsoft.com/office/drawing/2014/main" id="{2E798709-775E-08BF-9CF5-FED441109BD8}"/>
              </a:ext>
            </a:extLst>
          </p:cNvPr>
          <p:cNvSpPr>
            <a:spLocks noGrp="1" noRot="1" noChangeAspect="1" noChangeArrowheads="1" noTextEdit="1"/>
          </p:cNvSpPr>
          <p:nvPr>
            <p:ph type="sldImg"/>
          </p:nvPr>
        </p:nvSpPr>
        <p:spPr>
          <a:ln/>
        </p:spPr>
      </p:sp>
      <p:sp>
        <p:nvSpPr>
          <p:cNvPr id="21508" name="Rectangle 3">
            <a:extLst>
              <a:ext uri="{FF2B5EF4-FFF2-40B4-BE49-F238E27FC236}">
                <a16:creationId xmlns:a16="http://schemas.microsoft.com/office/drawing/2014/main" id="{7D142290-AB48-03F9-64A5-E25790DDFE1C}"/>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da-DK" altLang="da-DK"/>
              <a:t>En </a:t>
            </a:r>
            <a:r>
              <a:rPr lang="da-DK" altLang="da-DK" b="1"/>
              <a:t>ferieuge </a:t>
            </a:r>
            <a:r>
              <a:rPr lang="da-DK" altLang="da-DK"/>
              <a:t>er 7 på hinanden følgende kalenderdage indenfor hvilke ferietimerne afholdes.</a:t>
            </a:r>
          </a:p>
          <a:p>
            <a:pPr eaLnBrk="1" hangingPunct="1"/>
            <a:endParaRPr lang="da-DK" altLang="da-DK"/>
          </a:p>
          <a:p>
            <a:pPr eaLnBrk="1" hangingPunct="1"/>
            <a:r>
              <a:rPr lang="da-DK" altLang="da-DK"/>
              <a:t>Husk at den måde man arbejder på skal afspejle den måde man afvikler ferie på. Dvs. hvis man har en ugentlig fridag skal den indgå i ferieugen </a:t>
            </a:r>
          </a:p>
          <a:p>
            <a:pPr eaLnBrk="1" hangingPunct="1"/>
            <a:endParaRPr lang="da-DK" altLang="da-DK"/>
          </a:p>
          <a:p>
            <a:pPr eaLnBrk="1" hangingPunct="1"/>
            <a:endParaRPr lang="da-DK" altLang="da-DK"/>
          </a:p>
          <a:p>
            <a:pPr eaLnBrk="1" hangingPunct="1"/>
            <a:r>
              <a:rPr lang="da-DK" altLang="da-DK"/>
              <a:t>For ansatte som arbejder fast 5 dage om ugen, har man ret til at holde én ugentlig friweekend i tilknytning til ferien.</a:t>
            </a:r>
          </a:p>
          <a:p>
            <a:pPr eaLnBrk="1" hangingPunct="1"/>
            <a:r>
              <a:rPr lang="da-DK" altLang="da-DK"/>
              <a:t>For ansatte, som arbejder efter tjenestetidsplaner med skiftende ugentlig arbejdstid kan antal feriedage i en ferieuge variere (der bør indgå en ferieweekend, men er gør det ikke nødvendigvis - det afhænger af timer til rådighed m.v.)</a:t>
            </a:r>
          </a:p>
          <a:p>
            <a:pPr eaLnBrk="1" hangingPunct="1"/>
            <a:endParaRPr lang="da-DK" altLang="da-DK"/>
          </a:p>
          <a:p>
            <a:pPr eaLnBrk="1" hangingPunct="1"/>
            <a:r>
              <a:rPr lang="da-DK" altLang="da-DK"/>
              <a:t>Man kan ikke holder ferie, mens man har sit ugentlige fridøgn / holder søgnehelligdag eller lign (fx aftalemæssig fastsat fridag som Grundlovsdag).</a:t>
            </a:r>
          </a:p>
          <a:p>
            <a:pPr eaLnBrk="1" hangingPunct="1"/>
            <a:r>
              <a:rPr lang="da-DK" altLang="da-DK"/>
              <a:t>= holder du ferie i påskeugen, er det kun de 3 arbejdsdage, de rer feriedage.</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a:extLst>
              <a:ext uri="{FF2B5EF4-FFF2-40B4-BE49-F238E27FC236}">
                <a16:creationId xmlns:a16="http://schemas.microsoft.com/office/drawing/2014/main" id="{3198A8A6-6825-EDA6-AD1E-364BBED3AE78}"/>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19163">
              <a:spcBef>
                <a:spcPct val="30000"/>
              </a:spcBef>
              <a:defRPr sz="1200">
                <a:solidFill>
                  <a:schemeClr val="tx1"/>
                </a:solidFill>
                <a:latin typeface="Times New Roman" panose="02020603050405020304" pitchFamily="18" charset="0"/>
              </a:defRPr>
            </a:lvl1pPr>
            <a:lvl2pPr marL="742950" indent="-285750" defTabSz="919163">
              <a:spcBef>
                <a:spcPct val="30000"/>
              </a:spcBef>
              <a:defRPr sz="1200">
                <a:solidFill>
                  <a:schemeClr val="tx1"/>
                </a:solidFill>
                <a:latin typeface="Times New Roman" panose="02020603050405020304" pitchFamily="18" charset="0"/>
              </a:defRPr>
            </a:lvl2pPr>
            <a:lvl3pPr marL="1143000" indent="-228600" defTabSz="919163">
              <a:spcBef>
                <a:spcPct val="30000"/>
              </a:spcBef>
              <a:defRPr sz="1200">
                <a:solidFill>
                  <a:schemeClr val="tx1"/>
                </a:solidFill>
                <a:latin typeface="Times New Roman" panose="02020603050405020304" pitchFamily="18" charset="0"/>
              </a:defRPr>
            </a:lvl3pPr>
            <a:lvl4pPr marL="1600200" indent="-228600" defTabSz="919163">
              <a:spcBef>
                <a:spcPct val="30000"/>
              </a:spcBef>
              <a:defRPr sz="1200">
                <a:solidFill>
                  <a:schemeClr val="tx1"/>
                </a:solidFill>
                <a:latin typeface="Times New Roman" panose="02020603050405020304" pitchFamily="18" charset="0"/>
              </a:defRPr>
            </a:lvl4pPr>
            <a:lvl5pPr marL="2057400" indent="-228600" defTabSz="919163">
              <a:spcBef>
                <a:spcPct val="30000"/>
              </a:spcBef>
              <a:defRPr sz="1200">
                <a:solidFill>
                  <a:schemeClr val="tx1"/>
                </a:solidFill>
                <a:latin typeface="Times New Roman" panose="02020603050405020304" pitchFamily="18" charset="0"/>
              </a:defRPr>
            </a:lvl5pPr>
            <a:lvl6pPr marL="2514600" indent="-228600" defTabSz="9191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191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191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19163"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19163" rtl="0" eaLnBrk="1" fontAlgn="auto" latinLnBrk="0" hangingPunct="1">
              <a:lnSpc>
                <a:spcPct val="100000"/>
              </a:lnSpc>
              <a:spcBef>
                <a:spcPct val="0"/>
              </a:spcBef>
              <a:spcAft>
                <a:spcPts val="0"/>
              </a:spcAft>
              <a:buClrTx/>
              <a:buSzTx/>
              <a:buFontTx/>
              <a:buNone/>
              <a:tabLst/>
              <a:defRPr/>
            </a:pPr>
            <a:fld id="{868E40D2-707D-4F41-B314-6AABC83AD01A}" type="slidenum">
              <a:rPr kumimoji="0" lang="da-DK" altLang="da-DK"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9163" rtl="0" eaLnBrk="1" fontAlgn="auto" latinLnBrk="0" hangingPunct="1">
                <a:lnSpc>
                  <a:spcPct val="100000"/>
                </a:lnSpc>
                <a:spcBef>
                  <a:spcPct val="0"/>
                </a:spcBef>
                <a:spcAft>
                  <a:spcPts val="0"/>
                </a:spcAft>
                <a:buClrTx/>
                <a:buSzTx/>
                <a:buFontTx/>
                <a:buNone/>
                <a:tabLst/>
                <a:defRPr/>
              </a:pPr>
              <a:t>18</a:t>
            </a:fld>
            <a:endParaRPr kumimoji="0" lang="da-DK" altLang="da-DK"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
        <p:nvSpPr>
          <p:cNvPr id="33795" name="Rectangle 2">
            <a:extLst>
              <a:ext uri="{FF2B5EF4-FFF2-40B4-BE49-F238E27FC236}">
                <a16:creationId xmlns:a16="http://schemas.microsoft.com/office/drawing/2014/main" id="{F05FA436-089F-8274-1229-9460E79CCDBA}"/>
              </a:ext>
            </a:extLst>
          </p:cNvPr>
          <p:cNvSpPr>
            <a:spLocks noGrp="1" noRot="1" noChangeAspect="1" noChangeArrowheads="1" noTextEdit="1"/>
          </p:cNvSpPr>
          <p:nvPr>
            <p:ph type="sldImg"/>
          </p:nvPr>
        </p:nvSpPr>
        <p:spPr>
          <a:ln/>
        </p:spPr>
      </p:sp>
      <p:sp>
        <p:nvSpPr>
          <p:cNvPr id="33796" name="Rectangle 3">
            <a:extLst>
              <a:ext uri="{FF2B5EF4-FFF2-40B4-BE49-F238E27FC236}">
                <a16:creationId xmlns:a16="http://schemas.microsoft.com/office/drawing/2014/main" id="{31B323A8-E61D-E21F-9C1F-10DB1A6A88DE}"/>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da-DK" altLang="da-DK" dirty="0"/>
              <a:t>•Hvis lønmodtageren har optjent fuld ferieret på 25 feriedage får lønmodtageren ret til erstatningsferie efter 5 sygedage under ferien i </a:t>
            </a:r>
            <a:r>
              <a:rPr lang="da-DK" altLang="da-DK" dirty="0" err="1"/>
              <a:t>ferieåret</a:t>
            </a:r>
            <a:r>
              <a:rPr lang="da-DK" altLang="da-DK" dirty="0"/>
              <a:t>, dvs. fra den 6. sygedag. Ved færre end 25 optjente feriedage er karensperioden tilsvarende kortere. Et forholdsmæssigt færre antal sygedage beregnes ved at gange antallet af optjente feriedage med 1/5.</a:t>
            </a:r>
          </a:p>
          <a:p>
            <a:pPr eaLnBrk="1" hangingPunct="1"/>
            <a:r>
              <a:rPr lang="da-DK" altLang="da-DK" dirty="0"/>
              <a:t>Dette bevirker, at en lønmodtager, der har optjent 20 dages ferie, har ret til erstatningsferie efter 4 sygedage (20x1/5), mens en lønmodtager, der har optjent 15 dages ferie, har ret til erstatningsferie efter 3 sygedage (15 x 1/5).</a:t>
            </a:r>
          </a:p>
          <a:p>
            <a:pPr eaLnBrk="1" hangingPunct="1"/>
            <a:r>
              <a:rPr lang="da-DK" altLang="da-DK" dirty="0"/>
              <a:t>•For at få ret til erstatningsferie skal lønmodtageren melde sig syg til arbejdsgiveren den første sygedag under ferien, og lønmodtageren skal som udgangspunkt kunne dokumentere sygdommen ved hjælp af en lægeerklæring.   </a:t>
            </a:r>
          </a:p>
          <a:p>
            <a:pPr eaLnBrk="1" hangingPunct="1"/>
            <a:r>
              <a:rPr lang="da-DK" altLang="da-DK" dirty="0"/>
              <a:t>•Lægeerklæringen skal gælde fra den første sygedag (også de 5 karenssygedage) og lønmodtageren skal selv betale for den lægelige dokumentation.  </a:t>
            </a:r>
          </a:p>
          <a:p>
            <a:pPr eaLnBrk="1" hangingPunct="1"/>
            <a:r>
              <a:rPr lang="da-DK" altLang="da-DK" dirty="0"/>
              <a:t>•Hvis lønmodtageren bliver syg, mens denne er på ferie i udlandet skal lønmodtageren opsøge en læge og få en lægeerklæring. </a:t>
            </a:r>
          </a:p>
          <a:p>
            <a:pPr eaLnBrk="1" hangingPunct="1"/>
            <a:endParaRPr lang="da-DK" altLang="da-DK"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a:extLst>
              <a:ext uri="{FF2B5EF4-FFF2-40B4-BE49-F238E27FC236}">
                <a16:creationId xmlns:a16="http://schemas.microsoft.com/office/drawing/2014/main" id="{7E333691-B514-4A31-20E4-821CC4A67D77}"/>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19163">
              <a:spcBef>
                <a:spcPct val="30000"/>
              </a:spcBef>
              <a:defRPr sz="1200">
                <a:solidFill>
                  <a:schemeClr val="tx1"/>
                </a:solidFill>
                <a:latin typeface="Times New Roman" panose="02020603050405020304" pitchFamily="18" charset="0"/>
              </a:defRPr>
            </a:lvl1pPr>
            <a:lvl2pPr marL="742950" indent="-285750" defTabSz="919163">
              <a:spcBef>
                <a:spcPct val="30000"/>
              </a:spcBef>
              <a:defRPr sz="1200">
                <a:solidFill>
                  <a:schemeClr val="tx1"/>
                </a:solidFill>
                <a:latin typeface="Times New Roman" panose="02020603050405020304" pitchFamily="18" charset="0"/>
              </a:defRPr>
            </a:lvl2pPr>
            <a:lvl3pPr marL="1143000" indent="-228600" defTabSz="919163">
              <a:spcBef>
                <a:spcPct val="30000"/>
              </a:spcBef>
              <a:defRPr sz="1200">
                <a:solidFill>
                  <a:schemeClr val="tx1"/>
                </a:solidFill>
                <a:latin typeface="Times New Roman" panose="02020603050405020304" pitchFamily="18" charset="0"/>
              </a:defRPr>
            </a:lvl3pPr>
            <a:lvl4pPr marL="1600200" indent="-228600" defTabSz="919163">
              <a:spcBef>
                <a:spcPct val="30000"/>
              </a:spcBef>
              <a:defRPr sz="1200">
                <a:solidFill>
                  <a:schemeClr val="tx1"/>
                </a:solidFill>
                <a:latin typeface="Times New Roman" panose="02020603050405020304" pitchFamily="18" charset="0"/>
              </a:defRPr>
            </a:lvl4pPr>
            <a:lvl5pPr marL="2057400" indent="-228600" defTabSz="919163">
              <a:spcBef>
                <a:spcPct val="30000"/>
              </a:spcBef>
              <a:defRPr sz="1200">
                <a:solidFill>
                  <a:schemeClr val="tx1"/>
                </a:solidFill>
                <a:latin typeface="Times New Roman" panose="02020603050405020304" pitchFamily="18" charset="0"/>
              </a:defRPr>
            </a:lvl5pPr>
            <a:lvl6pPr marL="2514600" indent="-228600" defTabSz="9191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191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191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19163"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19163" rtl="0" eaLnBrk="1" fontAlgn="auto" latinLnBrk="0" hangingPunct="1">
              <a:lnSpc>
                <a:spcPct val="100000"/>
              </a:lnSpc>
              <a:spcBef>
                <a:spcPct val="0"/>
              </a:spcBef>
              <a:spcAft>
                <a:spcPts val="0"/>
              </a:spcAft>
              <a:buClrTx/>
              <a:buSzTx/>
              <a:buFontTx/>
              <a:buNone/>
              <a:tabLst/>
              <a:defRPr/>
            </a:pPr>
            <a:fld id="{D2119541-A119-4CB9-8545-96092C64ED8F}" type="slidenum">
              <a:rPr kumimoji="0" lang="da-DK" altLang="da-DK"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9163" rtl="0" eaLnBrk="1" fontAlgn="auto" latinLnBrk="0" hangingPunct="1">
                <a:lnSpc>
                  <a:spcPct val="100000"/>
                </a:lnSpc>
                <a:spcBef>
                  <a:spcPct val="0"/>
                </a:spcBef>
                <a:spcAft>
                  <a:spcPts val="0"/>
                </a:spcAft>
                <a:buClrTx/>
                <a:buSzTx/>
                <a:buFontTx/>
                <a:buNone/>
                <a:tabLst/>
                <a:defRPr/>
              </a:pPr>
              <a:t>19</a:t>
            </a:fld>
            <a:endParaRPr kumimoji="0" lang="da-DK" altLang="da-DK"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
        <p:nvSpPr>
          <p:cNvPr id="41987" name="Rectangle 2">
            <a:extLst>
              <a:ext uri="{FF2B5EF4-FFF2-40B4-BE49-F238E27FC236}">
                <a16:creationId xmlns:a16="http://schemas.microsoft.com/office/drawing/2014/main" id="{D9E62BCD-5201-3806-9D57-0DAA4C2F6A20}"/>
              </a:ext>
            </a:extLst>
          </p:cNvPr>
          <p:cNvSpPr>
            <a:spLocks noGrp="1" noRot="1" noChangeAspect="1" noChangeArrowheads="1" noTextEdit="1"/>
          </p:cNvSpPr>
          <p:nvPr>
            <p:ph type="sldImg"/>
          </p:nvPr>
        </p:nvSpPr>
        <p:spPr>
          <a:ln/>
        </p:spPr>
      </p:sp>
      <p:sp>
        <p:nvSpPr>
          <p:cNvPr id="41988" name="Rectangle 3">
            <a:extLst>
              <a:ext uri="{FF2B5EF4-FFF2-40B4-BE49-F238E27FC236}">
                <a16:creationId xmlns:a16="http://schemas.microsoft.com/office/drawing/2014/main" id="{93BF3F7D-6116-58BB-7E66-A2DF5C4D60CC}"/>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da-DK" altLang="da-DK"/>
              <a:t>Aftalen skal være skriftlig og indgås inden ferieårets udløb den 30. april</a:t>
            </a:r>
          </a:p>
          <a:p>
            <a:pPr eaLnBrk="1" hangingPunct="1"/>
            <a:endParaRPr lang="da-DK" altLang="da-DK"/>
          </a:p>
          <a:p>
            <a:pPr eaLnBrk="1" hangingPunct="1"/>
            <a:r>
              <a:rPr lang="da-DK" altLang="da-DK"/>
              <a:t>Her er det det samme - Initiativet skal komme fra dig.</a:t>
            </a:r>
          </a:p>
          <a:p>
            <a:pPr eaLnBrk="1" hangingPunct="1"/>
            <a:endParaRPr lang="da-DK" altLang="da-DK"/>
          </a:p>
          <a:p>
            <a:pPr eaLnBrk="1" hangingPunct="1">
              <a:buFontTx/>
              <a:buChar char="•"/>
            </a:pPr>
            <a:r>
              <a:rPr lang="da-DK" altLang="da-DK"/>
              <a:t>Mulighed for overførsel af dage ud over 4 uger</a:t>
            </a:r>
          </a:p>
          <a:p>
            <a:pPr eaLnBrk="1" hangingPunct="1">
              <a:buFontTx/>
              <a:buChar char="•"/>
            </a:pPr>
            <a:r>
              <a:rPr lang="da-DK" altLang="da-DK"/>
              <a:t>Skriftlig aftale inden ferieåret udløb</a:t>
            </a:r>
          </a:p>
          <a:p>
            <a:pPr eaLnBrk="1" hangingPunct="1">
              <a:buFontTx/>
              <a:buChar char="•"/>
            </a:pPr>
            <a:r>
              <a:rPr lang="da-DK" altLang="da-DK"/>
              <a:t>Mulighed for overførsel til efter følgende år</a:t>
            </a:r>
          </a:p>
          <a:p>
            <a:pPr eaLnBrk="1" hangingPunct="1">
              <a:buFontTx/>
              <a:buChar char="•"/>
            </a:pPr>
            <a:r>
              <a:rPr lang="da-DK" altLang="da-DK"/>
              <a:t>Plan for afvikling</a:t>
            </a:r>
          </a:p>
          <a:p>
            <a:pPr eaLnBrk="1" hangingPunct="1">
              <a:buFontTx/>
              <a:buChar char="•"/>
            </a:pPr>
            <a:endParaRPr lang="da-DK" altLang="da-DK"/>
          </a:p>
          <a:p>
            <a:pPr eaLnBrk="1" hangingPunct="1"/>
            <a:endParaRPr lang="da-DK" altLang="da-DK"/>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6D32B-CE78-0898-7327-064D985E27B4}"/>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6832621-4839-403D-0800-957958B7A515}"/>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8B981E8-FCBF-1897-D9F5-759C5180AE8B}"/>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BE724863-527E-A24C-52F1-6A22CD9A6E2F}"/>
              </a:ext>
            </a:extLst>
          </p:cNvPr>
          <p:cNvSpPr>
            <a:spLocks noGrp="1"/>
          </p:cNvSpPr>
          <p:nvPr>
            <p:ph type="sldNum" sz="quarter" idx="5"/>
          </p:nvPr>
        </p:nvSpPr>
        <p:spPr/>
        <p:txBody>
          <a:bodyPr/>
          <a:lstStyle/>
          <a:p>
            <a:fld id="{45599F38-6C5F-49EB-82E0-2624FB3238C2}" type="slidenum">
              <a:rPr lang="da-DK" smtClean="0"/>
              <a:t>22</a:t>
            </a:fld>
            <a:endParaRPr lang="da-DK"/>
          </a:p>
        </p:txBody>
      </p:sp>
    </p:spTree>
    <p:extLst>
      <p:ext uri="{BB962C8B-B14F-4D97-AF65-F5344CB8AC3E}">
        <p14:creationId xmlns:p14="http://schemas.microsoft.com/office/powerpoint/2010/main" val="948147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4</a:t>
            </a:fld>
            <a:endParaRPr lang="da-DK"/>
          </a:p>
        </p:txBody>
      </p:sp>
    </p:spTree>
    <p:extLst>
      <p:ext uri="{BB962C8B-B14F-4D97-AF65-F5344CB8AC3E}">
        <p14:creationId xmlns:p14="http://schemas.microsoft.com/office/powerpoint/2010/main" val="2004855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7</a:t>
            </a:fld>
            <a:endParaRPr lang="da-DK"/>
          </a:p>
        </p:txBody>
      </p:sp>
    </p:spTree>
    <p:extLst>
      <p:ext uri="{BB962C8B-B14F-4D97-AF65-F5344CB8AC3E}">
        <p14:creationId xmlns:p14="http://schemas.microsoft.com/office/powerpoint/2010/main" val="38470373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C98D8A-3FE5-475B-BA32-66F0736EF889}"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156982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1</a:t>
            </a:fld>
            <a:endParaRPr lang="da-DK"/>
          </a:p>
        </p:txBody>
      </p:sp>
    </p:spTree>
    <p:extLst>
      <p:ext uri="{BB962C8B-B14F-4D97-AF65-F5344CB8AC3E}">
        <p14:creationId xmlns:p14="http://schemas.microsoft.com/office/powerpoint/2010/main" val="3081134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A8B4B-2FA7-2F91-40DD-63F9679B81E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B0F7118-611E-C923-3FC4-4D3DAA4BD0A4}"/>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857FF404-A7EC-C5C1-142C-96A3FF8E4DE1}"/>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4F62F30B-84FF-D8D2-3CB5-C587A035B901}"/>
              </a:ext>
            </a:extLst>
          </p:cNvPr>
          <p:cNvSpPr>
            <a:spLocks noGrp="1"/>
          </p:cNvSpPr>
          <p:nvPr>
            <p:ph type="sldNum" sz="quarter" idx="5"/>
          </p:nvPr>
        </p:nvSpPr>
        <p:spPr/>
        <p:txBody>
          <a:bodyPr/>
          <a:lstStyle/>
          <a:p>
            <a:fld id="{45599F38-6C5F-49EB-82E0-2624FB3238C2}" type="slidenum">
              <a:rPr lang="da-DK" smtClean="0"/>
              <a:t>32</a:t>
            </a:fld>
            <a:endParaRPr lang="da-DK"/>
          </a:p>
        </p:txBody>
      </p:sp>
    </p:spTree>
    <p:extLst>
      <p:ext uri="{BB962C8B-B14F-4D97-AF65-F5344CB8AC3E}">
        <p14:creationId xmlns:p14="http://schemas.microsoft.com/office/powerpoint/2010/main" val="160594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a:t>
            </a:fld>
            <a:endParaRPr lang="da-DK"/>
          </a:p>
        </p:txBody>
      </p:sp>
    </p:spTree>
    <p:extLst>
      <p:ext uri="{BB962C8B-B14F-4D97-AF65-F5344CB8AC3E}">
        <p14:creationId xmlns:p14="http://schemas.microsoft.com/office/powerpoint/2010/main" val="493336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3</a:t>
            </a:fld>
            <a:endParaRPr lang="da-DK"/>
          </a:p>
        </p:txBody>
      </p:sp>
    </p:spTree>
    <p:extLst>
      <p:ext uri="{BB962C8B-B14F-4D97-AF65-F5344CB8AC3E}">
        <p14:creationId xmlns:p14="http://schemas.microsoft.com/office/powerpoint/2010/main" val="473930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EEF3D-717A-6B16-5E4E-63F76EE1530D}"/>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CC520FD-2175-0C53-3939-F8154E8571E8}"/>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D5CFB82-30E3-22E2-0491-14FB2F96C41D}"/>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3BE04A8B-CBBF-72D6-0ED1-CC22830FF540}"/>
              </a:ext>
            </a:extLst>
          </p:cNvPr>
          <p:cNvSpPr>
            <a:spLocks noGrp="1"/>
          </p:cNvSpPr>
          <p:nvPr>
            <p:ph type="sldNum" sz="quarter" idx="5"/>
          </p:nvPr>
        </p:nvSpPr>
        <p:spPr/>
        <p:txBody>
          <a:bodyPr/>
          <a:lstStyle/>
          <a:p>
            <a:fld id="{45599F38-6C5F-49EB-82E0-2624FB3238C2}" type="slidenum">
              <a:rPr lang="da-DK" smtClean="0"/>
              <a:t>3</a:t>
            </a:fld>
            <a:endParaRPr lang="da-DK"/>
          </a:p>
        </p:txBody>
      </p:sp>
    </p:spTree>
    <p:extLst>
      <p:ext uri="{BB962C8B-B14F-4D97-AF65-F5344CB8AC3E}">
        <p14:creationId xmlns:p14="http://schemas.microsoft.com/office/powerpoint/2010/main" val="163700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0D8EB-B8FB-2CAF-69AC-AF08C347E25C}"/>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959D8F92-DA73-C328-8716-8FDF315E0D40}"/>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42DFF3C-9406-50F7-6A40-6DB3975BE66A}"/>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A05983F5-F4BF-7587-D03C-C49AC41EF1CE}"/>
              </a:ext>
            </a:extLst>
          </p:cNvPr>
          <p:cNvSpPr>
            <a:spLocks noGrp="1"/>
          </p:cNvSpPr>
          <p:nvPr>
            <p:ph type="sldNum" sz="quarter" idx="5"/>
          </p:nvPr>
        </p:nvSpPr>
        <p:spPr/>
        <p:txBody>
          <a:bodyPr/>
          <a:lstStyle/>
          <a:p>
            <a:fld id="{45599F38-6C5F-49EB-82E0-2624FB3238C2}" type="slidenum">
              <a:rPr lang="da-DK" smtClean="0"/>
              <a:t>5</a:t>
            </a:fld>
            <a:endParaRPr lang="da-DK"/>
          </a:p>
        </p:txBody>
      </p:sp>
    </p:spTree>
    <p:extLst>
      <p:ext uri="{BB962C8B-B14F-4D97-AF65-F5344CB8AC3E}">
        <p14:creationId xmlns:p14="http://schemas.microsoft.com/office/powerpoint/2010/main" val="30718044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6</a:t>
            </a:fld>
            <a:endParaRPr lang="da-DK"/>
          </a:p>
        </p:txBody>
      </p:sp>
    </p:spTree>
    <p:extLst>
      <p:ext uri="{BB962C8B-B14F-4D97-AF65-F5344CB8AC3E}">
        <p14:creationId xmlns:p14="http://schemas.microsoft.com/office/powerpoint/2010/main" val="381989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1AB53-0F65-BC8E-C05F-1BCB8238A8F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2552EAF5-6EC9-E125-C140-3F444992D3C3}"/>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98AF906-FCAA-DDE0-9EAA-4CAF56DF44D7}"/>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C5AE59AE-DECC-EB4F-3301-4C4E923BB172}"/>
              </a:ext>
            </a:extLst>
          </p:cNvPr>
          <p:cNvSpPr>
            <a:spLocks noGrp="1"/>
          </p:cNvSpPr>
          <p:nvPr>
            <p:ph type="sldNum" sz="quarter" idx="5"/>
          </p:nvPr>
        </p:nvSpPr>
        <p:spPr/>
        <p:txBody>
          <a:bodyPr/>
          <a:lstStyle/>
          <a:p>
            <a:fld id="{45599F38-6C5F-49EB-82E0-2624FB3238C2}" type="slidenum">
              <a:rPr lang="da-DK" smtClean="0"/>
              <a:t>7</a:t>
            </a:fld>
            <a:endParaRPr lang="da-DK"/>
          </a:p>
        </p:txBody>
      </p:sp>
    </p:spTree>
    <p:extLst>
      <p:ext uri="{BB962C8B-B14F-4D97-AF65-F5344CB8AC3E}">
        <p14:creationId xmlns:p14="http://schemas.microsoft.com/office/powerpoint/2010/main" val="3212948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a:extLst>
              <a:ext uri="{FF2B5EF4-FFF2-40B4-BE49-F238E27FC236}">
                <a16:creationId xmlns:a16="http://schemas.microsoft.com/office/drawing/2014/main" id="{009F24C7-4494-8415-5271-DF045BE54BD7}"/>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19163">
              <a:spcBef>
                <a:spcPct val="30000"/>
              </a:spcBef>
              <a:defRPr sz="1200">
                <a:solidFill>
                  <a:schemeClr val="tx1"/>
                </a:solidFill>
                <a:latin typeface="Times New Roman" panose="02020603050405020304" pitchFamily="18" charset="0"/>
              </a:defRPr>
            </a:lvl1pPr>
            <a:lvl2pPr marL="742950" indent="-285750" defTabSz="919163">
              <a:spcBef>
                <a:spcPct val="30000"/>
              </a:spcBef>
              <a:defRPr sz="1200">
                <a:solidFill>
                  <a:schemeClr val="tx1"/>
                </a:solidFill>
                <a:latin typeface="Times New Roman" panose="02020603050405020304" pitchFamily="18" charset="0"/>
              </a:defRPr>
            </a:lvl2pPr>
            <a:lvl3pPr marL="1143000" indent="-228600" defTabSz="919163">
              <a:spcBef>
                <a:spcPct val="30000"/>
              </a:spcBef>
              <a:defRPr sz="1200">
                <a:solidFill>
                  <a:schemeClr val="tx1"/>
                </a:solidFill>
                <a:latin typeface="Times New Roman" panose="02020603050405020304" pitchFamily="18" charset="0"/>
              </a:defRPr>
            </a:lvl3pPr>
            <a:lvl4pPr marL="1600200" indent="-228600" defTabSz="919163">
              <a:spcBef>
                <a:spcPct val="30000"/>
              </a:spcBef>
              <a:defRPr sz="1200">
                <a:solidFill>
                  <a:schemeClr val="tx1"/>
                </a:solidFill>
                <a:latin typeface="Times New Roman" panose="02020603050405020304" pitchFamily="18" charset="0"/>
              </a:defRPr>
            </a:lvl4pPr>
            <a:lvl5pPr marL="2057400" indent="-228600" defTabSz="919163">
              <a:spcBef>
                <a:spcPct val="30000"/>
              </a:spcBef>
              <a:defRPr sz="1200">
                <a:solidFill>
                  <a:schemeClr val="tx1"/>
                </a:solidFill>
                <a:latin typeface="Times New Roman" panose="02020603050405020304" pitchFamily="18" charset="0"/>
              </a:defRPr>
            </a:lvl5pPr>
            <a:lvl6pPr marL="2514600" indent="-228600" defTabSz="9191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191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191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19163"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19163" rtl="0" eaLnBrk="1" fontAlgn="auto" latinLnBrk="0" hangingPunct="1">
              <a:lnSpc>
                <a:spcPct val="100000"/>
              </a:lnSpc>
              <a:spcBef>
                <a:spcPct val="0"/>
              </a:spcBef>
              <a:spcAft>
                <a:spcPts val="0"/>
              </a:spcAft>
              <a:buClrTx/>
              <a:buSzTx/>
              <a:buFontTx/>
              <a:buNone/>
              <a:tabLst/>
              <a:defRPr/>
            </a:pPr>
            <a:fld id="{9264347E-8ACE-44F8-9664-2D1EF22FB03B}" type="slidenum">
              <a:rPr kumimoji="0" lang="da-DK" altLang="da-DK"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9163" rtl="0" eaLnBrk="1" fontAlgn="auto" latinLnBrk="0" hangingPunct="1">
                <a:lnSpc>
                  <a:spcPct val="100000"/>
                </a:lnSpc>
                <a:spcBef>
                  <a:spcPct val="0"/>
                </a:spcBef>
                <a:spcAft>
                  <a:spcPts val="0"/>
                </a:spcAft>
                <a:buClrTx/>
                <a:buSzTx/>
                <a:buFontTx/>
                <a:buNone/>
                <a:tabLst/>
                <a:defRPr/>
              </a:pPr>
              <a:t>9</a:t>
            </a:fld>
            <a:endParaRPr kumimoji="0" lang="da-DK" altLang="da-DK"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
        <p:nvSpPr>
          <p:cNvPr id="14339" name="Rectangle 2">
            <a:extLst>
              <a:ext uri="{FF2B5EF4-FFF2-40B4-BE49-F238E27FC236}">
                <a16:creationId xmlns:a16="http://schemas.microsoft.com/office/drawing/2014/main" id="{EC6776E5-9F0E-B0B3-AC3F-A4702CBF4AD3}"/>
              </a:ext>
            </a:extLst>
          </p:cNvPr>
          <p:cNvSpPr>
            <a:spLocks noGrp="1" noRot="1" noChangeAspect="1" noChangeArrowheads="1" noTextEdit="1"/>
          </p:cNvSpPr>
          <p:nvPr>
            <p:ph type="sldImg"/>
          </p:nvPr>
        </p:nvSpPr>
        <p:spPr>
          <a:ln/>
        </p:spPr>
      </p:sp>
      <p:sp>
        <p:nvSpPr>
          <p:cNvPr id="14340" name="Rectangle 3">
            <a:extLst>
              <a:ext uri="{FF2B5EF4-FFF2-40B4-BE49-F238E27FC236}">
                <a16:creationId xmlns:a16="http://schemas.microsoft.com/office/drawing/2014/main" id="{3154EBBA-76B8-68C3-B20B-CBC32F0FC38A}"/>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da-DK" altLang="da-DK" dirty="0"/>
              <a:t>Aftalen gælder for alle ansatte i amter og kommuner. 6 ugers ferie udgør 30 feriedage eller 222 ferietimer. Det gælder uanset om man har optjent ret til betalt ferie eller ej - er man lønmodtager har man ret til 6 ugers ferie.</a:t>
            </a:r>
          </a:p>
          <a:p>
            <a:pPr eaLnBrk="1" hangingPunct="1"/>
            <a:r>
              <a:rPr lang="da-DK" altLang="da-DK" dirty="0"/>
              <a:t>Om man har ret til betalt ferie afhænger af om man har været beskæftiget i hele optjeningsåret.</a:t>
            </a:r>
          </a:p>
          <a:p>
            <a:pPr eaLnBrk="1" hangingPunct="1"/>
            <a:r>
              <a:rPr lang="da-DK" altLang="da-DK" dirty="0"/>
              <a:t>Lønmodtagere er ikke fx pensionister, efterlønnere, førtidspensionister og studerende</a:t>
            </a:r>
          </a:p>
          <a:p>
            <a:pPr eaLnBrk="1" hangingPunct="1"/>
            <a:r>
              <a:rPr lang="da-DK" altLang="da-DK" dirty="0"/>
              <a:t>Det betyder, at du ret til </a:t>
            </a:r>
            <a:r>
              <a:rPr lang="da-DK" altLang="da-DK" dirty="0" err="1"/>
              <a:t>til</a:t>
            </a:r>
            <a:r>
              <a:rPr lang="da-DK" altLang="da-DK" dirty="0"/>
              <a:t> at holde 6 ugers ferie fra din arbejdsplads, uanset om du har ret til løn eller feriegodtgørelse under ferien.</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a:extLst>
              <a:ext uri="{FF2B5EF4-FFF2-40B4-BE49-F238E27FC236}">
                <a16:creationId xmlns:a16="http://schemas.microsoft.com/office/drawing/2014/main" id="{9D573F7D-5B76-E3F4-A22C-83D376EB7582}"/>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19163">
              <a:spcBef>
                <a:spcPct val="30000"/>
              </a:spcBef>
              <a:defRPr sz="1200">
                <a:solidFill>
                  <a:schemeClr val="tx1"/>
                </a:solidFill>
                <a:latin typeface="Times New Roman" panose="02020603050405020304" pitchFamily="18" charset="0"/>
              </a:defRPr>
            </a:lvl1pPr>
            <a:lvl2pPr marL="742950" indent="-285750" defTabSz="919163">
              <a:spcBef>
                <a:spcPct val="30000"/>
              </a:spcBef>
              <a:defRPr sz="1200">
                <a:solidFill>
                  <a:schemeClr val="tx1"/>
                </a:solidFill>
                <a:latin typeface="Times New Roman" panose="02020603050405020304" pitchFamily="18" charset="0"/>
              </a:defRPr>
            </a:lvl2pPr>
            <a:lvl3pPr marL="1143000" indent="-228600" defTabSz="919163">
              <a:spcBef>
                <a:spcPct val="30000"/>
              </a:spcBef>
              <a:defRPr sz="1200">
                <a:solidFill>
                  <a:schemeClr val="tx1"/>
                </a:solidFill>
                <a:latin typeface="Times New Roman" panose="02020603050405020304" pitchFamily="18" charset="0"/>
              </a:defRPr>
            </a:lvl3pPr>
            <a:lvl4pPr marL="1600200" indent="-228600" defTabSz="919163">
              <a:spcBef>
                <a:spcPct val="30000"/>
              </a:spcBef>
              <a:defRPr sz="1200">
                <a:solidFill>
                  <a:schemeClr val="tx1"/>
                </a:solidFill>
                <a:latin typeface="Times New Roman" panose="02020603050405020304" pitchFamily="18" charset="0"/>
              </a:defRPr>
            </a:lvl4pPr>
            <a:lvl5pPr marL="2057400" indent="-228600" defTabSz="919163">
              <a:spcBef>
                <a:spcPct val="30000"/>
              </a:spcBef>
              <a:defRPr sz="1200">
                <a:solidFill>
                  <a:schemeClr val="tx1"/>
                </a:solidFill>
                <a:latin typeface="Times New Roman" panose="02020603050405020304" pitchFamily="18" charset="0"/>
              </a:defRPr>
            </a:lvl5pPr>
            <a:lvl6pPr marL="2514600" indent="-228600" defTabSz="9191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191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191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19163"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19163" rtl="0" eaLnBrk="1" fontAlgn="auto" latinLnBrk="0" hangingPunct="1">
              <a:lnSpc>
                <a:spcPct val="100000"/>
              </a:lnSpc>
              <a:spcBef>
                <a:spcPct val="0"/>
              </a:spcBef>
              <a:spcAft>
                <a:spcPts val="0"/>
              </a:spcAft>
              <a:buClrTx/>
              <a:buSzTx/>
              <a:buFontTx/>
              <a:buNone/>
              <a:tabLst/>
              <a:defRPr/>
            </a:pPr>
            <a:fld id="{08875597-85BC-427A-9EFE-BD280D895ED8}" type="slidenum">
              <a:rPr kumimoji="0" lang="da-DK" altLang="da-DK"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9163" rtl="0" eaLnBrk="1" fontAlgn="auto" latinLnBrk="0" hangingPunct="1">
                <a:lnSpc>
                  <a:spcPct val="100000"/>
                </a:lnSpc>
                <a:spcBef>
                  <a:spcPct val="0"/>
                </a:spcBef>
                <a:spcAft>
                  <a:spcPts val="0"/>
                </a:spcAft>
                <a:buClrTx/>
                <a:buSzTx/>
                <a:buFontTx/>
                <a:buNone/>
                <a:tabLst/>
                <a:defRPr/>
              </a:pPr>
              <a:t>11</a:t>
            </a:fld>
            <a:endParaRPr kumimoji="0" lang="da-DK" altLang="da-DK"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
        <p:nvSpPr>
          <p:cNvPr id="11267" name="Rectangle 2">
            <a:extLst>
              <a:ext uri="{FF2B5EF4-FFF2-40B4-BE49-F238E27FC236}">
                <a16:creationId xmlns:a16="http://schemas.microsoft.com/office/drawing/2014/main" id="{C2F9F3E3-05CB-7D61-2B89-A82E989EBEA2}"/>
              </a:ext>
            </a:extLst>
          </p:cNvPr>
          <p:cNvSpPr>
            <a:spLocks noGrp="1" noRot="1" noChangeAspect="1" noChangeArrowheads="1" noTextEdit="1"/>
          </p:cNvSpPr>
          <p:nvPr>
            <p:ph type="sldImg"/>
          </p:nvPr>
        </p:nvSpPr>
        <p:spPr>
          <a:ln/>
        </p:spPr>
      </p:sp>
      <p:sp>
        <p:nvSpPr>
          <p:cNvPr id="11268" name="Rectangle 3">
            <a:extLst>
              <a:ext uri="{FF2B5EF4-FFF2-40B4-BE49-F238E27FC236}">
                <a16:creationId xmlns:a16="http://schemas.microsoft.com/office/drawing/2014/main" id="{4EEB038C-918B-EC47-5B2A-A3238C94FE30}"/>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da-DK" altLang="da-DK" dirty="0"/>
              <a:t>Ret til ferieafholdelse uanset om man har optjent ferie med løn eller ej</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a:extLst>
              <a:ext uri="{FF2B5EF4-FFF2-40B4-BE49-F238E27FC236}">
                <a16:creationId xmlns:a16="http://schemas.microsoft.com/office/drawing/2014/main" id="{89F77AF5-922A-8DFA-8DA1-7F24418775A1}"/>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19163">
              <a:spcBef>
                <a:spcPct val="30000"/>
              </a:spcBef>
              <a:defRPr sz="1200">
                <a:solidFill>
                  <a:schemeClr val="tx1"/>
                </a:solidFill>
                <a:latin typeface="Times New Roman" panose="02020603050405020304" pitchFamily="18" charset="0"/>
              </a:defRPr>
            </a:lvl1pPr>
            <a:lvl2pPr marL="742950" indent="-285750" defTabSz="919163">
              <a:spcBef>
                <a:spcPct val="30000"/>
              </a:spcBef>
              <a:defRPr sz="1200">
                <a:solidFill>
                  <a:schemeClr val="tx1"/>
                </a:solidFill>
                <a:latin typeface="Times New Roman" panose="02020603050405020304" pitchFamily="18" charset="0"/>
              </a:defRPr>
            </a:lvl2pPr>
            <a:lvl3pPr marL="1143000" indent="-228600" defTabSz="919163">
              <a:spcBef>
                <a:spcPct val="30000"/>
              </a:spcBef>
              <a:defRPr sz="1200">
                <a:solidFill>
                  <a:schemeClr val="tx1"/>
                </a:solidFill>
                <a:latin typeface="Times New Roman" panose="02020603050405020304" pitchFamily="18" charset="0"/>
              </a:defRPr>
            </a:lvl3pPr>
            <a:lvl4pPr marL="1600200" indent="-228600" defTabSz="919163">
              <a:spcBef>
                <a:spcPct val="30000"/>
              </a:spcBef>
              <a:defRPr sz="1200">
                <a:solidFill>
                  <a:schemeClr val="tx1"/>
                </a:solidFill>
                <a:latin typeface="Times New Roman" panose="02020603050405020304" pitchFamily="18" charset="0"/>
              </a:defRPr>
            </a:lvl4pPr>
            <a:lvl5pPr marL="2057400" indent="-228600" defTabSz="919163">
              <a:spcBef>
                <a:spcPct val="30000"/>
              </a:spcBef>
              <a:defRPr sz="1200">
                <a:solidFill>
                  <a:schemeClr val="tx1"/>
                </a:solidFill>
                <a:latin typeface="Times New Roman" panose="02020603050405020304" pitchFamily="18" charset="0"/>
              </a:defRPr>
            </a:lvl5pPr>
            <a:lvl6pPr marL="2514600" indent="-228600" defTabSz="9191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191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191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19163"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19163" rtl="0" eaLnBrk="1" fontAlgn="auto" latinLnBrk="0" hangingPunct="1">
              <a:lnSpc>
                <a:spcPct val="100000"/>
              </a:lnSpc>
              <a:spcBef>
                <a:spcPct val="0"/>
              </a:spcBef>
              <a:spcAft>
                <a:spcPts val="0"/>
              </a:spcAft>
              <a:buClrTx/>
              <a:buSzTx/>
              <a:buFontTx/>
              <a:buNone/>
              <a:tabLst/>
              <a:defRPr/>
            </a:pPr>
            <a:fld id="{247D43B5-6A44-43CE-8296-F20E2A54159A}" type="slidenum">
              <a:rPr kumimoji="0" lang="da-DK" altLang="da-DK" sz="1200" b="0" i="0" u="none" strike="noStrike" kern="1200" cap="none" spc="0" normalizeH="0" baseline="0" noProof="0" smtClean="0">
                <a:ln>
                  <a:noFill/>
                </a:ln>
                <a:solidFill>
                  <a:prstClr val="black"/>
                </a:solidFill>
                <a:effectLst/>
                <a:uLnTx/>
                <a:uFillTx/>
                <a:latin typeface="Times New Roman" panose="02020603050405020304" pitchFamily="18" charset="0"/>
                <a:ea typeface="+mn-ea"/>
                <a:cs typeface="+mn-cs"/>
              </a:rPr>
              <a:pPr marL="0" marR="0" lvl="0" indent="0" algn="r" defTabSz="919163" rtl="0" eaLnBrk="1" fontAlgn="auto" latinLnBrk="0" hangingPunct="1">
                <a:lnSpc>
                  <a:spcPct val="100000"/>
                </a:lnSpc>
                <a:spcBef>
                  <a:spcPct val="0"/>
                </a:spcBef>
                <a:spcAft>
                  <a:spcPts val="0"/>
                </a:spcAft>
                <a:buClrTx/>
                <a:buSzTx/>
                <a:buFontTx/>
                <a:buNone/>
                <a:tabLst/>
                <a:defRPr/>
              </a:pPr>
              <a:t>12</a:t>
            </a:fld>
            <a:endParaRPr kumimoji="0" lang="da-DK" altLang="da-DK"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
        <p:nvSpPr>
          <p:cNvPr id="27651" name="Rectangle 2">
            <a:extLst>
              <a:ext uri="{FF2B5EF4-FFF2-40B4-BE49-F238E27FC236}">
                <a16:creationId xmlns:a16="http://schemas.microsoft.com/office/drawing/2014/main" id="{5A02600E-BD29-3EF0-C703-8C5B4D63A2AC}"/>
              </a:ext>
            </a:extLst>
          </p:cNvPr>
          <p:cNvSpPr>
            <a:spLocks noGrp="1" noRot="1" noChangeAspect="1" noChangeArrowheads="1" noTextEdit="1"/>
          </p:cNvSpPr>
          <p:nvPr>
            <p:ph type="sldImg"/>
          </p:nvPr>
        </p:nvSpPr>
        <p:spPr>
          <a:ln/>
        </p:spPr>
      </p:sp>
      <p:sp>
        <p:nvSpPr>
          <p:cNvPr id="27652" name="Rectangle 3">
            <a:extLst>
              <a:ext uri="{FF2B5EF4-FFF2-40B4-BE49-F238E27FC236}">
                <a16:creationId xmlns:a16="http://schemas.microsoft.com/office/drawing/2014/main" id="{78F1D1A6-FF66-80FB-6B74-22A892FEAF78}"/>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da-DK" altLang="da-DK"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34.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3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3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3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3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4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4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4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4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45.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46.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4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48.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49.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0.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5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2.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5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5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5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8.bin"/><Relationship Id="rId7"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5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5.bin"/><Relationship Id="rId7"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60.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65.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66.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68.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69.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70.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71.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7.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74.xml"/><Relationship Id="rId6" Type="http://schemas.openxmlformats.org/officeDocument/2006/relationships/image" Target="../media/image3.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75.xml"/><Relationship Id="rId6" Type="http://schemas.openxmlformats.org/officeDocument/2006/relationships/image" Target="../media/image3.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7.xml"/><Relationship Id="rId1" Type="http://schemas.openxmlformats.org/officeDocument/2006/relationships/tags" Target="../tags/tag76.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7.xml"/><Relationship Id="rId1" Type="http://schemas.openxmlformats.org/officeDocument/2006/relationships/tags" Target="../tags/tag77.xml"/><Relationship Id="rId6" Type="http://schemas.openxmlformats.org/officeDocument/2006/relationships/image" Target="../media/image3.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7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7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7.xml"/><Relationship Id="rId1" Type="http://schemas.openxmlformats.org/officeDocument/2006/relationships/tags" Target="../tags/tag8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81.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8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84.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8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86.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88.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89.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90.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91.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9.xml"/><Relationship Id="rId1" Type="http://schemas.openxmlformats.org/officeDocument/2006/relationships/tags" Target="../tags/tag92.xml"/><Relationship Id="rId6" Type="http://schemas.openxmlformats.org/officeDocument/2006/relationships/image" Target="../media/image3.png"/><Relationship Id="rId5" Type="http://schemas.openxmlformats.org/officeDocument/2006/relationships/image" Target="../media/image38.jpeg"/><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AEAD08-2C34-411B-8315-DCA82B7B1F1E}"/>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6F2D3734-715A-41C6-A7AC-CDFB01C75B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D9937B0-49D1-49B3-A454-FAFCACC785CD}"/>
              </a:ext>
            </a:extLst>
          </p:cNvPr>
          <p:cNvSpPr>
            <a:spLocks noGrp="1"/>
          </p:cNvSpPr>
          <p:nvPr>
            <p:ph type="dt" sz="half" idx="10"/>
          </p:nvPr>
        </p:nvSpPr>
        <p:spPr/>
        <p:txBody>
          <a:bodyPr/>
          <a:lstStyle/>
          <a:p>
            <a:fld id="{20C4028A-20C7-471F-8D1C-43382DBB6AC0}" type="datetime1">
              <a:rPr lang="da-DK" smtClean="0"/>
              <a:t>17-02-2026</a:t>
            </a:fld>
            <a:endParaRPr lang="da-DK"/>
          </a:p>
        </p:txBody>
      </p:sp>
      <p:sp>
        <p:nvSpPr>
          <p:cNvPr id="5" name="Pladsholder til sidefod 4">
            <a:extLst>
              <a:ext uri="{FF2B5EF4-FFF2-40B4-BE49-F238E27FC236}">
                <a16:creationId xmlns:a16="http://schemas.microsoft.com/office/drawing/2014/main" id="{924F1D84-00DE-4201-8C41-02B824A9683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4BF7A71-0B1F-4F99-891B-9AC61FC6943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8405382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1C2751-51DE-49BD-8232-EBF308E707C7}"/>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7B454FE3-ACF1-4AE2-9212-8F111CB481C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DD63C502-9AE5-4B10-84D8-651D0D81BF69}"/>
              </a:ext>
            </a:extLst>
          </p:cNvPr>
          <p:cNvSpPr>
            <a:spLocks noGrp="1"/>
          </p:cNvSpPr>
          <p:nvPr>
            <p:ph type="dt" sz="half" idx="10"/>
          </p:nvPr>
        </p:nvSpPr>
        <p:spPr/>
        <p:txBody>
          <a:bodyPr/>
          <a:lstStyle/>
          <a:p>
            <a:fld id="{77AB4B9D-1DA2-4440-80B9-C2E5B64813EC}" type="datetime1">
              <a:rPr lang="da-DK" smtClean="0"/>
              <a:t>17-02-2026</a:t>
            </a:fld>
            <a:endParaRPr lang="da-DK"/>
          </a:p>
        </p:txBody>
      </p:sp>
      <p:sp>
        <p:nvSpPr>
          <p:cNvPr id="5" name="Pladsholder til sidefod 4">
            <a:extLst>
              <a:ext uri="{FF2B5EF4-FFF2-40B4-BE49-F238E27FC236}">
                <a16:creationId xmlns:a16="http://schemas.microsoft.com/office/drawing/2014/main" id="{70E37C96-F96C-449C-AFAC-7FD644CEC21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761991A-0F1A-4C72-A001-CB21923B715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9374413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EBD37E-6265-C65D-FB9E-117F0E68FC83}"/>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2BB5AB3B-1887-E0A9-C440-3B7946DAE3ED}"/>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DAC56D1F-67E9-AA86-EB8D-2E8A0208740A}"/>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5FFD5366-090B-A229-75F6-2196446D21F6}"/>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6" name="Pladsholder til sidefod 5">
            <a:extLst>
              <a:ext uri="{FF2B5EF4-FFF2-40B4-BE49-F238E27FC236}">
                <a16:creationId xmlns:a16="http://schemas.microsoft.com/office/drawing/2014/main" id="{4B183C74-66B5-4767-E590-BD7E99FEDD53}"/>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9E4BADA0-92F9-7295-F5A9-B9B6142F3B20}"/>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40806476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82B293-3762-B0B9-0DC3-04BFB417ABC1}"/>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C1D2B250-B60D-9F1F-5F04-7F77F36217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6A089EAF-47B9-629F-24B7-6F06BB3D275C}"/>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91A63BD9-8E06-4ECE-D7D6-C9238216B6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45A52A52-55D5-8DC8-D604-BD3D190712A5}"/>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A46901E5-7DBC-2AD5-223D-1E46452952FC}"/>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8" name="Pladsholder til sidefod 7">
            <a:extLst>
              <a:ext uri="{FF2B5EF4-FFF2-40B4-BE49-F238E27FC236}">
                <a16:creationId xmlns:a16="http://schemas.microsoft.com/office/drawing/2014/main" id="{D3838F46-2B1B-8BFB-44DC-4B3555EAA57C}"/>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851313BF-97F9-69C9-6ECA-BC786E56CBA3}"/>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12147545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A03E27-17E1-8375-4594-7596476BF49B}"/>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F8393C64-0FDA-BB9B-4916-7678BE7FFBF8}"/>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4" name="Pladsholder til sidefod 3">
            <a:extLst>
              <a:ext uri="{FF2B5EF4-FFF2-40B4-BE49-F238E27FC236}">
                <a16:creationId xmlns:a16="http://schemas.microsoft.com/office/drawing/2014/main" id="{CCB82127-DCB7-3D14-F3C6-D7BDEB5780C2}"/>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0E973FF6-842F-130C-AB0D-6C7C3C30B068}"/>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6827491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B687B940-D788-8505-D118-FB7DE0ED976E}"/>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3" name="Pladsholder til sidefod 2">
            <a:extLst>
              <a:ext uri="{FF2B5EF4-FFF2-40B4-BE49-F238E27FC236}">
                <a16:creationId xmlns:a16="http://schemas.microsoft.com/office/drawing/2014/main" id="{F488B9B2-5442-2094-F4D6-D73AFC7D49CF}"/>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65EBA2D1-FDE6-2525-E719-3779EE1D31F1}"/>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37780264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AD6D16-9C15-C99A-436B-8FB45F248983}"/>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14E6C772-69D0-70EC-109D-56276BC2A2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7502A332-B179-37EB-853A-7BDC6DDC0E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087BE05A-F475-1D16-0D1F-8579D39C560D}"/>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6" name="Pladsholder til sidefod 5">
            <a:extLst>
              <a:ext uri="{FF2B5EF4-FFF2-40B4-BE49-F238E27FC236}">
                <a16:creationId xmlns:a16="http://schemas.microsoft.com/office/drawing/2014/main" id="{D964AFF3-6D13-09FA-7A81-E77F4BCEEAE2}"/>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C29EBDC-C3D2-B124-6FFD-4CFE14524209}"/>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143897727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377BCA-E74B-D7CD-6A0F-FDAF2C8EB17B}"/>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2E53D913-28C0-44AB-255E-05F80354F54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4BD70B81-573D-40DC-B4AC-757235C3FC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0775274A-31F3-8959-46A0-57D96E86239B}"/>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6" name="Pladsholder til sidefod 5">
            <a:extLst>
              <a:ext uri="{FF2B5EF4-FFF2-40B4-BE49-F238E27FC236}">
                <a16:creationId xmlns:a16="http://schemas.microsoft.com/office/drawing/2014/main" id="{95C193C6-2947-C5DE-74FD-12DFAB6F719D}"/>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67066A5B-764D-6785-AB3A-4C9799FD6509}"/>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4424048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36D93D-9E79-0070-A146-B2785A3AC2A4}"/>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68C09E37-E618-368A-6937-E8E79077B7D4}"/>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186CDA4E-4B75-D35A-08C6-9842E5D8396A}"/>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5" name="Pladsholder til sidefod 4">
            <a:extLst>
              <a:ext uri="{FF2B5EF4-FFF2-40B4-BE49-F238E27FC236}">
                <a16:creationId xmlns:a16="http://schemas.microsoft.com/office/drawing/2014/main" id="{8506421D-D8A2-C2E4-9817-B015265E35BF}"/>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D7C808B-5136-5C2F-136A-ACE34E4ADD5E}"/>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10946066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66980D93-8E29-7424-3125-1051A6D82F9C}"/>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41F1B404-0AB1-1B04-2223-E0019B056B50}"/>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0419B19-17C3-12E0-F042-724F4C9A6533}"/>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5" name="Pladsholder til sidefod 4">
            <a:extLst>
              <a:ext uri="{FF2B5EF4-FFF2-40B4-BE49-F238E27FC236}">
                <a16:creationId xmlns:a16="http://schemas.microsoft.com/office/drawing/2014/main" id="{C580AB00-22F3-669A-C311-67C858FA28D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BEAF535A-1CFE-AC5B-4DB4-011D28089601}"/>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2167375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xAndClipArt">
  <p:cSld name="Titel, tekst og clipartbilled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p>
            <a:r>
              <a:rPr lang="da-DK"/>
              <a:t>Klik for at redigere i master</a:t>
            </a:r>
          </a:p>
        </p:txBody>
      </p:sp>
      <p:sp>
        <p:nvSpPr>
          <p:cNvPr id="3" name="Pladsholder til tekst 2"/>
          <p:cNvSpPr>
            <a:spLocks noGrp="1"/>
          </p:cNvSpPr>
          <p:nvPr>
            <p:ph type="body" sz="half" idx="1"/>
          </p:nvPr>
        </p:nvSpPr>
        <p:spPr>
          <a:xfrm>
            <a:off x="609600" y="1600200"/>
            <a:ext cx="5384800" cy="4533900"/>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multimedieklip 3"/>
          <p:cNvSpPr>
            <a:spLocks noGrp="1"/>
          </p:cNvSpPr>
          <p:nvPr>
            <p:ph type="clipArt" sz="half" idx="2"/>
          </p:nvPr>
        </p:nvSpPr>
        <p:spPr>
          <a:xfrm>
            <a:off x="6197600" y="1600200"/>
            <a:ext cx="5384800" cy="4533900"/>
          </a:xfrm>
        </p:spPr>
        <p:txBody>
          <a:bodyPr/>
          <a:lstStyle/>
          <a:p>
            <a:pPr lvl="0"/>
            <a:endParaRPr lang="da-DK" noProof="0"/>
          </a:p>
        </p:txBody>
      </p:sp>
      <p:sp>
        <p:nvSpPr>
          <p:cNvPr id="5" name="Rectangle 218">
            <a:extLst>
              <a:ext uri="{FF2B5EF4-FFF2-40B4-BE49-F238E27FC236}">
                <a16:creationId xmlns:a16="http://schemas.microsoft.com/office/drawing/2014/main" id="{8313137D-D6C4-83A9-5386-3C9DA606133C}"/>
              </a:ext>
            </a:extLst>
          </p:cNvPr>
          <p:cNvSpPr>
            <a:spLocks noGrp="1" noChangeArrowheads="1"/>
          </p:cNvSpPr>
          <p:nvPr>
            <p:ph type="sldNum" sz="quarter" idx="10"/>
          </p:nvPr>
        </p:nvSpPr>
        <p:spPr>
          <a:ln/>
        </p:spPr>
        <p:txBody>
          <a:bodyPr/>
          <a:lstStyle>
            <a:lvl1pPr>
              <a:defRPr/>
            </a:lvl1pPr>
          </a:lstStyle>
          <a:p>
            <a:pPr>
              <a:defRPr/>
            </a:pPr>
            <a:fld id="{D67CA043-D9CE-442C-AC61-B537C61ECD81}" type="slidenum">
              <a:rPr lang="da-DK" altLang="da-DK"/>
              <a:pPr>
                <a:defRPr/>
              </a:pPr>
              <a:t>‹nr.›</a:t>
            </a:fld>
            <a:endParaRPr lang="da-DK" altLang="da-DK"/>
          </a:p>
        </p:txBody>
      </p:sp>
      <p:sp>
        <p:nvSpPr>
          <p:cNvPr id="6" name="Rectangle 219">
            <a:extLst>
              <a:ext uri="{FF2B5EF4-FFF2-40B4-BE49-F238E27FC236}">
                <a16:creationId xmlns:a16="http://schemas.microsoft.com/office/drawing/2014/main" id="{3710C72D-B683-4243-FD02-69607EF3E28F}"/>
              </a:ext>
            </a:extLst>
          </p:cNvPr>
          <p:cNvSpPr>
            <a:spLocks noGrp="1" noChangeArrowheads="1"/>
          </p:cNvSpPr>
          <p:nvPr>
            <p:ph type="dt" sz="half" idx="11"/>
          </p:nvPr>
        </p:nvSpPr>
        <p:spPr>
          <a:ln/>
        </p:spPr>
        <p:txBody>
          <a:bodyPr/>
          <a:lstStyle>
            <a:lvl1pPr>
              <a:defRPr/>
            </a:lvl1pPr>
          </a:lstStyle>
          <a:p>
            <a:pPr>
              <a:defRPr/>
            </a:pPr>
            <a:endParaRPr lang="da-DK"/>
          </a:p>
        </p:txBody>
      </p:sp>
      <p:sp>
        <p:nvSpPr>
          <p:cNvPr id="7" name="Rectangle 220">
            <a:extLst>
              <a:ext uri="{FF2B5EF4-FFF2-40B4-BE49-F238E27FC236}">
                <a16:creationId xmlns:a16="http://schemas.microsoft.com/office/drawing/2014/main" id="{694D4521-24EF-3A58-ACA9-CFAEFAF48E67}"/>
              </a:ext>
            </a:extLst>
          </p:cNvPr>
          <p:cNvSpPr>
            <a:spLocks noGrp="1" noChangeArrowheads="1"/>
          </p:cNvSpPr>
          <p:nvPr>
            <p:ph type="ftr" sz="quarter" idx="12"/>
          </p:nvPr>
        </p:nvSpPr>
        <p:spPr>
          <a:ln/>
        </p:spPr>
        <p:txBody>
          <a:bodyPr/>
          <a:lstStyle>
            <a:lvl1pPr>
              <a:defRPr/>
            </a:lvl1pPr>
          </a:lstStyle>
          <a:p>
            <a:pPr>
              <a:defRPr/>
            </a:pPr>
            <a:endParaRPr lang="da-DK"/>
          </a:p>
        </p:txBody>
      </p:sp>
    </p:spTree>
    <p:extLst>
      <p:ext uri="{BB962C8B-B14F-4D97-AF65-F5344CB8AC3E}">
        <p14:creationId xmlns:p14="http://schemas.microsoft.com/office/powerpoint/2010/main" val="235955821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2B937-F7A3-A92B-0DFD-01AC535E3180}"/>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FF180A17-DF9A-8ED9-CABB-A291BEB997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781E85AE-7226-E8B9-C948-A5273422CCD5}"/>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5" name="Pladsholder til sidefod 4">
            <a:extLst>
              <a:ext uri="{FF2B5EF4-FFF2-40B4-BE49-F238E27FC236}">
                <a16:creationId xmlns:a16="http://schemas.microsoft.com/office/drawing/2014/main" id="{700496DB-C9C1-5FF5-DCBD-FFE1B6F04F7E}"/>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184FE531-A74C-8DBD-8DE5-2687D1B2E983}"/>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2865537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CB8F632-14F1-44D5-BFE4-D4EC387B7AF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AD5E2BAF-E795-4E4B-BC3A-8E579C4DAC6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A587E49-B066-4EBC-B680-01BAD9819551}"/>
              </a:ext>
            </a:extLst>
          </p:cNvPr>
          <p:cNvSpPr>
            <a:spLocks noGrp="1"/>
          </p:cNvSpPr>
          <p:nvPr>
            <p:ph type="dt" sz="half" idx="10"/>
          </p:nvPr>
        </p:nvSpPr>
        <p:spPr/>
        <p:txBody>
          <a:bodyPr/>
          <a:lstStyle/>
          <a:p>
            <a:fld id="{CE68CCF1-00CC-44B7-8344-3E6D8629D93F}" type="datetime1">
              <a:rPr lang="da-DK" smtClean="0"/>
              <a:t>17-02-2026</a:t>
            </a:fld>
            <a:endParaRPr lang="da-DK"/>
          </a:p>
        </p:txBody>
      </p:sp>
      <p:sp>
        <p:nvSpPr>
          <p:cNvPr id="5" name="Pladsholder til sidefod 4">
            <a:extLst>
              <a:ext uri="{FF2B5EF4-FFF2-40B4-BE49-F238E27FC236}">
                <a16:creationId xmlns:a16="http://schemas.microsoft.com/office/drawing/2014/main" id="{B2BF53FC-B35A-46AF-814B-7D5527FD7DF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3773F4D-0575-436F-A11B-1011EF0887A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53115018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B1FA4F-09B4-B101-3681-FAC9415D7B81}"/>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7D1F9F3E-1577-5852-17D2-7162EDE1B0D2}"/>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D60B7674-F537-D054-5CD3-5E9D6A0568A3}"/>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5" name="Pladsholder til sidefod 4">
            <a:extLst>
              <a:ext uri="{FF2B5EF4-FFF2-40B4-BE49-F238E27FC236}">
                <a16:creationId xmlns:a16="http://schemas.microsoft.com/office/drawing/2014/main" id="{9292E681-1285-F4F1-70B6-5F99B551F17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DD40CC4-1901-C4E4-C319-7061256C7A29}"/>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29702380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2FB2EC-6483-3CFE-6D98-65EDDC81F277}"/>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E6F49FBC-7967-C5D6-7BE2-9C32034FE4E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2690076B-9184-7357-DD8F-6E5403C7D771}"/>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5" name="Pladsholder til sidefod 4">
            <a:extLst>
              <a:ext uri="{FF2B5EF4-FFF2-40B4-BE49-F238E27FC236}">
                <a16:creationId xmlns:a16="http://schemas.microsoft.com/office/drawing/2014/main" id="{02E95004-85DD-9EAC-B343-6018DD3E654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F3FA8094-9EA8-24C1-B86A-A188D78AD4A3}"/>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38540936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2D9B5A-4965-C38C-EBF3-B4E9C6F3BCD2}"/>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3978E6BD-ED0B-381B-C27A-C14E9062682A}"/>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1A84EBA8-DBC1-740D-B8A5-E8CF402DD7A2}"/>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6DF25638-E97F-B8C7-98C0-5A4673402F95}"/>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6" name="Pladsholder til sidefod 5">
            <a:extLst>
              <a:ext uri="{FF2B5EF4-FFF2-40B4-BE49-F238E27FC236}">
                <a16:creationId xmlns:a16="http://schemas.microsoft.com/office/drawing/2014/main" id="{47AB492A-94C4-93C1-5EEF-3ABE524D24C5}"/>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BBFCCAB-FB31-0763-C98E-B97C95983F1A}"/>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11368885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B1B301-7BD2-6E1D-EBA2-510D22E5DB13}"/>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3D08955-E415-4D61-3BAB-D32AA21D9C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31457A8D-59A6-152B-C005-2C5C83FE66BC}"/>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29EBC5A6-7DC1-438D-269E-C9F602CE3E3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AA6999D5-68FF-DDBA-CFE4-1479679834A9}"/>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74829290-8674-65A9-16E2-E747884A498A}"/>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8" name="Pladsholder til sidefod 7">
            <a:extLst>
              <a:ext uri="{FF2B5EF4-FFF2-40B4-BE49-F238E27FC236}">
                <a16:creationId xmlns:a16="http://schemas.microsoft.com/office/drawing/2014/main" id="{69465793-D016-41CC-D59D-4D72F1ABD976}"/>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8F6E1ED3-8F64-53BD-D0DB-2EC61190168C}"/>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184112001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D9F74F-3221-847F-8289-9AC6E2021F4F}"/>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08F59446-204A-6DC5-8745-F55A04403FEE}"/>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4" name="Pladsholder til sidefod 3">
            <a:extLst>
              <a:ext uri="{FF2B5EF4-FFF2-40B4-BE49-F238E27FC236}">
                <a16:creationId xmlns:a16="http://schemas.microsoft.com/office/drawing/2014/main" id="{E243D8A4-310D-2435-A389-878747C657F5}"/>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36B506D3-251C-684F-24C3-5CA24EE4CBE4}"/>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86367414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EC70FFE5-7202-CCDD-73BC-338637CA55EE}"/>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3" name="Pladsholder til sidefod 2">
            <a:extLst>
              <a:ext uri="{FF2B5EF4-FFF2-40B4-BE49-F238E27FC236}">
                <a16:creationId xmlns:a16="http://schemas.microsoft.com/office/drawing/2014/main" id="{F7E74B47-726F-594C-5AA0-C8C9ABE95CFC}"/>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2E327696-EC87-1054-D369-D2F744F7E4C5}"/>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278337643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53483E-2737-D66F-C1A5-3C5E2BB3756B}"/>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93E9C86F-09F8-1D36-B8A9-2D1EBD69C2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937B06BA-6B9E-4DD5-ACDC-E6BACF991F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5A262C21-2185-6894-6629-F683218EC638}"/>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6" name="Pladsholder til sidefod 5">
            <a:extLst>
              <a:ext uri="{FF2B5EF4-FFF2-40B4-BE49-F238E27FC236}">
                <a16:creationId xmlns:a16="http://schemas.microsoft.com/office/drawing/2014/main" id="{C94FA651-F3F1-ED20-C003-45ACBE16B8FE}"/>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1186DA3B-8968-FE6D-CAAD-78F8862E80B5}"/>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279968677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141AF3-382A-B618-1B4D-CD4D2E9A7AC8}"/>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A6986D59-5CD2-69EB-C677-5D02CCB749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87E5891D-296C-EF90-A4CC-B333E7F9EB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91F07C1C-2349-7AE0-0AB0-5B6399C29763}"/>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6" name="Pladsholder til sidefod 5">
            <a:extLst>
              <a:ext uri="{FF2B5EF4-FFF2-40B4-BE49-F238E27FC236}">
                <a16:creationId xmlns:a16="http://schemas.microsoft.com/office/drawing/2014/main" id="{F673E539-A8DD-D491-76CD-4CE9CCF13B7D}"/>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CE2A654E-DE3E-F917-4414-899BB4ABE830}"/>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104202654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919A87-A8A2-F06E-26D6-A1917CA94F55}"/>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91D0FE42-3071-0A9E-E88D-2E44D40BE278}"/>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EF1AD2B1-C117-777F-4BA0-F9C6A13B9066}"/>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5" name="Pladsholder til sidefod 4">
            <a:extLst>
              <a:ext uri="{FF2B5EF4-FFF2-40B4-BE49-F238E27FC236}">
                <a16:creationId xmlns:a16="http://schemas.microsoft.com/office/drawing/2014/main" id="{D9CB8739-4863-D862-BB9D-35F619CBBE4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C5DDB73-24EA-B2B1-8BFD-9B3F0290BEB7}"/>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318320718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1FD9A376-16AA-9EC7-4EDA-C07D1732BFE6}"/>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D55E7E9E-EC5D-E27C-333F-59D75A73DE98}"/>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3899E5B0-D6CD-E4E7-8DFB-48DAE2F4CFE4}"/>
              </a:ext>
            </a:extLst>
          </p:cNvPr>
          <p:cNvSpPr>
            <a:spLocks noGrp="1"/>
          </p:cNvSpPr>
          <p:nvPr>
            <p:ph type="dt" sz="half" idx="10"/>
          </p:nvPr>
        </p:nvSpPr>
        <p:spPr/>
        <p:txBody>
          <a:bodyPr/>
          <a:lstStyle/>
          <a:p>
            <a:fld id="{C9B8575E-05A1-4FE1-9E3A-6C3A95FC521E}" type="datetimeFigureOut">
              <a:rPr lang="da-DK" smtClean="0"/>
              <a:t>17-02-2026</a:t>
            </a:fld>
            <a:endParaRPr lang="da-DK"/>
          </a:p>
        </p:txBody>
      </p:sp>
      <p:sp>
        <p:nvSpPr>
          <p:cNvPr id="5" name="Pladsholder til sidefod 4">
            <a:extLst>
              <a:ext uri="{FF2B5EF4-FFF2-40B4-BE49-F238E27FC236}">
                <a16:creationId xmlns:a16="http://schemas.microsoft.com/office/drawing/2014/main" id="{61C2D90F-EB15-EFCE-124F-35157D060023}"/>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68860E05-D7E0-A57B-9CF4-F38DA952C754}"/>
              </a:ext>
            </a:extLst>
          </p:cNvPr>
          <p:cNvSpPr>
            <a:spLocks noGrp="1"/>
          </p:cNvSpPr>
          <p:nvPr>
            <p:ph type="sldNum" sz="quarter" idx="12"/>
          </p:nvPr>
        </p:nvSpPr>
        <p:spPr/>
        <p:txBody>
          <a:bodyPr/>
          <a:lstStyle/>
          <a:p>
            <a:fld id="{C364627C-FD5C-41D6-97AE-9FB5B1FC4082}" type="slidenum">
              <a:rPr lang="da-DK" smtClean="0"/>
              <a:t>‹nr.›</a:t>
            </a:fld>
            <a:endParaRPr lang="da-DK"/>
          </a:p>
        </p:txBody>
      </p:sp>
    </p:spTree>
    <p:extLst>
      <p:ext uri="{BB962C8B-B14F-4D97-AF65-F5344CB8AC3E}">
        <p14:creationId xmlns:p14="http://schemas.microsoft.com/office/powerpoint/2010/main" val="8277372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20552515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223246144"/>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55715070"/>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33770053"/>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86884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123" descr="Presserum">
            <a:extLst>
              <a:ext uri="{FF2B5EF4-FFF2-40B4-BE49-F238E27FC236}">
                <a16:creationId xmlns:a16="http://schemas.microsoft.com/office/drawing/2014/main" id="{5270C00D-9716-4F4C-89B1-0B719AE538D6}"/>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14665"/>
          <a:stretch/>
        </p:blipFill>
        <p:spPr bwMode="auto">
          <a:xfrm>
            <a:off x="0" y="0"/>
            <a:ext cx="12192000" cy="6910086"/>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11999370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9970" name="Picture 2" descr="https://www.frederiksberg.dk/sites/default/files/2017-01/frb-have-eftermiddag.jpg">
            <a:extLst>
              <a:ext uri="{FF2B5EF4-FFF2-40B4-BE49-F238E27FC236}">
                <a16:creationId xmlns:a16="http://schemas.microsoft.com/office/drawing/2014/main" id="{ED773A70-52BE-42A8-8EF8-0D7E97B7B1F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922" b="23078"/>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5162979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2018" name="Picture 2" descr="https://www.frederiksberg.dk/sites/default/files/2018-11/frederiksberg_have_vinter_0.jpg">
            <a:extLst>
              <a:ext uri="{FF2B5EF4-FFF2-40B4-BE49-F238E27FC236}">
                <a16:creationId xmlns:a16="http://schemas.microsoft.com/office/drawing/2014/main" id="{8804EF0A-91A0-4D06-A8B8-68F5E1E14690}"/>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348" b="14054"/>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288203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93DA85-297A-4D19-9783-CC6087DAB9D5}"/>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15464F6-814B-4075-8C9B-3257E52BC418}"/>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DB0727C-52CC-4533-9596-8948ADC656DF}"/>
              </a:ext>
            </a:extLst>
          </p:cNvPr>
          <p:cNvSpPr>
            <a:spLocks noGrp="1"/>
          </p:cNvSpPr>
          <p:nvPr>
            <p:ph type="dt" sz="half" idx="10"/>
          </p:nvPr>
        </p:nvSpPr>
        <p:spPr/>
        <p:txBody>
          <a:bodyPr/>
          <a:lstStyle/>
          <a:p>
            <a:fld id="{2500A526-F576-4CB2-B5E9-3BC1FCE8CD69}" type="datetime1">
              <a:rPr lang="da-DK" smtClean="0"/>
              <a:t>17-02-2026</a:t>
            </a:fld>
            <a:endParaRPr lang="da-DK"/>
          </a:p>
        </p:txBody>
      </p:sp>
      <p:sp>
        <p:nvSpPr>
          <p:cNvPr id="5" name="Pladsholder til sidefod 4">
            <a:extLst>
              <a:ext uri="{FF2B5EF4-FFF2-40B4-BE49-F238E27FC236}">
                <a16:creationId xmlns:a16="http://schemas.microsoft.com/office/drawing/2014/main" id="{E797ECC6-29E8-43EC-8241-F032E3210A6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A249845-F8DA-4A74-8F3F-588D4465E21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3445469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ersion 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lede 7">
            <a:extLst>
              <a:ext uri="{FF2B5EF4-FFF2-40B4-BE49-F238E27FC236}">
                <a16:creationId xmlns:a16="http://schemas.microsoft.com/office/drawing/2014/main" id="{A4AD7337-ADAA-4FC0-B470-2CEE3087285B}"/>
              </a:ext>
            </a:extLst>
          </p:cNvPr>
          <p:cNvPicPr>
            <a:picLocks noChangeAspect="1"/>
          </p:cNvPicPr>
          <p:nvPr userDrawn="1"/>
        </p:nvPicPr>
        <p:blipFill rotWithShape="1">
          <a:blip r:embed="rId5"/>
          <a:srcRect t="2385" b="11492"/>
          <a:stretch/>
        </p:blipFill>
        <p:spPr>
          <a:xfrm>
            <a:off x="-1" y="0"/>
            <a:ext cx="12192001" cy="6858000"/>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rgbClr val="BFBFBF">
              <a:alpha val="67000"/>
            </a:srgbClr>
          </a:solidFill>
        </p:spPr>
        <p:txBody>
          <a:bodyPr lIns="180000" anchor="ctr" anchorCtr="0"/>
          <a:lstStyle>
            <a:lvl1pPr marL="0" indent="0" algn="l">
              <a:buNone/>
              <a:defRPr sz="4000" b="1">
                <a:solidFill>
                  <a:schemeClr val="accent1"/>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0065228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ersion 5">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a:extLst>
              <a:ext uri="{FF2B5EF4-FFF2-40B4-BE49-F238E27FC236}">
                <a16:creationId xmlns:a16="http://schemas.microsoft.com/office/drawing/2014/main" id="{8D3F554F-E105-44A1-94F3-47526C28CCE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53" t="9004" r="8889" b="13235"/>
          <a:stretch/>
        </p:blipFill>
        <p:spPr>
          <a:xfrm>
            <a:off x="0" y="0"/>
            <a:ext cx="12192000" cy="6885383"/>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chemeClr val="accent1">
              <a:alpha val="62000"/>
            </a:schemeClr>
          </a:solidFill>
        </p:spPr>
        <p:txBody>
          <a:bodyPr lIns="180000" anchor="ctr" anchorCtr="0"/>
          <a:lstStyle>
            <a:lvl1pPr marL="0" indent="0" algn="l">
              <a:buNone/>
              <a:defRPr sz="40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5576208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1293740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2864791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m versio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4E996D1-B45B-42E5-A004-71E5234287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kt 2" hidden="1">
                        <a:extLst>
                          <a:ext uri="{FF2B5EF4-FFF2-40B4-BE49-F238E27FC236}">
                            <a16:creationId xmlns:a16="http://schemas.microsoft.com/office/drawing/2014/main" id="{54E996D1-B45B-42E5-A004-71E5234287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lede 3" descr="Frb_logo_rgb.png">
            <a:extLst>
              <a:ext uri="{FF2B5EF4-FFF2-40B4-BE49-F238E27FC236}">
                <a16:creationId xmlns:a16="http://schemas.microsoft.com/office/drawing/2014/main" id="{B3AEE825-B8CA-44C9-9AB7-ECE60AA95B95}"/>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21333799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4037"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6787"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31" name="Rektangel 30">
            <a:extLst>
              <a:ext uri="{FF2B5EF4-FFF2-40B4-BE49-F238E27FC236}">
                <a16:creationId xmlns:a16="http://schemas.microsoft.com/office/drawing/2014/main" id="{6988C521-F328-4C2D-B1C5-D13544B7ADE8}"/>
              </a:ext>
            </a:extLst>
          </p:cNvPr>
          <p:cNvSpPr/>
          <p:nvPr userDrawn="1"/>
        </p:nvSpPr>
        <p:spPr>
          <a:xfrm>
            <a:off x="5596078"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5668828"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25" name="Rektangel 24">
            <a:extLst>
              <a:ext uri="{FF2B5EF4-FFF2-40B4-BE49-F238E27FC236}">
                <a16:creationId xmlns:a16="http://schemas.microsoft.com/office/drawing/2014/main" id="{8F66BC40-79D0-419F-AB77-25CBDEA89BC1}"/>
              </a:ext>
            </a:extLst>
          </p:cNvPr>
          <p:cNvSpPr/>
          <p:nvPr userDrawn="1"/>
        </p:nvSpPr>
        <p:spPr>
          <a:xfrm>
            <a:off x="4756013"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p>
        </p:txBody>
      </p:sp>
      <p:sp>
        <p:nvSpPr>
          <p:cNvPr id="41" name="Rektangel 40">
            <a:extLst>
              <a:ext uri="{FF2B5EF4-FFF2-40B4-BE49-F238E27FC236}">
                <a16:creationId xmlns:a16="http://schemas.microsoft.com/office/drawing/2014/main" id="{2714C71F-1EE8-412B-9DF3-1584E814F4C8}"/>
              </a:ext>
            </a:extLst>
          </p:cNvPr>
          <p:cNvSpPr/>
          <p:nvPr userDrawn="1"/>
        </p:nvSpPr>
        <p:spPr>
          <a:xfrm>
            <a:off x="9608119"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9680869"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5" name="Rektangel 34">
            <a:extLst>
              <a:ext uri="{FF2B5EF4-FFF2-40B4-BE49-F238E27FC236}">
                <a16:creationId xmlns:a16="http://schemas.microsoft.com/office/drawing/2014/main" id="{CDE9BCF8-612E-46BA-A958-FA06F6A67E17}"/>
              </a:ext>
            </a:extLst>
          </p:cNvPr>
          <p:cNvSpPr/>
          <p:nvPr userDrawn="1"/>
        </p:nvSpPr>
        <p:spPr>
          <a:xfrm>
            <a:off x="8768054"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p>
        </p:txBody>
      </p:sp>
      <p:sp>
        <p:nvSpPr>
          <p:cNvPr id="3" name="Pladsholder til tekst 2">
            <a:extLst>
              <a:ext uri="{FF2B5EF4-FFF2-40B4-BE49-F238E27FC236}">
                <a16:creationId xmlns:a16="http://schemas.microsoft.com/office/drawing/2014/main" id="{9CA1BC0B-BB76-4654-8475-4494C6859460}"/>
              </a:ext>
            </a:extLst>
          </p:cNvPr>
          <p:cNvSpPr>
            <a:spLocks noGrp="1"/>
          </p:cNvSpPr>
          <p:nvPr>
            <p:ph type="body" sz="quarter" idx="10" hasCustomPrompt="1"/>
          </p:nvPr>
        </p:nvSpPr>
        <p:spPr>
          <a:xfrm>
            <a:off x="1656787"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43" name="Pladsholder til tekst 2">
            <a:extLst>
              <a:ext uri="{FF2B5EF4-FFF2-40B4-BE49-F238E27FC236}">
                <a16:creationId xmlns:a16="http://schemas.microsoft.com/office/drawing/2014/main" id="{8083E7B2-9870-4B4C-A0BF-3C9773E880E7}"/>
              </a:ext>
            </a:extLst>
          </p:cNvPr>
          <p:cNvSpPr>
            <a:spLocks noGrp="1"/>
          </p:cNvSpPr>
          <p:nvPr>
            <p:ph type="body" sz="quarter" idx="11" hasCustomPrompt="1"/>
          </p:nvPr>
        </p:nvSpPr>
        <p:spPr>
          <a:xfrm>
            <a:off x="5668828"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4" name="Pladsholder til tekst 2">
            <a:extLst>
              <a:ext uri="{FF2B5EF4-FFF2-40B4-BE49-F238E27FC236}">
                <a16:creationId xmlns:a16="http://schemas.microsoft.com/office/drawing/2014/main" id="{90DD788B-E800-48B0-A745-3C43FB6B06E3}"/>
              </a:ext>
            </a:extLst>
          </p:cNvPr>
          <p:cNvSpPr>
            <a:spLocks noGrp="1"/>
          </p:cNvSpPr>
          <p:nvPr>
            <p:ph type="body" sz="quarter" idx="12" hasCustomPrompt="1"/>
          </p:nvPr>
        </p:nvSpPr>
        <p:spPr>
          <a:xfrm>
            <a:off x="9680869"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10" name="Pladsholder til tekst 9">
            <a:extLst>
              <a:ext uri="{FF2B5EF4-FFF2-40B4-BE49-F238E27FC236}">
                <a16:creationId xmlns:a16="http://schemas.microsoft.com/office/drawing/2014/main" id="{821F91E5-3192-4C19-B286-D89A3FE4CBDE}"/>
              </a:ext>
            </a:extLst>
          </p:cNvPr>
          <p:cNvSpPr>
            <a:spLocks noGrp="1"/>
          </p:cNvSpPr>
          <p:nvPr>
            <p:ph type="body" sz="quarter" idx="13" hasCustomPrompt="1"/>
          </p:nvPr>
        </p:nvSpPr>
        <p:spPr>
          <a:xfrm>
            <a:off x="816722"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AC56571F-655F-4928-9C3D-105BB6373775}"/>
              </a:ext>
            </a:extLst>
          </p:cNvPr>
          <p:cNvSpPr>
            <a:spLocks noGrp="1"/>
          </p:cNvSpPr>
          <p:nvPr>
            <p:ph type="body" sz="quarter" idx="14" hasCustomPrompt="1"/>
          </p:nvPr>
        </p:nvSpPr>
        <p:spPr>
          <a:xfrm>
            <a:off x="4828763"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11B4496E-07B5-4708-946F-850DAAD8E965}"/>
              </a:ext>
            </a:extLst>
          </p:cNvPr>
          <p:cNvSpPr>
            <a:spLocks noGrp="1"/>
          </p:cNvSpPr>
          <p:nvPr>
            <p:ph type="body" sz="quarter" idx="15" hasCustomPrompt="1"/>
          </p:nvPr>
        </p:nvSpPr>
        <p:spPr>
          <a:xfrm>
            <a:off x="8840804"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B5BF47F7-7017-48AC-BB4E-762D704CAA9A}"/>
              </a:ext>
            </a:extLst>
          </p:cNvPr>
          <p:cNvSpPr>
            <a:spLocks noGrp="1"/>
          </p:cNvSpPr>
          <p:nvPr>
            <p:ph type="body" sz="quarter" idx="16" hasCustomPrompt="1"/>
          </p:nvPr>
        </p:nvSpPr>
        <p:spPr>
          <a:xfrm>
            <a:off x="816722"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CD5C0261-3298-456A-9214-F1AA5AB53816}"/>
              </a:ext>
            </a:extLst>
          </p:cNvPr>
          <p:cNvSpPr>
            <a:spLocks noGrp="1"/>
          </p:cNvSpPr>
          <p:nvPr>
            <p:ph type="body" sz="quarter" idx="17" hasCustomPrompt="1"/>
          </p:nvPr>
        </p:nvSpPr>
        <p:spPr>
          <a:xfrm>
            <a:off x="4828763"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D6379065-EE6C-4315-822B-96865D84DD3E}"/>
              </a:ext>
            </a:extLst>
          </p:cNvPr>
          <p:cNvSpPr>
            <a:spLocks noGrp="1"/>
          </p:cNvSpPr>
          <p:nvPr>
            <p:ph type="body" sz="quarter" idx="18" hasCustomPrompt="1"/>
          </p:nvPr>
        </p:nvSpPr>
        <p:spPr>
          <a:xfrm>
            <a:off x="8840804"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092267569"/>
      </p:ext>
    </p:extLst>
  </p:cSld>
  <p:clrMapOvr>
    <a:masterClrMapping/>
  </p:clrMapOvr>
  <p:extLst>
    <p:ext uri="{DCECCB84-F9BA-43D5-87BE-67443E8EF086}">
      <p15:sldGuideLst xmlns:p15="http://schemas.microsoft.com/office/powerpoint/2012/main">
        <p15:guide id="1" orient="horz" pos="2137">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22" name="Gruppe 21">
            <a:extLst>
              <a:ext uri="{FF2B5EF4-FFF2-40B4-BE49-F238E27FC236}">
                <a16:creationId xmlns:a16="http://schemas.microsoft.com/office/drawing/2014/main" id="{73BC3FD1-46E4-428C-8411-7D322EA0353D}"/>
              </a:ext>
            </a:extLst>
          </p:cNvPr>
          <p:cNvGrpSpPr/>
          <p:nvPr userDrawn="1"/>
        </p:nvGrpSpPr>
        <p:grpSpPr>
          <a:xfrm>
            <a:off x="743972" y="1965481"/>
            <a:ext cx="2689505" cy="3682283"/>
            <a:chOff x="968091" y="1965481"/>
            <a:chExt cx="2689505" cy="3682283"/>
          </a:xfrm>
        </p:grpSpPr>
        <p:grpSp>
          <p:nvGrpSpPr>
            <p:cNvPr id="6" name="Gruppe 5">
              <a:extLst>
                <a:ext uri="{FF2B5EF4-FFF2-40B4-BE49-F238E27FC236}">
                  <a16:creationId xmlns:a16="http://schemas.microsoft.com/office/drawing/2014/main" id="{C53CC2F5-5081-4D57-9C70-2DAEDC991AA9}"/>
                </a:ext>
              </a:extLst>
            </p:cNvPr>
            <p:cNvGrpSpPr/>
            <p:nvPr userDrawn="1"/>
          </p:nvGrpSpPr>
          <p:grpSpPr>
            <a:xfrm>
              <a:off x="1808156" y="1965481"/>
              <a:ext cx="1009375" cy="1392797"/>
              <a:chOff x="1380471" y="2539224"/>
              <a:chExt cx="1009375" cy="1392797"/>
            </a:xfrm>
          </p:grpSpPr>
          <p:grpSp>
            <p:nvGrpSpPr>
              <p:cNvPr id="17" name="Gruppe 16">
                <a:extLst>
                  <a:ext uri="{FF2B5EF4-FFF2-40B4-BE49-F238E27FC236}">
                    <a16:creationId xmlns:a16="http://schemas.microsoft.com/office/drawing/2014/main" id="{B0BF8FA7-F4E1-4AC3-958E-A80587B944E2}"/>
                  </a:ext>
                </a:extLst>
              </p:cNvPr>
              <p:cNvGrpSpPr/>
              <p:nvPr userDrawn="1"/>
            </p:nvGrpSpPr>
            <p:grpSpPr>
              <a:xfrm>
                <a:off x="1380471" y="2539224"/>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grpSp>
        <p:nvGrpSpPr>
          <p:cNvPr id="23" name="Gruppe 22">
            <a:extLst>
              <a:ext uri="{FF2B5EF4-FFF2-40B4-BE49-F238E27FC236}">
                <a16:creationId xmlns:a16="http://schemas.microsoft.com/office/drawing/2014/main" id="{6CA79645-C5BE-4D32-AB86-8034AEB412A8}"/>
              </a:ext>
            </a:extLst>
          </p:cNvPr>
          <p:cNvGrpSpPr/>
          <p:nvPr userDrawn="1"/>
        </p:nvGrpSpPr>
        <p:grpSpPr>
          <a:xfrm>
            <a:off x="4756013" y="1965481"/>
            <a:ext cx="2689505" cy="3682283"/>
            <a:chOff x="968091" y="1965481"/>
            <a:chExt cx="2689505" cy="3682283"/>
          </a:xfrm>
        </p:grpSpPr>
        <p:grpSp>
          <p:nvGrpSpPr>
            <p:cNvPr id="24" name="Gruppe 23">
              <a:extLst>
                <a:ext uri="{FF2B5EF4-FFF2-40B4-BE49-F238E27FC236}">
                  <a16:creationId xmlns:a16="http://schemas.microsoft.com/office/drawing/2014/main" id="{0644B068-5424-44C7-AE6D-98F6576C26EF}"/>
                </a:ext>
              </a:extLst>
            </p:cNvPr>
            <p:cNvGrpSpPr/>
            <p:nvPr userDrawn="1"/>
          </p:nvGrpSpPr>
          <p:grpSpPr>
            <a:xfrm>
              <a:off x="1808156" y="1965481"/>
              <a:ext cx="1009375" cy="1392797"/>
              <a:chOff x="1380471" y="2539224"/>
              <a:chExt cx="1009375" cy="1392797"/>
            </a:xfrm>
          </p:grpSpPr>
          <p:grpSp>
            <p:nvGrpSpPr>
              <p:cNvPr id="29" name="Gruppe 28">
                <a:extLst>
                  <a:ext uri="{FF2B5EF4-FFF2-40B4-BE49-F238E27FC236}">
                    <a16:creationId xmlns:a16="http://schemas.microsoft.com/office/drawing/2014/main" id="{197E3A5F-EFDB-47A4-AF87-EC93832E86DA}"/>
                  </a:ext>
                </a:extLst>
              </p:cNvPr>
              <p:cNvGrpSpPr/>
              <p:nvPr userDrawn="1"/>
            </p:nvGrpSpPr>
            <p:grpSpPr>
              <a:xfrm>
                <a:off x="1380471" y="2539224"/>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grpSp>
        <p:nvGrpSpPr>
          <p:cNvPr id="33" name="Gruppe 32">
            <a:extLst>
              <a:ext uri="{FF2B5EF4-FFF2-40B4-BE49-F238E27FC236}">
                <a16:creationId xmlns:a16="http://schemas.microsoft.com/office/drawing/2014/main" id="{1AF307D4-50F5-4D17-BA59-8A07BBE0A402}"/>
              </a:ext>
            </a:extLst>
          </p:cNvPr>
          <p:cNvGrpSpPr/>
          <p:nvPr userDrawn="1"/>
        </p:nvGrpSpPr>
        <p:grpSpPr>
          <a:xfrm>
            <a:off x="8768054" y="1965481"/>
            <a:ext cx="2689505" cy="3682283"/>
            <a:chOff x="968091" y="1965481"/>
            <a:chExt cx="2689505" cy="3682283"/>
          </a:xfrm>
        </p:grpSpPr>
        <p:grpSp>
          <p:nvGrpSpPr>
            <p:cNvPr id="34" name="Gruppe 33">
              <a:extLst>
                <a:ext uri="{FF2B5EF4-FFF2-40B4-BE49-F238E27FC236}">
                  <a16:creationId xmlns:a16="http://schemas.microsoft.com/office/drawing/2014/main" id="{FE8C21E3-6D81-4D05-8C8E-148D3732B369}"/>
                </a:ext>
              </a:extLst>
            </p:cNvPr>
            <p:cNvGrpSpPr/>
            <p:nvPr userDrawn="1"/>
          </p:nvGrpSpPr>
          <p:grpSpPr>
            <a:xfrm>
              <a:off x="1808156" y="1965481"/>
              <a:ext cx="1009375" cy="1392797"/>
              <a:chOff x="1380471" y="2539224"/>
              <a:chExt cx="1009375" cy="1392797"/>
            </a:xfrm>
          </p:grpSpPr>
          <p:grpSp>
            <p:nvGrpSpPr>
              <p:cNvPr id="39" name="Gruppe 38">
                <a:extLst>
                  <a:ext uri="{FF2B5EF4-FFF2-40B4-BE49-F238E27FC236}">
                    <a16:creationId xmlns:a16="http://schemas.microsoft.com/office/drawing/2014/main" id="{BF0463E9-E577-4BC7-AF35-C8B6A9A38F51}"/>
                  </a:ext>
                </a:extLst>
              </p:cNvPr>
              <p:cNvGrpSpPr/>
              <p:nvPr userDrawn="1"/>
            </p:nvGrpSpPr>
            <p:grpSpPr>
              <a:xfrm>
                <a:off x="1380471" y="2539224"/>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sp>
        <p:nvSpPr>
          <p:cNvPr id="43" name="Pladsholder til tekst 2">
            <a:extLst>
              <a:ext uri="{FF2B5EF4-FFF2-40B4-BE49-F238E27FC236}">
                <a16:creationId xmlns:a16="http://schemas.microsoft.com/office/drawing/2014/main" id="{E3F895EF-416D-4577-8F17-F57435C33C08}"/>
              </a:ext>
            </a:extLst>
          </p:cNvPr>
          <p:cNvSpPr>
            <a:spLocks noGrp="1"/>
          </p:cNvSpPr>
          <p:nvPr>
            <p:ph type="body" sz="quarter" idx="10" hasCustomPrompt="1"/>
          </p:nvPr>
        </p:nvSpPr>
        <p:spPr>
          <a:xfrm>
            <a:off x="1656787"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44" name="Pladsholder til tekst 2">
            <a:extLst>
              <a:ext uri="{FF2B5EF4-FFF2-40B4-BE49-F238E27FC236}">
                <a16:creationId xmlns:a16="http://schemas.microsoft.com/office/drawing/2014/main" id="{2EC56C6F-1F0F-4437-9E01-400B377E9BBC}"/>
              </a:ext>
            </a:extLst>
          </p:cNvPr>
          <p:cNvSpPr>
            <a:spLocks noGrp="1"/>
          </p:cNvSpPr>
          <p:nvPr>
            <p:ph type="body" sz="quarter" idx="11" hasCustomPrompt="1"/>
          </p:nvPr>
        </p:nvSpPr>
        <p:spPr>
          <a:xfrm>
            <a:off x="5668828"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5" name="Pladsholder til tekst 2">
            <a:extLst>
              <a:ext uri="{FF2B5EF4-FFF2-40B4-BE49-F238E27FC236}">
                <a16:creationId xmlns:a16="http://schemas.microsoft.com/office/drawing/2014/main" id="{71E68C85-AEF3-4327-96CC-131D59D41D8A}"/>
              </a:ext>
            </a:extLst>
          </p:cNvPr>
          <p:cNvSpPr>
            <a:spLocks noGrp="1"/>
          </p:cNvSpPr>
          <p:nvPr>
            <p:ph type="body" sz="quarter" idx="12" hasCustomPrompt="1"/>
          </p:nvPr>
        </p:nvSpPr>
        <p:spPr>
          <a:xfrm>
            <a:off x="9680869"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6" name="Pladsholder til tekst 9">
            <a:extLst>
              <a:ext uri="{FF2B5EF4-FFF2-40B4-BE49-F238E27FC236}">
                <a16:creationId xmlns:a16="http://schemas.microsoft.com/office/drawing/2014/main" id="{7D582CF3-CBF0-4FD4-BE83-ABC28DB56BAC}"/>
              </a:ext>
            </a:extLst>
          </p:cNvPr>
          <p:cNvSpPr>
            <a:spLocks noGrp="1"/>
          </p:cNvSpPr>
          <p:nvPr>
            <p:ph type="body" sz="quarter" idx="13" hasCustomPrompt="1"/>
          </p:nvPr>
        </p:nvSpPr>
        <p:spPr>
          <a:xfrm>
            <a:off x="816722"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08C529F4-A1D4-4257-A1EA-DF6839F8741C}"/>
              </a:ext>
            </a:extLst>
          </p:cNvPr>
          <p:cNvSpPr>
            <a:spLocks noGrp="1"/>
          </p:cNvSpPr>
          <p:nvPr>
            <p:ph type="body" sz="quarter" idx="14" hasCustomPrompt="1"/>
          </p:nvPr>
        </p:nvSpPr>
        <p:spPr>
          <a:xfrm>
            <a:off x="4828763"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8" name="Pladsholder til tekst 9">
            <a:extLst>
              <a:ext uri="{FF2B5EF4-FFF2-40B4-BE49-F238E27FC236}">
                <a16:creationId xmlns:a16="http://schemas.microsoft.com/office/drawing/2014/main" id="{AD8923BC-F7C9-4E4B-A595-EF01B1469E81}"/>
              </a:ext>
            </a:extLst>
          </p:cNvPr>
          <p:cNvSpPr>
            <a:spLocks noGrp="1"/>
          </p:cNvSpPr>
          <p:nvPr>
            <p:ph type="body" sz="quarter" idx="15" hasCustomPrompt="1"/>
          </p:nvPr>
        </p:nvSpPr>
        <p:spPr>
          <a:xfrm>
            <a:off x="8840804"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9" name="Pladsholder til tekst 9">
            <a:extLst>
              <a:ext uri="{FF2B5EF4-FFF2-40B4-BE49-F238E27FC236}">
                <a16:creationId xmlns:a16="http://schemas.microsoft.com/office/drawing/2014/main" id="{B016B950-0CCC-42AE-8FE0-C36E436468A2}"/>
              </a:ext>
            </a:extLst>
          </p:cNvPr>
          <p:cNvSpPr>
            <a:spLocks noGrp="1"/>
          </p:cNvSpPr>
          <p:nvPr>
            <p:ph type="body" sz="quarter" idx="16" hasCustomPrompt="1"/>
          </p:nvPr>
        </p:nvSpPr>
        <p:spPr>
          <a:xfrm>
            <a:off x="816722"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0" name="Pladsholder til tekst 9">
            <a:extLst>
              <a:ext uri="{FF2B5EF4-FFF2-40B4-BE49-F238E27FC236}">
                <a16:creationId xmlns:a16="http://schemas.microsoft.com/office/drawing/2014/main" id="{825D8F4C-6ABB-4298-96F2-FFA0450BD7CC}"/>
              </a:ext>
            </a:extLst>
          </p:cNvPr>
          <p:cNvSpPr>
            <a:spLocks noGrp="1"/>
          </p:cNvSpPr>
          <p:nvPr>
            <p:ph type="body" sz="quarter" idx="17" hasCustomPrompt="1"/>
          </p:nvPr>
        </p:nvSpPr>
        <p:spPr>
          <a:xfrm>
            <a:off x="4828763"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1" name="Pladsholder til tekst 9">
            <a:extLst>
              <a:ext uri="{FF2B5EF4-FFF2-40B4-BE49-F238E27FC236}">
                <a16:creationId xmlns:a16="http://schemas.microsoft.com/office/drawing/2014/main" id="{D95824FC-9C73-4DE5-9108-74261BFA5D15}"/>
              </a:ext>
            </a:extLst>
          </p:cNvPr>
          <p:cNvSpPr>
            <a:spLocks noGrp="1"/>
          </p:cNvSpPr>
          <p:nvPr>
            <p:ph type="body" sz="quarter" idx="18" hasCustomPrompt="1"/>
          </p:nvPr>
        </p:nvSpPr>
        <p:spPr>
          <a:xfrm>
            <a:off x="8840804"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29982267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4037" y="1678610"/>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615009"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616755"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grpSp>
        <p:nvGrpSpPr>
          <p:cNvPr id="29" name="Gruppe 28">
            <a:extLst>
              <a:ext uri="{FF2B5EF4-FFF2-40B4-BE49-F238E27FC236}">
                <a16:creationId xmlns:a16="http://schemas.microsoft.com/office/drawing/2014/main" id="{197E3A5F-EFDB-47A4-AF87-EC93832E86DA}"/>
              </a:ext>
            </a:extLst>
          </p:cNvPr>
          <p:cNvGrpSpPr/>
          <p:nvPr userDrawn="1"/>
        </p:nvGrpSpPr>
        <p:grpSpPr>
          <a:xfrm>
            <a:off x="5596078" y="1678610"/>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4756013"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025192"/>
            <a:ext cx="2615009" cy="195784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3957929"/>
            <a:ext cx="2616755" cy="19558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bg2"/>
              </a:solidFill>
            </a:endParaRPr>
          </a:p>
        </p:txBody>
      </p:sp>
      <p:grpSp>
        <p:nvGrpSpPr>
          <p:cNvPr id="39" name="Gruppe 38">
            <a:extLst>
              <a:ext uri="{FF2B5EF4-FFF2-40B4-BE49-F238E27FC236}">
                <a16:creationId xmlns:a16="http://schemas.microsoft.com/office/drawing/2014/main" id="{BF0463E9-E577-4BC7-AF35-C8B6A9A38F51}"/>
              </a:ext>
            </a:extLst>
          </p:cNvPr>
          <p:cNvGrpSpPr/>
          <p:nvPr userDrawn="1"/>
        </p:nvGrpSpPr>
        <p:grpSpPr>
          <a:xfrm>
            <a:off x="9608119" y="1678610"/>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2" name="Gruppe 1">
            <a:extLst>
              <a:ext uri="{FF2B5EF4-FFF2-40B4-BE49-F238E27FC236}">
                <a16:creationId xmlns:a16="http://schemas.microsoft.com/office/drawing/2014/main" id="{D0942222-EED7-494E-8146-24D140ABEF84}"/>
              </a:ext>
            </a:extLst>
          </p:cNvPr>
          <p:cNvGrpSpPr/>
          <p:nvPr userDrawn="1"/>
        </p:nvGrpSpPr>
        <p:grpSpPr>
          <a:xfrm>
            <a:off x="623888" y="2858331"/>
            <a:ext cx="10944224" cy="288000"/>
            <a:chOff x="623888" y="3070278"/>
            <a:chExt cx="10944224" cy="288000"/>
          </a:xfrm>
        </p:grpSpPr>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8768054"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025369"/>
            <a:ext cx="2615009" cy="195582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3958105"/>
            <a:ext cx="2616755" cy="19538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bg2"/>
              </a:solidFill>
            </a:endParaRPr>
          </a:p>
        </p:txBody>
      </p:sp>
      <p:sp>
        <p:nvSpPr>
          <p:cNvPr id="33" name="Pladsholder til tekst 2">
            <a:extLst>
              <a:ext uri="{FF2B5EF4-FFF2-40B4-BE49-F238E27FC236}">
                <a16:creationId xmlns:a16="http://schemas.microsoft.com/office/drawing/2014/main" id="{30CDEF12-8ECC-4933-82F4-E7890502390E}"/>
              </a:ext>
            </a:extLst>
          </p:cNvPr>
          <p:cNvSpPr>
            <a:spLocks noGrp="1"/>
          </p:cNvSpPr>
          <p:nvPr>
            <p:ph type="body" sz="quarter" idx="10" hasCustomPrompt="1"/>
          </p:nvPr>
        </p:nvSpPr>
        <p:spPr>
          <a:xfrm>
            <a:off x="1656787"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34" name="Pladsholder til tekst 2">
            <a:extLst>
              <a:ext uri="{FF2B5EF4-FFF2-40B4-BE49-F238E27FC236}">
                <a16:creationId xmlns:a16="http://schemas.microsoft.com/office/drawing/2014/main" id="{69A6C0A1-6C50-4E7F-8A94-AAA7AC1C4FB9}"/>
              </a:ext>
            </a:extLst>
          </p:cNvPr>
          <p:cNvSpPr>
            <a:spLocks noGrp="1"/>
          </p:cNvSpPr>
          <p:nvPr>
            <p:ph type="body" sz="quarter" idx="11" hasCustomPrompt="1"/>
          </p:nvPr>
        </p:nvSpPr>
        <p:spPr>
          <a:xfrm>
            <a:off x="5668828"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3" name="Pladsholder til tekst 2">
            <a:extLst>
              <a:ext uri="{FF2B5EF4-FFF2-40B4-BE49-F238E27FC236}">
                <a16:creationId xmlns:a16="http://schemas.microsoft.com/office/drawing/2014/main" id="{DF966D39-3234-4B3A-8950-8E5E252E2CA1}"/>
              </a:ext>
            </a:extLst>
          </p:cNvPr>
          <p:cNvSpPr>
            <a:spLocks noGrp="1"/>
          </p:cNvSpPr>
          <p:nvPr>
            <p:ph type="body" sz="quarter" idx="12" hasCustomPrompt="1"/>
          </p:nvPr>
        </p:nvSpPr>
        <p:spPr>
          <a:xfrm>
            <a:off x="9680869"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4" name="Pladsholder til tekst 9">
            <a:extLst>
              <a:ext uri="{FF2B5EF4-FFF2-40B4-BE49-F238E27FC236}">
                <a16:creationId xmlns:a16="http://schemas.microsoft.com/office/drawing/2014/main" id="{4F36E2DE-15A0-4AC3-9042-F8BDE2E3F197}"/>
              </a:ext>
            </a:extLst>
          </p:cNvPr>
          <p:cNvSpPr>
            <a:spLocks noGrp="1"/>
          </p:cNvSpPr>
          <p:nvPr>
            <p:ph type="body" sz="quarter" idx="13" hasCustomPrompt="1"/>
          </p:nvPr>
        </p:nvSpPr>
        <p:spPr>
          <a:xfrm>
            <a:off x="816722"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4F26B0CE-AF2F-4F49-AA6C-B7E5D5CE7CAF}"/>
              </a:ext>
            </a:extLst>
          </p:cNvPr>
          <p:cNvSpPr>
            <a:spLocks noGrp="1"/>
          </p:cNvSpPr>
          <p:nvPr>
            <p:ph type="body" sz="quarter" idx="14" hasCustomPrompt="1"/>
          </p:nvPr>
        </p:nvSpPr>
        <p:spPr>
          <a:xfrm>
            <a:off x="4828763"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5DD444A3-2BB8-433D-AEFE-6590488FD384}"/>
              </a:ext>
            </a:extLst>
          </p:cNvPr>
          <p:cNvSpPr>
            <a:spLocks noGrp="1"/>
          </p:cNvSpPr>
          <p:nvPr>
            <p:ph type="body" sz="quarter" idx="15" hasCustomPrompt="1"/>
          </p:nvPr>
        </p:nvSpPr>
        <p:spPr>
          <a:xfrm>
            <a:off x="8840804"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29D8A6D4-2213-4DE4-9648-B2705CE47AA7}"/>
              </a:ext>
            </a:extLst>
          </p:cNvPr>
          <p:cNvSpPr>
            <a:spLocks noGrp="1"/>
          </p:cNvSpPr>
          <p:nvPr>
            <p:ph type="body" sz="quarter" idx="16" hasCustomPrompt="1"/>
          </p:nvPr>
        </p:nvSpPr>
        <p:spPr>
          <a:xfrm>
            <a:off x="816722"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F8438DBC-6AA2-4A67-83F7-EE36844DE4E5}"/>
              </a:ext>
            </a:extLst>
          </p:cNvPr>
          <p:cNvSpPr>
            <a:spLocks noGrp="1"/>
          </p:cNvSpPr>
          <p:nvPr>
            <p:ph type="body" sz="quarter" idx="17" hasCustomPrompt="1"/>
          </p:nvPr>
        </p:nvSpPr>
        <p:spPr>
          <a:xfrm>
            <a:off x="4828763"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14569911-F0F7-44D0-BC20-99217A220010}"/>
              </a:ext>
            </a:extLst>
          </p:cNvPr>
          <p:cNvSpPr>
            <a:spLocks noGrp="1"/>
          </p:cNvSpPr>
          <p:nvPr>
            <p:ph type="body" sz="quarter" idx="18" hasCustomPrompt="1"/>
          </p:nvPr>
        </p:nvSpPr>
        <p:spPr>
          <a:xfrm>
            <a:off x="8840804"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5527151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4037" y="1678610"/>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615009"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616755"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29" name="Gruppe 28">
            <a:extLst>
              <a:ext uri="{FF2B5EF4-FFF2-40B4-BE49-F238E27FC236}">
                <a16:creationId xmlns:a16="http://schemas.microsoft.com/office/drawing/2014/main" id="{197E3A5F-EFDB-47A4-AF87-EC93832E86DA}"/>
              </a:ext>
            </a:extLst>
          </p:cNvPr>
          <p:cNvGrpSpPr/>
          <p:nvPr userDrawn="1"/>
        </p:nvGrpSpPr>
        <p:grpSpPr>
          <a:xfrm>
            <a:off x="5596078" y="1678610"/>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4756013"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025192"/>
            <a:ext cx="2615009" cy="195784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3957929"/>
            <a:ext cx="2616755" cy="195582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nvGrpSpPr>
          <p:cNvPr id="39" name="Gruppe 38">
            <a:extLst>
              <a:ext uri="{FF2B5EF4-FFF2-40B4-BE49-F238E27FC236}">
                <a16:creationId xmlns:a16="http://schemas.microsoft.com/office/drawing/2014/main" id="{BF0463E9-E577-4BC7-AF35-C8B6A9A38F51}"/>
              </a:ext>
            </a:extLst>
          </p:cNvPr>
          <p:cNvGrpSpPr/>
          <p:nvPr userDrawn="1"/>
        </p:nvGrpSpPr>
        <p:grpSpPr>
          <a:xfrm>
            <a:off x="9608119" y="1678610"/>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2" name="Gruppe 1">
            <a:extLst>
              <a:ext uri="{FF2B5EF4-FFF2-40B4-BE49-F238E27FC236}">
                <a16:creationId xmlns:a16="http://schemas.microsoft.com/office/drawing/2014/main" id="{D0942222-EED7-494E-8146-24D140ABEF84}"/>
              </a:ext>
            </a:extLst>
          </p:cNvPr>
          <p:cNvGrpSpPr/>
          <p:nvPr userDrawn="1"/>
        </p:nvGrpSpPr>
        <p:grpSpPr>
          <a:xfrm>
            <a:off x="623888" y="2858331"/>
            <a:ext cx="10944224" cy="288000"/>
            <a:chOff x="623888" y="3070278"/>
            <a:chExt cx="10944224" cy="288000"/>
          </a:xfrm>
        </p:grpSpPr>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8768054"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025369"/>
            <a:ext cx="2615009" cy="195582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3958105"/>
            <a:ext cx="2616755" cy="19538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sp>
        <p:nvSpPr>
          <p:cNvPr id="33" name="Pladsholder til tekst 2">
            <a:extLst>
              <a:ext uri="{FF2B5EF4-FFF2-40B4-BE49-F238E27FC236}">
                <a16:creationId xmlns:a16="http://schemas.microsoft.com/office/drawing/2014/main" id="{EF95E206-5970-43EE-8B90-9FAFC9432F8D}"/>
              </a:ext>
            </a:extLst>
          </p:cNvPr>
          <p:cNvSpPr>
            <a:spLocks noGrp="1"/>
          </p:cNvSpPr>
          <p:nvPr>
            <p:ph type="body" sz="quarter" idx="10" hasCustomPrompt="1"/>
          </p:nvPr>
        </p:nvSpPr>
        <p:spPr>
          <a:xfrm>
            <a:off x="1656787"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34" name="Pladsholder til tekst 2">
            <a:extLst>
              <a:ext uri="{FF2B5EF4-FFF2-40B4-BE49-F238E27FC236}">
                <a16:creationId xmlns:a16="http://schemas.microsoft.com/office/drawing/2014/main" id="{90F36C13-A39B-4AA2-8571-B36CEE5C2F79}"/>
              </a:ext>
            </a:extLst>
          </p:cNvPr>
          <p:cNvSpPr>
            <a:spLocks noGrp="1"/>
          </p:cNvSpPr>
          <p:nvPr>
            <p:ph type="body" sz="quarter" idx="11" hasCustomPrompt="1"/>
          </p:nvPr>
        </p:nvSpPr>
        <p:spPr>
          <a:xfrm>
            <a:off x="5668828"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3" name="Pladsholder til tekst 2">
            <a:extLst>
              <a:ext uri="{FF2B5EF4-FFF2-40B4-BE49-F238E27FC236}">
                <a16:creationId xmlns:a16="http://schemas.microsoft.com/office/drawing/2014/main" id="{C81B25AA-A5FB-491B-A1EF-F787C06B4610}"/>
              </a:ext>
            </a:extLst>
          </p:cNvPr>
          <p:cNvSpPr>
            <a:spLocks noGrp="1"/>
          </p:cNvSpPr>
          <p:nvPr>
            <p:ph type="body" sz="quarter" idx="12" hasCustomPrompt="1"/>
          </p:nvPr>
        </p:nvSpPr>
        <p:spPr>
          <a:xfrm>
            <a:off x="9680869"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4" name="Pladsholder til tekst 9">
            <a:extLst>
              <a:ext uri="{FF2B5EF4-FFF2-40B4-BE49-F238E27FC236}">
                <a16:creationId xmlns:a16="http://schemas.microsoft.com/office/drawing/2014/main" id="{BC7AEECE-85C0-4938-8F8E-DC34621CF082}"/>
              </a:ext>
            </a:extLst>
          </p:cNvPr>
          <p:cNvSpPr>
            <a:spLocks noGrp="1"/>
          </p:cNvSpPr>
          <p:nvPr>
            <p:ph type="body" sz="quarter" idx="13" hasCustomPrompt="1"/>
          </p:nvPr>
        </p:nvSpPr>
        <p:spPr>
          <a:xfrm>
            <a:off x="816722"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2F7B7859-EA6D-4754-B52E-8157B217F8B1}"/>
              </a:ext>
            </a:extLst>
          </p:cNvPr>
          <p:cNvSpPr>
            <a:spLocks noGrp="1"/>
          </p:cNvSpPr>
          <p:nvPr>
            <p:ph type="body" sz="quarter" idx="14" hasCustomPrompt="1"/>
          </p:nvPr>
        </p:nvSpPr>
        <p:spPr>
          <a:xfrm>
            <a:off x="4828763"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939B0034-9B31-41BD-95BD-D5142B825F24}"/>
              </a:ext>
            </a:extLst>
          </p:cNvPr>
          <p:cNvSpPr>
            <a:spLocks noGrp="1"/>
          </p:cNvSpPr>
          <p:nvPr>
            <p:ph type="body" sz="quarter" idx="15" hasCustomPrompt="1"/>
          </p:nvPr>
        </p:nvSpPr>
        <p:spPr>
          <a:xfrm>
            <a:off x="8840804"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C4F26827-FD71-4D11-9525-B1C055B1740F}"/>
              </a:ext>
            </a:extLst>
          </p:cNvPr>
          <p:cNvSpPr>
            <a:spLocks noGrp="1"/>
          </p:cNvSpPr>
          <p:nvPr>
            <p:ph type="body" sz="quarter" idx="16" hasCustomPrompt="1"/>
          </p:nvPr>
        </p:nvSpPr>
        <p:spPr>
          <a:xfrm>
            <a:off x="816722"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18F7A1C4-AF91-4D38-91E7-BC507E2F0D5B}"/>
              </a:ext>
            </a:extLst>
          </p:cNvPr>
          <p:cNvSpPr>
            <a:spLocks noGrp="1"/>
          </p:cNvSpPr>
          <p:nvPr>
            <p:ph type="body" sz="quarter" idx="17" hasCustomPrompt="1"/>
          </p:nvPr>
        </p:nvSpPr>
        <p:spPr>
          <a:xfrm>
            <a:off x="4828763"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45D2C307-2C05-4DBB-A764-AF3A97AFCFAB}"/>
              </a:ext>
            </a:extLst>
          </p:cNvPr>
          <p:cNvSpPr>
            <a:spLocks noGrp="1"/>
          </p:cNvSpPr>
          <p:nvPr>
            <p:ph type="body" sz="quarter" idx="18" hasCustomPrompt="1"/>
          </p:nvPr>
        </p:nvSpPr>
        <p:spPr>
          <a:xfrm>
            <a:off x="8840804"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69538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0294"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3043"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51" name="Rektangel 50">
            <a:extLst>
              <a:ext uri="{FF2B5EF4-FFF2-40B4-BE49-F238E27FC236}">
                <a16:creationId xmlns:a16="http://schemas.microsoft.com/office/drawing/2014/main" id="{4F454AE4-0688-4D43-AE2B-36803944AEB3}"/>
              </a:ext>
            </a:extLst>
          </p:cNvPr>
          <p:cNvSpPr/>
          <p:nvPr userDrawn="1"/>
        </p:nvSpPr>
        <p:spPr>
          <a:xfrm>
            <a:off x="4330560"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4403309"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61" name="Rektangel 60">
            <a:extLst>
              <a:ext uri="{FF2B5EF4-FFF2-40B4-BE49-F238E27FC236}">
                <a16:creationId xmlns:a16="http://schemas.microsoft.com/office/drawing/2014/main" id="{28EE3455-C533-46DC-AB5D-7B6A5F4A1FA9}"/>
              </a:ext>
            </a:extLst>
          </p:cNvPr>
          <p:cNvSpPr/>
          <p:nvPr userDrawn="1"/>
        </p:nvSpPr>
        <p:spPr>
          <a:xfrm>
            <a:off x="7080826"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7153575"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1" name="Rektangel 70">
            <a:extLst>
              <a:ext uri="{FF2B5EF4-FFF2-40B4-BE49-F238E27FC236}">
                <a16:creationId xmlns:a16="http://schemas.microsoft.com/office/drawing/2014/main" id="{DCAED973-E0E1-4570-8F86-442E4447BFBE}"/>
              </a:ext>
            </a:extLst>
          </p:cNvPr>
          <p:cNvSpPr/>
          <p:nvPr userDrawn="1"/>
        </p:nvSpPr>
        <p:spPr>
          <a:xfrm>
            <a:off x="9831092"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9903841"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9" name="Rektangel 68">
            <a:extLst>
              <a:ext uri="{FF2B5EF4-FFF2-40B4-BE49-F238E27FC236}">
                <a16:creationId xmlns:a16="http://schemas.microsoft.com/office/drawing/2014/main" id="{4B597CC2-EE7D-4880-97AB-DF72FDC89C0C}"/>
              </a:ext>
            </a:extLst>
          </p:cNvPr>
          <p:cNvSpPr/>
          <p:nvPr userDrawn="1"/>
        </p:nvSpPr>
        <p:spPr>
          <a:xfrm>
            <a:off x="8994770"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8" name="Pladsholder til tekst 7">
            <a:extLst>
              <a:ext uri="{FF2B5EF4-FFF2-40B4-BE49-F238E27FC236}">
                <a16:creationId xmlns:a16="http://schemas.microsoft.com/office/drawing/2014/main" id="{32415D24-58B4-4232-99CD-B7D4DAE5CD30}"/>
              </a:ext>
            </a:extLst>
          </p:cNvPr>
          <p:cNvSpPr>
            <a:spLocks noGrp="1"/>
          </p:cNvSpPr>
          <p:nvPr>
            <p:ph type="body" sz="quarter" idx="10" hasCustomPrompt="1"/>
          </p:nvPr>
        </p:nvSpPr>
        <p:spPr>
          <a:xfrm>
            <a:off x="1653043"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55" name="Pladsholder til tekst 7">
            <a:extLst>
              <a:ext uri="{FF2B5EF4-FFF2-40B4-BE49-F238E27FC236}">
                <a16:creationId xmlns:a16="http://schemas.microsoft.com/office/drawing/2014/main" id="{3F478AB9-12F3-4816-B393-5B0459DBF4CD}"/>
              </a:ext>
            </a:extLst>
          </p:cNvPr>
          <p:cNvSpPr>
            <a:spLocks noGrp="1"/>
          </p:cNvSpPr>
          <p:nvPr>
            <p:ph type="body" sz="quarter" idx="11" hasCustomPrompt="1"/>
          </p:nvPr>
        </p:nvSpPr>
        <p:spPr>
          <a:xfrm>
            <a:off x="4403309"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65" name="Pladsholder til tekst 7">
            <a:extLst>
              <a:ext uri="{FF2B5EF4-FFF2-40B4-BE49-F238E27FC236}">
                <a16:creationId xmlns:a16="http://schemas.microsoft.com/office/drawing/2014/main" id="{DF07FF73-C3F6-47B9-9C5C-5C2812C1E204}"/>
              </a:ext>
            </a:extLst>
          </p:cNvPr>
          <p:cNvSpPr>
            <a:spLocks noGrp="1"/>
          </p:cNvSpPr>
          <p:nvPr>
            <p:ph type="body" sz="quarter" idx="12" hasCustomPrompt="1"/>
          </p:nvPr>
        </p:nvSpPr>
        <p:spPr>
          <a:xfrm>
            <a:off x="7153575"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77" name="Pladsholder til tekst 7">
            <a:extLst>
              <a:ext uri="{FF2B5EF4-FFF2-40B4-BE49-F238E27FC236}">
                <a16:creationId xmlns:a16="http://schemas.microsoft.com/office/drawing/2014/main" id="{AD15D941-3D17-4C88-8C8B-A7A883608892}"/>
              </a:ext>
            </a:extLst>
          </p:cNvPr>
          <p:cNvSpPr>
            <a:spLocks noGrp="1"/>
          </p:cNvSpPr>
          <p:nvPr>
            <p:ph type="body" sz="quarter" idx="13" hasCustomPrompt="1"/>
          </p:nvPr>
        </p:nvSpPr>
        <p:spPr>
          <a:xfrm>
            <a:off x="9903841"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78" name="Pladsholder til tekst 7">
            <a:extLst>
              <a:ext uri="{FF2B5EF4-FFF2-40B4-BE49-F238E27FC236}">
                <a16:creationId xmlns:a16="http://schemas.microsoft.com/office/drawing/2014/main" id="{2A2D3C97-56CD-48F0-9F7B-169AEEF16244}"/>
              </a:ext>
            </a:extLst>
          </p:cNvPr>
          <p:cNvSpPr>
            <a:spLocks noGrp="1"/>
          </p:cNvSpPr>
          <p:nvPr>
            <p:ph type="body" sz="quarter" idx="14" hasCustomPrompt="1"/>
          </p:nvPr>
        </p:nvSpPr>
        <p:spPr>
          <a:xfrm>
            <a:off x="816722"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79" name="Pladsholder til tekst 7">
            <a:extLst>
              <a:ext uri="{FF2B5EF4-FFF2-40B4-BE49-F238E27FC236}">
                <a16:creationId xmlns:a16="http://schemas.microsoft.com/office/drawing/2014/main" id="{6BB79441-0603-404C-99C5-450D659D7587}"/>
              </a:ext>
            </a:extLst>
          </p:cNvPr>
          <p:cNvSpPr>
            <a:spLocks noGrp="1"/>
          </p:cNvSpPr>
          <p:nvPr>
            <p:ph type="body" sz="quarter" idx="15" hasCustomPrompt="1"/>
          </p:nvPr>
        </p:nvSpPr>
        <p:spPr>
          <a:xfrm>
            <a:off x="3566988"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0" name="Pladsholder til tekst 7">
            <a:extLst>
              <a:ext uri="{FF2B5EF4-FFF2-40B4-BE49-F238E27FC236}">
                <a16:creationId xmlns:a16="http://schemas.microsoft.com/office/drawing/2014/main" id="{39CB6468-8213-4ABC-9B45-B23B05EEC64D}"/>
              </a:ext>
            </a:extLst>
          </p:cNvPr>
          <p:cNvSpPr>
            <a:spLocks noGrp="1"/>
          </p:cNvSpPr>
          <p:nvPr>
            <p:ph type="body" sz="quarter" idx="16" hasCustomPrompt="1"/>
          </p:nvPr>
        </p:nvSpPr>
        <p:spPr>
          <a:xfrm>
            <a:off x="6317254"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1" name="Pladsholder til tekst 7">
            <a:extLst>
              <a:ext uri="{FF2B5EF4-FFF2-40B4-BE49-F238E27FC236}">
                <a16:creationId xmlns:a16="http://schemas.microsoft.com/office/drawing/2014/main" id="{C094CE5D-368F-454D-9F2C-209703702232}"/>
              </a:ext>
            </a:extLst>
          </p:cNvPr>
          <p:cNvSpPr>
            <a:spLocks noGrp="1"/>
          </p:cNvSpPr>
          <p:nvPr>
            <p:ph type="body" sz="quarter" idx="17" hasCustomPrompt="1"/>
          </p:nvPr>
        </p:nvSpPr>
        <p:spPr>
          <a:xfrm>
            <a:off x="9067520"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2" name="Pladsholder til tekst 7">
            <a:extLst>
              <a:ext uri="{FF2B5EF4-FFF2-40B4-BE49-F238E27FC236}">
                <a16:creationId xmlns:a16="http://schemas.microsoft.com/office/drawing/2014/main" id="{ED2C6A50-02E3-4A8A-8FA5-98263F70EC28}"/>
              </a:ext>
            </a:extLst>
          </p:cNvPr>
          <p:cNvSpPr>
            <a:spLocks noGrp="1"/>
          </p:cNvSpPr>
          <p:nvPr>
            <p:ph type="body" sz="quarter" idx="18" hasCustomPrompt="1"/>
          </p:nvPr>
        </p:nvSpPr>
        <p:spPr>
          <a:xfrm>
            <a:off x="816722"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3" name="Pladsholder til tekst 7">
            <a:extLst>
              <a:ext uri="{FF2B5EF4-FFF2-40B4-BE49-F238E27FC236}">
                <a16:creationId xmlns:a16="http://schemas.microsoft.com/office/drawing/2014/main" id="{72008D14-4D99-4DED-9EFB-C8F398EF5FCD}"/>
              </a:ext>
            </a:extLst>
          </p:cNvPr>
          <p:cNvSpPr>
            <a:spLocks noGrp="1"/>
          </p:cNvSpPr>
          <p:nvPr>
            <p:ph type="body" sz="quarter" idx="19" hasCustomPrompt="1"/>
          </p:nvPr>
        </p:nvSpPr>
        <p:spPr>
          <a:xfrm>
            <a:off x="3566988"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4" name="Pladsholder til tekst 7">
            <a:extLst>
              <a:ext uri="{FF2B5EF4-FFF2-40B4-BE49-F238E27FC236}">
                <a16:creationId xmlns:a16="http://schemas.microsoft.com/office/drawing/2014/main" id="{2A9DDC90-E80F-4AFB-B7B3-CF31FB099F67}"/>
              </a:ext>
            </a:extLst>
          </p:cNvPr>
          <p:cNvSpPr>
            <a:spLocks noGrp="1"/>
          </p:cNvSpPr>
          <p:nvPr>
            <p:ph type="body" sz="quarter" idx="20" hasCustomPrompt="1"/>
          </p:nvPr>
        </p:nvSpPr>
        <p:spPr>
          <a:xfrm>
            <a:off x="6317254"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5" name="Pladsholder til tekst 7">
            <a:extLst>
              <a:ext uri="{FF2B5EF4-FFF2-40B4-BE49-F238E27FC236}">
                <a16:creationId xmlns:a16="http://schemas.microsoft.com/office/drawing/2014/main" id="{C7562C84-08C9-4B0D-B4D3-F5ECB0E289B8}"/>
              </a:ext>
            </a:extLst>
          </p:cNvPr>
          <p:cNvSpPr>
            <a:spLocks noGrp="1"/>
          </p:cNvSpPr>
          <p:nvPr>
            <p:ph type="body" sz="quarter" idx="21" hasCustomPrompt="1"/>
          </p:nvPr>
        </p:nvSpPr>
        <p:spPr>
          <a:xfrm>
            <a:off x="9067520"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003737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41912-45EA-4D33-90E7-4E1507B2421C}"/>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5D5EA5F5-4F22-4ED5-BD02-4D4262E98B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77D34DF9-EC20-4E45-9908-437E7B79C0F1}"/>
              </a:ext>
            </a:extLst>
          </p:cNvPr>
          <p:cNvSpPr>
            <a:spLocks noGrp="1"/>
          </p:cNvSpPr>
          <p:nvPr>
            <p:ph type="dt" sz="half" idx="10"/>
          </p:nvPr>
        </p:nvSpPr>
        <p:spPr/>
        <p:txBody>
          <a:bodyPr/>
          <a:lstStyle/>
          <a:p>
            <a:fld id="{28A9766E-061B-4930-8955-BECD461A0379}" type="datetime1">
              <a:rPr lang="da-DK" smtClean="0"/>
              <a:t>17-02-2026</a:t>
            </a:fld>
            <a:endParaRPr lang="da-DK"/>
          </a:p>
        </p:txBody>
      </p:sp>
      <p:sp>
        <p:nvSpPr>
          <p:cNvPr id="5" name="Pladsholder til sidefod 4">
            <a:extLst>
              <a:ext uri="{FF2B5EF4-FFF2-40B4-BE49-F238E27FC236}">
                <a16:creationId xmlns:a16="http://schemas.microsoft.com/office/drawing/2014/main" id="{25AC98CD-1FD6-46BF-AD13-57DF001D767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523FF45-1F78-40E4-8658-BA2A66EC775C}"/>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7323121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0294" y="1965481"/>
            <a:ext cx="792749" cy="787643"/>
            <a:chOff x="1380471" y="2539224"/>
            <a:chExt cx="792749" cy="787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44" name="Gruppe 43">
            <a:extLst>
              <a:ext uri="{FF2B5EF4-FFF2-40B4-BE49-F238E27FC236}">
                <a16:creationId xmlns:a16="http://schemas.microsoft.com/office/drawing/2014/main" id="{02561E3C-7E8A-4945-87DE-76CD451E8CC8}"/>
              </a:ext>
            </a:extLst>
          </p:cNvPr>
          <p:cNvGrpSpPr/>
          <p:nvPr userDrawn="1"/>
        </p:nvGrpSpPr>
        <p:grpSpPr>
          <a:xfrm>
            <a:off x="4330560" y="1965481"/>
            <a:ext cx="792749" cy="787643"/>
            <a:chOff x="1380471" y="2539224"/>
            <a:chExt cx="792749" cy="787643"/>
          </a:xfrm>
        </p:grpSpPr>
        <p:sp>
          <p:nvSpPr>
            <p:cNvPr id="51" name="Rektangel 50">
              <a:extLst>
                <a:ext uri="{FF2B5EF4-FFF2-40B4-BE49-F238E27FC236}">
                  <a16:creationId xmlns:a16="http://schemas.microsoft.com/office/drawing/2014/main" id="{4F454AE4-0688-4D43-AE2B-36803944AEB3}"/>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54" name="Gruppe 53">
            <a:extLst>
              <a:ext uri="{FF2B5EF4-FFF2-40B4-BE49-F238E27FC236}">
                <a16:creationId xmlns:a16="http://schemas.microsoft.com/office/drawing/2014/main" id="{5BAFB534-A245-48CE-BC13-280B616848A4}"/>
              </a:ext>
            </a:extLst>
          </p:cNvPr>
          <p:cNvGrpSpPr/>
          <p:nvPr userDrawn="1"/>
        </p:nvGrpSpPr>
        <p:grpSpPr>
          <a:xfrm>
            <a:off x="7080826" y="1965481"/>
            <a:ext cx="792749" cy="787643"/>
            <a:chOff x="1380471" y="2539224"/>
            <a:chExt cx="792749" cy="787643"/>
          </a:xfrm>
        </p:grpSpPr>
        <p:sp>
          <p:nvSpPr>
            <p:cNvPr id="61" name="Rektangel 60">
              <a:extLst>
                <a:ext uri="{FF2B5EF4-FFF2-40B4-BE49-F238E27FC236}">
                  <a16:creationId xmlns:a16="http://schemas.microsoft.com/office/drawing/2014/main" id="{28EE3455-C533-46DC-AB5D-7B6A5F4A1FA9}"/>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64" name="Gruppe 63">
            <a:extLst>
              <a:ext uri="{FF2B5EF4-FFF2-40B4-BE49-F238E27FC236}">
                <a16:creationId xmlns:a16="http://schemas.microsoft.com/office/drawing/2014/main" id="{17AC6787-A365-4C77-818B-ACF8714AE1CD}"/>
              </a:ext>
            </a:extLst>
          </p:cNvPr>
          <p:cNvGrpSpPr/>
          <p:nvPr userDrawn="1"/>
        </p:nvGrpSpPr>
        <p:grpSpPr>
          <a:xfrm>
            <a:off x="9831092" y="1965481"/>
            <a:ext cx="792749" cy="787643"/>
            <a:chOff x="1380471" y="2539224"/>
            <a:chExt cx="792749" cy="787643"/>
          </a:xfrm>
        </p:grpSpPr>
        <p:sp>
          <p:nvSpPr>
            <p:cNvPr id="71" name="Rektangel 70">
              <a:extLst>
                <a:ext uri="{FF2B5EF4-FFF2-40B4-BE49-F238E27FC236}">
                  <a16:creationId xmlns:a16="http://schemas.microsoft.com/office/drawing/2014/main" id="{DCAED973-E0E1-4570-8F86-442E4447BFBE}"/>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9" name="Rektangel 68">
            <a:extLst>
              <a:ext uri="{FF2B5EF4-FFF2-40B4-BE49-F238E27FC236}">
                <a16:creationId xmlns:a16="http://schemas.microsoft.com/office/drawing/2014/main" id="{4B597CC2-EE7D-4880-97AB-DF72FDC89C0C}"/>
              </a:ext>
            </a:extLst>
          </p:cNvPr>
          <p:cNvSpPr/>
          <p:nvPr userDrawn="1"/>
        </p:nvSpPr>
        <p:spPr>
          <a:xfrm>
            <a:off x="8994770"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38" name="Pladsholder til tekst 7">
            <a:extLst>
              <a:ext uri="{FF2B5EF4-FFF2-40B4-BE49-F238E27FC236}">
                <a16:creationId xmlns:a16="http://schemas.microsoft.com/office/drawing/2014/main" id="{FD1819E2-3C09-403E-8067-2CB5A87AA20E}"/>
              </a:ext>
            </a:extLst>
          </p:cNvPr>
          <p:cNvSpPr>
            <a:spLocks noGrp="1"/>
          </p:cNvSpPr>
          <p:nvPr>
            <p:ph type="body" sz="quarter" idx="10" hasCustomPrompt="1"/>
          </p:nvPr>
        </p:nvSpPr>
        <p:spPr>
          <a:xfrm>
            <a:off x="1653043"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39" name="Pladsholder til tekst 7">
            <a:extLst>
              <a:ext uri="{FF2B5EF4-FFF2-40B4-BE49-F238E27FC236}">
                <a16:creationId xmlns:a16="http://schemas.microsoft.com/office/drawing/2014/main" id="{FD910686-B272-4164-AFD6-431936BB1CEE}"/>
              </a:ext>
            </a:extLst>
          </p:cNvPr>
          <p:cNvSpPr>
            <a:spLocks noGrp="1"/>
          </p:cNvSpPr>
          <p:nvPr>
            <p:ph type="body" sz="quarter" idx="11" hasCustomPrompt="1"/>
          </p:nvPr>
        </p:nvSpPr>
        <p:spPr>
          <a:xfrm>
            <a:off x="4403309"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0" name="Pladsholder til tekst 7">
            <a:extLst>
              <a:ext uri="{FF2B5EF4-FFF2-40B4-BE49-F238E27FC236}">
                <a16:creationId xmlns:a16="http://schemas.microsoft.com/office/drawing/2014/main" id="{36B5E815-1EB9-4809-807E-F0C2021FFF23}"/>
              </a:ext>
            </a:extLst>
          </p:cNvPr>
          <p:cNvSpPr>
            <a:spLocks noGrp="1"/>
          </p:cNvSpPr>
          <p:nvPr>
            <p:ph type="body" sz="quarter" idx="12" hasCustomPrompt="1"/>
          </p:nvPr>
        </p:nvSpPr>
        <p:spPr>
          <a:xfrm>
            <a:off x="7153575"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1" name="Pladsholder til tekst 7">
            <a:extLst>
              <a:ext uri="{FF2B5EF4-FFF2-40B4-BE49-F238E27FC236}">
                <a16:creationId xmlns:a16="http://schemas.microsoft.com/office/drawing/2014/main" id="{1B096AB3-1E6A-48EE-A1B6-FE0BBBC61B5C}"/>
              </a:ext>
            </a:extLst>
          </p:cNvPr>
          <p:cNvSpPr>
            <a:spLocks noGrp="1"/>
          </p:cNvSpPr>
          <p:nvPr>
            <p:ph type="body" sz="quarter" idx="13" hasCustomPrompt="1"/>
          </p:nvPr>
        </p:nvSpPr>
        <p:spPr>
          <a:xfrm>
            <a:off x="9903841"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2" name="Pladsholder til tekst 7">
            <a:extLst>
              <a:ext uri="{FF2B5EF4-FFF2-40B4-BE49-F238E27FC236}">
                <a16:creationId xmlns:a16="http://schemas.microsoft.com/office/drawing/2014/main" id="{272F89EB-D126-41F6-9C2D-97DC12EB1514}"/>
              </a:ext>
            </a:extLst>
          </p:cNvPr>
          <p:cNvSpPr>
            <a:spLocks noGrp="1"/>
          </p:cNvSpPr>
          <p:nvPr>
            <p:ph type="body" sz="quarter" idx="14" hasCustomPrompt="1"/>
          </p:nvPr>
        </p:nvSpPr>
        <p:spPr>
          <a:xfrm>
            <a:off x="816722"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3" name="Pladsholder til tekst 7">
            <a:extLst>
              <a:ext uri="{FF2B5EF4-FFF2-40B4-BE49-F238E27FC236}">
                <a16:creationId xmlns:a16="http://schemas.microsoft.com/office/drawing/2014/main" id="{9E40897C-B352-46D0-9C12-7DEA571C64FF}"/>
              </a:ext>
            </a:extLst>
          </p:cNvPr>
          <p:cNvSpPr>
            <a:spLocks noGrp="1"/>
          </p:cNvSpPr>
          <p:nvPr>
            <p:ph type="body" sz="quarter" idx="15" hasCustomPrompt="1"/>
          </p:nvPr>
        </p:nvSpPr>
        <p:spPr>
          <a:xfrm>
            <a:off x="3566988"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7">
            <a:extLst>
              <a:ext uri="{FF2B5EF4-FFF2-40B4-BE49-F238E27FC236}">
                <a16:creationId xmlns:a16="http://schemas.microsoft.com/office/drawing/2014/main" id="{A33DCE6F-87AA-4C46-8713-27F7A81CDBE9}"/>
              </a:ext>
            </a:extLst>
          </p:cNvPr>
          <p:cNvSpPr>
            <a:spLocks noGrp="1"/>
          </p:cNvSpPr>
          <p:nvPr>
            <p:ph type="body" sz="quarter" idx="16" hasCustomPrompt="1"/>
          </p:nvPr>
        </p:nvSpPr>
        <p:spPr>
          <a:xfrm>
            <a:off x="6317254"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E32B0F37-C543-4058-B2D9-88038B03BE27}"/>
              </a:ext>
            </a:extLst>
          </p:cNvPr>
          <p:cNvSpPr>
            <a:spLocks noGrp="1"/>
          </p:cNvSpPr>
          <p:nvPr>
            <p:ph type="body" sz="quarter" idx="17" hasCustomPrompt="1"/>
          </p:nvPr>
        </p:nvSpPr>
        <p:spPr>
          <a:xfrm>
            <a:off x="9067520"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247EB517-C125-46BA-A662-0957780F2770}"/>
              </a:ext>
            </a:extLst>
          </p:cNvPr>
          <p:cNvSpPr>
            <a:spLocks noGrp="1"/>
          </p:cNvSpPr>
          <p:nvPr>
            <p:ph type="body" sz="quarter" idx="18" hasCustomPrompt="1"/>
          </p:nvPr>
        </p:nvSpPr>
        <p:spPr>
          <a:xfrm>
            <a:off x="816722"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5" name="Pladsholder til tekst 7">
            <a:extLst>
              <a:ext uri="{FF2B5EF4-FFF2-40B4-BE49-F238E27FC236}">
                <a16:creationId xmlns:a16="http://schemas.microsoft.com/office/drawing/2014/main" id="{B391519F-5D44-4DA4-826F-F74179C59A06}"/>
              </a:ext>
            </a:extLst>
          </p:cNvPr>
          <p:cNvSpPr>
            <a:spLocks noGrp="1"/>
          </p:cNvSpPr>
          <p:nvPr>
            <p:ph type="body" sz="quarter" idx="19" hasCustomPrompt="1"/>
          </p:nvPr>
        </p:nvSpPr>
        <p:spPr>
          <a:xfrm>
            <a:off x="3566988"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6" name="Pladsholder til tekst 7">
            <a:extLst>
              <a:ext uri="{FF2B5EF4-FFF2-40B4-BE49-F238E27FC236}">
                <a16:creationId xmlns:a16="http://schemas.microsoft.com/office/drawing/2014/main" id="{21E93849-9EF4-4FFF-A764-B60BF399BE66}"/>
              </a:ext>
            </a:extLst>
          </p:cNvPr>
          <p:cNvSpPr>
            <a:spLocks noGrp="1"/>
          </p:cNvSpPr>
          <p:nvPr>
            <p:ph type="body" sz="quarter" idx="20" hasCustomPrompt="1"/>
          </p:nvPr>
        </p:nvSpPr>
        <p:spPr>
          <a:xfrm>
            <a:off x="6317254"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F955D776-A686-4C4D-A001-892210C24BD0}"/>
              </a:ext>
            </a:extLst>
          </p:cNvPr>
          <p:cNvSpPr>
            <a:spLocks noGrp="1"/>
          </p:cNvSpPr>
          <p:nvPr>
            <p:ph type="body" sz="quarter" idx="21" hasCustomPrompt="1"/>
          </p:nvPr>
        </p:nvSpPr>
        <p:spPr>
          <a:xfrm>
            <a:off x="9067520"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3045907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0294"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3043"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51" name="Rektangel 50">
            <a:extLst>
              <a:ext uri="{FF2B5EF4-FFF2-40B4-BE49-F238E27FC236}">
                <a16:creationId xmlns:a16="http://schemas.microsoft.com/office/drawing/2014/main" id="{4F454AE4-0688-4D43-AE2B-36803944AEB3}"/>
              </a:ext>
            </a:extLst>
          </p:cNvPr>
          <p:cNvSpPr/>
          <p:nvPr userDrawn="1"/>
        </p:nvSpPr>
        <p:spPr>
          <a:xfrm>
            <a:off x="4330560"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4403309"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61" name="Rektangel 60">
            <a:extLst>
              <a:ext uri="{FF2B5EF4-FFF2-40B4-BE49-F238E27FC236}">
                <a16:creationId xmlns:a16="http://schemas.microsoft.com/office/drawing/2014/main" id="{28EE3455-C533-46DC-AB5D-7B6A5F4A1FA9}"/>
              </a:ext>
            </a:extLst>
          </p:cNvPr>
          <p:cNvSpPr/>
          <p:nvPr userDrawn="1"/>
        </p:nvSpPr>
        <p:spPr>
          <a:xfrm>
            <a:off x="7080826"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7153575"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1" name="Rektangel 70">
            <a:extLst>
              <a:ext uri="{FF2B5EF4-FFF2-40B4-BE49-F238E27FC236}">
                <a16:creationId xmlns:a16="http://schemas.microsoft.com/office/drawing/2014/main" id="{DCAED973-E0E1-4570-8F86-442E4447BFBE}"/>
              </a:ext>
            </a:extLst>
          </p:cNvPr>
          <p:cNvSpPr/>
          <p:nvPr userDrawn="1"/>
        </p:nvSpPr>
        <p:spPr>
          <a:xfrm>
            <a:off x="9831092"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9903841"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nvGrpSpPr>
          <p:cNvPr id="8" name="Gruppe 7">
            <a:extLst>
              <a:ext uri="{FF2B5EF4-FFF2-40B4-BE49-F238E27FC236}">
                <a16:creationId xmlns:a16="http://schemas.microsoft.com/office/drawing/2014/main" id="{7A64CB48-329B-45BD-8010-6006ECBAED1F}"/>
              </a:ext>
            </a:extLst>
          </p:cNvPr>
          <p:cNvGrpSpPr/>
          <p:nvPr userDrawn="1"/>
        </p:nvGrpSpPr>
        <p:grpSpPr>
          <a:xfrm>
            <a:off x="743972" y="3322409"/>
            <a:ext cx="10716191" cy="567903"/>
            <a:chOff x="743972" y="3483777"/>
            <a:chExt cx="10716191" cy="567903"/>
          </a:xfrm>
        </p:grpSpPr>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grpSp>
          <p:nvGrpSpPr>
            <p:cNvPr id="6" name="Gruppe 5">
              <a:extLst>
                <a:ext uri="{FF2B5EF4-FFF2-40B4-BE49-F238E27FC236}">
                  <a16:creationId xmlns:a16="http://schemas.microsoft.com/office/drawing/2014/main" id="{E6C0AD17-D285-4AB1-A6E4-195D9BCE7AC4}"/>
                </a:ext>
              </a:extLst>
            </p:cNvPr>
            <p:cNvGrpSpPr/>
            <p:nvPr userDrawn="1"/>
          </p:nvGrpSpPr>
          <p:grpSpPr>
            <a:xfrm>
              <a:off x="816722" y="3483777"/>
              <a:ext cx="10643441" cy="499948"/>
              <a:chOff x="816722" y="3483777"/>
              <a:chExt cx="10643441" cy="499948"/>
            </a:xfrm>
          </p:grpSpPr>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grpSp>
      </p:grpSp>
      <p:sp>
        <p:nvSpPr>
          <p:cNvPr id="69" name="Rektangel 68">
            <a:extLst>
              <a:ext uri="{FF2B5EF4-FFF2-40B4-BE49-F238E27FC236}">
                <a16:creationId xmlns:a16="http://schemas.microsoft.com/office/drawing/2014/main" id="{4B597CC2-EE7D-4880-97AB-DF72FDC89C0C}"/>
              </a:ext>
            </a:extLst>
          </p:cNvPr>
          <p:cNvSpPr/>
          <p:nvPr userDrawn="1"/>
        </p:nvSpPr>
        <p:spPr>
          <a:xfrm>
            <a:off x="8994770"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Pladsholder til tekst 7">
            <a:extLst>
              <a:ext uri="{FF2B5EF4-FFF2-40B4-BE49-F238E27FC236}">
                <a16:creationId xmlns:a16="http://schemas.microsoft.com/office/drawing/2014/main" id="{67E53A45-A920-4F3E-ADFF-601394AFC78F}"/>
              </a:ext>
            </a:extLst>
          </p:cNvPr>
          <p:cNvSpPr>
            <a:spLocks noGrp="1"/>
          </p:cNvSpPr>
          <p:nvPr userDrawn="1">
            <p:ph type="body" sz="quarter" idx="10" hasCustomPrompt="1"/>
          </p:nvPr>
        </p:nvSpPr>
        <p:spPr>
          <a:xfrm>
            <a:off x="1653043"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1" name="Pladsholder til tekst 7">
            <a:extLst>
              <a:ext uri="{FF2B5EF4-FFF2-40B4-BE49-F238E27FC236}">
                <a16:creationId xmlns:a16="http://schemas.microsoft.com/office/drawing/2014/main" id="{C8DB41E1-6670-4F6E-A135-6659E54ACBDD}"/>
              </a:ext>
            </a:extLst>
          </p:cNvPr>
          <p:cNvSpPr>
            <a:spLocks noGrp="1"/>
          </p:cNvSpPr>
          <p:nvPr userDrawn="1">
            <p:ph type="body" sz="quarter" idx="11" hasCustomPrompt="1"/>
          </p:nvPr>
        </p:nvSpPr>
        <p:spPr>
          <a:xfrm>
            <a:off x="4403309"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2" name="Pladsholder til tekst 7">
            <a:extLst>
              <a:ext uri="{FF2B5EF4-FFF2-40B4-BE49-F238E27FC236}">
                <a16:creationId xmlns:a16="http://schemas.microsoft.com/office/drawing/2014/main" id="{73DBE768-955C-4F36-870E-8366392883BD}"/>
              </a:ext>
            </a:extLst>
          </p:cNvPr>
          <p:cNvSpPr>
            <a:spLocks noGrp="1"/>
          </p:cNvSpPr>
          <p:nvPr userDrawn="1">
            <p:ph type="body" sz="quarter" idx="12" hasCustomPrompt="1"/>
          </p:nvPr>
        </p:nvSpPr>
        <p:spPr>
          <a:xfrm>
            <a:off x="7153575"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3" name="Pladsholder til tekst 7">
            <a:extLst>
              <a:ext uri="{FF2B5EF4-FFF2-40B4-BE49-F238E27FC236}">
                <a16:creationId xmlns:a16="http://schemas.microsoft.com/office/drawing/2014/main" id="{E96A02A2-E6E4-4E0E-9DE4-267D5B4FC558}"/>
              </a:ext>
            </a:extLst>
          </p:cNvPr>
          <p:cNvSpPr>
            <a:spLocks noGrp="1"/>
          </p:cNvSpPr>
          <p:nvPr userDrawn="1">
            <p:ph type="body" sz="quarter" idx="13" hasCustomPrompt="1"/>
          </p:nvPr>
        </p:nvSpPr>
        <p:spPr>
          <a:xfrm>
            <a:off x="9903841"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5" name="Pladsholder til tekst 7">
            <a:extLst>
              <a:ext uri="{FF2B5EF4-FFF2-40B4-BE49-F238E27FC236}">
                <a16:creationId xmlns:a16="http://schemas.microsoft.com/office/drawing/2014/main" id="{933CF8D8-FFCD-4D6A-900A-B8726FD47CA0}"/>
              </a:ext>
            </a:extLst>
          </p:cNvPr>
          <p:cNvSpPr>
            <a:spLocks noGrp="1"/>
          </p:cNvSpPr>
          <p:nvPr userDrawn="1">
            <p:ph type="body" sz="quarter" idx="14" hasCustomPrompt="1"/>
          </p:nvPr>
        </p:nvSpPr>
        <p:spPr>
          <a:xfrm>
            <a:off x="816722"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4657EA7F-4D43-46AB-8293-6CF762067D25}"/>
              </a:ext>
            </a:extLst>
          </p:cNvPr>
          <p:cNvSpPr>
            <a:spLocks noGrp="1"/>
          </p:cNvSpPr>
          <p:nvPr userDrawn="1">
            <p:ph type="body" sz="quarter" idx="15" hasCustomPrompt="1"/>
          </p:nvPr>
        </p:nvSpPr>
        <p:spPr>
          <a:xfrm>
            <a:off x="3566988"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DFAA6D7F-5309-4357-A9C3-04412A3C9329}"/>
              </a:ext>
            </a:extLst>
          </p:cNvPr>
          <p:cNvSpPr>
            <a:spLocks noGrp="1"/>
          </p:cNvSpPr>
          <p:nvPr userDrawn="1">
            <p:ph type="body" sz="quarter" idx="16" hasCustomPrompt="1"/>
          </p:nvPr>
        </p:nvSpPr>
        <p:spPr>
          <a:xfrm>
            <a:off x="6317254"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FC31579E-6886-48F0-86C8-CCEA663F6AB6}"/>
              </a:ext>
            </a:extLst>
          </p:cNvPr>
          <p:cNvSpPr>
            <a:spLocks noGrp="1"/>
          </p:cNvSpPr>
          <p:nvPr userDrawn="1">
            <p:ph type="body" sz="quarter" idx="17" hasCustomPrompt="1"/>
          </p:nvPr>
        </p:nvSpPr>
        <p:spPr>
          <a:xfrm>
            <a:off x="9067520"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6" name="Pladsholder til tekst 7">
            <a:extLst>
              <a:ext uri="{FF2B5EF4-FFF2-40B4-BE49-F238E27FC236}">
                <a16:creationId xmlns:a16="http://schemas.microsoft.com/office/drawing/2014/main" id="{284025DF-0767-48A9-9697-B3A99A9E9F7B}"/>
              </a:ext>
            </a:extLst>
          </p:cNvPr>
          <p:cNvSpPr>
            <a:spLocks noGrp="1"/>
          </p:cNvSpPr>
          <p:nvPr userDrawn="1">
            <p:ph type="body" sz="quarter" idx="18" hasCustomPrompt="1"/>
          </p:nvPr>
        </p:nvSpPr>
        <p:spPr>
          <a:xfrm>
            <a:off x="816722"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43180A86-5EE1-4641-9C23-1F42A26F72D4}"/>
              </a:ext>
            </a:extLst>
          </p:cNvPr>
          <p:cNvSpPr>
            <a:spLocks noGrp="1"/>
          </p:cNvSpPr>
          <p:nvPr userDrawn="1">
            <p:ph type="body" sz="quarter" idx="19" hasCustomPrompt="1"/>
          </p:nvPr>
        </p:nvSpPr>
        <p:spPr>
          <a:xfrm>
            <a:off x="3566988"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5" name="Pladsholder til tekst 7">
            <a:extLst>
              <a:ext uri="{FF2B5EF4-FFF2-40B4-BE49-F238E27FC236}">
                <a16:creationId xmlns:a16="http://schemas.microsoft.com/office/drawing/2014/main" id="{F2981287-8DD7-4AA3-8180-CEC307930DCF}"/>
              </a:ext>
            </a:extLst>
          </p:cNvPr>
          <p:cNvSpPr>
            <a:spLocks noGrp="1"/>
          </p:cNvSpPr>
          <p:nvPr userDrawn="1">
            <p:ph type="body" sz="quarter" idx="20" hasCustomPrompt="1"/>
          </p:nvPr>
        </p:nvSpPr>
        <p:spPr>
          <a:xfrm>
            <a:off x="6317254"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6" name="Pladsholder til tekst 7">
            <a:extLst>
              <a:ext uri="{FF2B5EF4-FFF2-40B4-BE49-F238E27FC236}">
                <a16:creationId xmlns:a16="http://schemas.microsoft.com/office/drawing/2014/main" id="{B5AA561B-5495-4080-9D8A-D46236DDA61D}"/>
              </a:ext>
            </a:extLst>
          </p:cNvPr>
          <p:cNvSpPr>
            <a:spLocks noGrp="1"/>
          </p:cNvSpPr>
          <p:nvPr userDrawn="1">
            <p:ph type="body" sz="quarter" idx="21" hasCustomPrompt="1"/>
          </p:nvPr>
        </p:nvSpPr>
        <p:spPr>
          <a:xfrm>
            <a:off x="9067520"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1893488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1003">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0294" y="1678609"/>
            <a:ext cx="792749" cy="787643"/>
            <a:chOff x="1380471" y="2539224"/>
            <a:chExt cx="792749" cy="787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44" name="Gruppe 43">
            <a:extLst>
              <a:ext uri="{FF2B5EF4-FFF2-40B4-BE49-F238E27FC236}">
                <a16:creationId xmlns:a16="http://schemas.microsoft.com/office/drawing/2014/main" id="{02561E3C-7E8A-4945-87DE-76CD451E8CC8}"/>
              </a:ext>
            </a:extLst>
          </p:cNvPr>
          <p:cNvGrpSpPr/>
          <p:nvPr userDrawn="1"/>
        </p:nvGrpSpPr>
        <p:grpSpPr>
          <a:xfrm>
            <a:off x="4330560" y="1678609"/>
            <a:ext cx="792749" cy="787643"/>
            <a:chOff x="1380471" y="2539224"/>
            <a:chExt cx="792749" cy="787643"/>
          </a:xfrm>
        </p:grpSpPr>
        <p:sp>
          <p:nvSpPr>
            <p:cNvPr id="51" name="Rektangel 50">
              <a:extLst>
                <a:ext uri="{FF2B5EF4-FFF2-40B4-BE49-F238E27FC236}">
                  <a16:creationId xmlns:a16="http://schemas.microsoft.com/office/drawing/2014/main" id="{4F454AE4-0688-4D43-AE2B-36803944AEB3}"/>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9" name="Rektangel 48">
            <a:extLst>
              <a:ext uri="{FF2B5EF4-FFF2-40B4-BE49-F238E27FC236}">
                <a16:creationId xmlns:a16="http://schemas.microsoft.com/office/drawing/2014/main" id="{E68AB055-2CA2-4EC6-9781-90880A048123}"/>
              </a:ext>
            </a:extLst>
          </p:cNvPr>
          <p:cNvSpPr/>
          <p:nvPr userDrawn="1"/>
        </p:nvSpPr>
        <p:spPr>
          <a:xfrm>
            <a:off x="3494238"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54" name="Gruppe 53">
            <a:extLst>
              <a:ext uri="{FF2B5EF4-FFF2-40B4-BE49-F238E27FC236}">
                <a16:creationId xmlns:a16="http://schemas.microsoft.com/office/drawing/2014/main" id="{5BAFB534-A245-48CE-BC13-280B616848A4}"/>
              </a:ext>
            </a:extLst>
          </p:cNvPr>
          <p:cNvGrpSpPr/>
          <p:nvPr userDrawn="1"/>
        </p:nvGrpSpPr>
        <p:grpSpPr>
          <a:xfrm>
            <a:off x="7080826" y="1678609"/>
            <a:ext cx="792749" cy="787643"/>
            <a:chOff x="1380471" y="2539224"/>
            <a:chExt cx="792749" cy="787643"/>
          </a:xfrm>
        </p:grpSpPr>
        <p:sp>
          <p:nvSpPr>
            <p:cNvPr id="61" name="Rektangel 60">
              <a:extLst>
                <a:ext uri="{FF2B5EF4-FFF2-40B4-BE49-F238E27FC236}">
                  <a16:creationId xmlns:a16="http://schemas.microsoft.com/office/drawing/2014/main" id="{28EE3455-C533-46DC-AB5D-7B6A5F4A1FA9}"/>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59" name="Rektangel 58">
            <a:extLst>
              <a:ext uri="{FF2B5EF4-FFF2-40B4-BE49-F238E27FC236}">
                <a16:creationId xmlns:a16="http://schemas.microsoft.com/office/drawing/2014/main" id="{5EC4F84E-8804-4785-918E-A0D75A66DB9E}"/>
              </a:ext>
            </a:extLst>
          </p:cNvPr>
          <p:cNvSpPr/>
          <p:nvPr userDrawn="1"/>
        </p:nvSpPr>
        <p:spPr>
          <a:xfrm>
            <a:off x="6244504"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64" name="Gruppe 63">
            <a:extLst>
              <a:ext uri="{FF2B5EF4-FFF2-40B4-BE49-F238E27FC236}">
                <a16:creationId xmlns:a16="http://schemas.microsoft.com/office/drawing/2014/main" id="{17AC6787-A365-4C77-818B-ACF8714AE1CD}"/>
              </a:ext>
            </a:extLst>
          </p:cNvPr>
          <p:cNvGrpSpPr/>
          <p:nvPr userDrawn="1"/>
        </p:nvGrpSpPr>
        <p:grpSpPr>
          <a:xfrm>
            <a:off x="9831092" y="1678609"/>
            <a:ext cx="792749" cy="787643"/>
            <a:chOff x="1380471" y="2539224"/>
            <a:chExt cx="792749" cy="787643"/>
          </a:xfrm>
        </p:grpSpPr>
        <p:sp>
          <p:nvSpPr>
            <p:cNvPr id="71" name="Rektangel 70">
              <a:extLst>
                <a:ext uri="{FF2B5EF4-FFF2-40B4-BE49-F238E27FC236}">
                  <a16:creationId xmlns:a16="http://schemas.microsoft.com/office/drawing/2014/main" id="{DCAED973-E0E1-4570-8F86-442E4447BFBE}"/>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8" name="Gruppe 7">
            <a:extLst>
              <a:ext uri="{FF2B5EF4-FFF2-40B4-BE49-F238E27FC236}">
                <a16:creationId xmlns:a16="http://schemas.microsoft.com/office/drawing/2014/main" id="{7A64CB48-329B-45BD-8010-6006ECBAED1F}"/>
              </a:ext>
            </a:extLst>
          </p:cNvPr>
          <p:cNvGrpSpPr/>
          <p:nvPr userDrawn="1"/>
        </p:nvGrpSpPr>
        <p:grpSpPr>
          <a:xfrm>
            <a:off x="743972" y="3322409"/>
            <a:ext cx="10716191" cy="567903"/>
            <a:chOff x="743972" y="3483777"/>
            <a:chExt cx="10716191" cy="567903"/>
          </a:xfrm>
        </p:grpSpPr>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grpSp>
          <p:nvGrpSpPr>
            <p:cNvPr id="6" name="Gruppe 5">
              <a:extLst>
                <a:ext uri="{FF2B5EF4-FFF2-40B4-BE49-F238E27FC236}">
                  <a16:creationId xmlns:a16="http://schemas.microsoft.com/office/drawing/2014/main" id="{E6C0AD17-D285-4AB1-A6E4-195D9BCE7AC4}"/>
                </a:ext>
              </a:extLst>
            </p:cNvPr>
            <p:cNvGrpSpPr/>
            <p:nvPr userDrawn="1"/>
          </p:nvGrpSpPr>
          <p:grpSpPr>
            <a:xfrm>
              <a:off x="816722" y="3483777"/>
              <a:ext cx="10643441" cy="499948"/>
              <a:chOff x="816722" y="3483777"/>
              <a:chExt cx="10643441" cy="499948"/>
            </a:xfrm>
          </p:grpSpPr>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grpSp>
      </p:grpSp>
      <p:sp>
        <p:nvSpPr>
          <p:cNvPr id="69" name="Rektangel 68">
            <a:extLst>
              <a:ext uri="{FF2B5EF4-FFF2-40B4-BE49-F238E27FC236}">
                <a16:creationId xmlns:a16="http://schemas.microsoft.com/office/drawing/2014/main" id="{4B597CC2-EE7D-4880-97AB-DF72FDC89C0C}"/>
              </a:ext>
            </a:extLst>
          </p:cNvPr>
          <p:cNvSpPr/>
          <p:nvPr userDrawn="1"/>
        </p:nvSpPr>
        <p:spPr>
          <a:xfrm>
            <a:off x="8994770"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Pladsholder til tekst 7">
            <a:extLst>
              <a:ext uri="{FF2B5EF4-FFF2-40B4-BE49-F238E27FC236}">
                <a16:creationId xmlns:a16="http://schemas.microsoft.com/office/drawing/2014/main" id="{8FC8B49F-B855-423D-A299-00DE16622E23}"/>
              </a:ext>
            </a:extLst>
          </p:cNvPr>
          <p:cNvSpPr>
            <a:spLocks noGrp="1"/>
          </p:cNvSpPr>
          <p:nvPr>
            <p:ph type="body" sz="quarter" idx="10" hasCustomPrompt="1"/>
          </p:nvPr>
        </p:nvSpPr>
        <p:spPr>
          <a:xfrm>
            <a:off x="1653043"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1" name="Pladsholder til tekst 7">
            <a:extLst>
              <a:ext uri="{FF2B5EF4-FFF2-40B4-BE49-F238E27FC236}">
                <a16:creationId xmlns:a16="http://schemas.microsoft.com/office/drawing/2014/main" id="{8C17A392-6606-4B24-A1D4-A582F57A2AE9}"/>
              </a:ext>
            </a:extLst>
          </p:cNvPr>
          <p:cNvSpPr>
            <a:spLocks noGrp="1"/>
          </p:cNvSpPr>
          <p:nvPr>
            <p:ph type="body" sz="quarter" idx="11" hasCustomPrompt="1"/>
          </p:nvPr>
        </p:nvSpPr>
        <p:spPr>
          <a:xfrm>
            <a:off x="4403309"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2" name="Pladsholder til tekst 7">
            <a:extLst>
              <a:ext uri="{FF2B5EF4-FFF2-40B4-BE49-F238E27FC236}">
                <a16:creationId xmlns:a16="http://schemas.microsoft.com/office/drawing/2014/main" id="{FD1874A1-8E0C-4AD2-9D1F-74407B3DF0CF}"/>
              </a:ext>
            </a:extLst>
          </p:cNvPr>
          <p:cNvSpPr>
            <a:spLocks noGrp="1"/>
          </p:cNvSpPr>
          <p:nvPr>
            <p:ph type="body" sz="quarter" idx="12" hasCustomPrompt="1"/>
          </p:nvPr>
        </p:nvSpPr>
        <p:spPr>
          <a:xfrm>
            <a:off x="7153575"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3" name="Pladsholder til tekst 7">
            <a:extLst>
              <a:ext uri="{FF2B5EF4-FFF2-40B4-BE49-F238E27FC236}">
                <a16:creationId xmlns:a16="http://schemas.microsoft.com/office/drawing/2014/main" id="{3FED5110-1692-468E-B842-5FE7120BF376}"/>
              </a:ext>
            </a:extLst>
          </p:cNvPr>
          <p:cNvSpPr>
            <a:spLocks noGrp="1"/>
          </p:cNvSpPr>
          <p:nvPr>
            <p:ph type="body" sz="quarter" idx="13" hasCustomPrompt="1"/>
          </p:nvPr>
        </p:nvSpPr>
        <p:spPr>
          <a:xfrm>
            <a:off x="9903841"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5" name="Pladsholder til tekst 7">
            <a:extLst>
              <a:ext uri="{FF2B5EF4-FFF2-40B4-BE49-F238E27FC236}">
                <a16:creationId xmlns:a16="http://schemas.microsoft.com/office/drawing/2014/main" id="{FC24B94F-25BD-463F-9ED1-567C0E1652CB}"/>
              </a:ext>
            </a:extLst>
          </p:cNvPr>
          <p:cNvSpPr>
            <a:spLocks noGrp="1"/>
          </p:cNvSpPr>
          <p:nvPr>
            <p:ph type="body" sz="quarter" idx="14" hasCustomPrompt="1"/>
          </p:nvPr>
        </p:nvSpPr>
        <p:spPr>
          <a:xfrm>
            <a:off x="816722"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5E8B0169-E703-4E9A-9F9E-92BC947526CA}"/>
              </a:ext>
            </a:extLst>
          </p:cNvPr>
          <p:cNvSpPr>
            <a:spLocks noGrp="1"/>
          </p:cNvSpPr>
          <p:nvPr>
            <p:ph type="body" sz="quarter" idx="15" hasCustomPrompt="1"/>
          </p:nvPr>
        </p:nvSpPr>
        <p:spPr>
          <a:xfrm>
            <a:off x="3566988"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FFB36402-AB3B-484B-85EB-3B0DC938610D}"/>
              </a:ext>
            </a:extLst>
          </p:cNvPr>
          <p:cNvSpPr>
            <a:spLocks noGrp="1"/>
          </p:cNvSpPr>
          <p:nvPr>
            <p:ph type="body" sz="quarter" idx="16" hasCustomPrompt="1"/>
          </p:nvPr>
        </p:nvSpPr>
        <p:spPr>
          <a:xfrm>
            <a:off x="6317254"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8B28417D-249F-4475-8E2D-5CF1F6A86997}"/>
              </a:ext>
            </a:extLst>
          </p:cNvPr>
          <p:cNvSpPr>
            <a:spLocks noGrp="1"/>
          </p:cNvSpPr>
          <p:nvPr>
            <p:ph type="body" sz="quarter" idx="17" hasCustomPrompt="1"/>
          </p:nvPr>
        </p:nvSpPr>
        <p:spPr>
          <a:xfrm>
            <a:off x="9067520"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6" name="Pladsholder til tekst 7">
            <a:extLst>
              <a:ext uri="{FF2B5EF4-FFF2-40B4-BE49-F238E27FC236}">
                <a16:creationId xmlns:a16="http://schemas.microsoft.com/office/drawing/2014/main" id="{21AC3100-8A50-4414-AC99-9A686FA45297}"/>
              </a:ext>
            </a:extLst>
          </p:cNvPr>
          <p:cNvSpPr>
            <a:spLocks noGrp="1"/>
          </p:cNvSpPr>
          <p:nvPr>
            <p:ph type="body" sz="quarter" idx="18" hasCustomPrompt="1"/>
          </p:nvPr>
        </p:nvSpPr>
        <p:spPr>
          <a:xfrm>
            <a:off x="816722"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A4BE1120-FA73-4400-B2A5-70A7A32EE1B4}"/>
              </a:ext>
            </a:extLst>
          </p:cNvPr>
          <p:cNvSpPr>
            <a:spLocks noGrp="1"/>
          </p:cNvSpPr>
          <p:nvPr>
            <p:ph type="body" sz="quarter" idx="19" hasCustomPrompt="1"/>
          </p:nvPr>
        </p:nvSpPr>
        <p:spPr>
          <a:xfrm>
            <a:off x="3566988"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5" name="Pladsholder til tekst 7">
            <a:extLst>
              <a:ext uri="{FF2B5EF4-FFF2-40B4-BE49-F238E27FC236}">
                <a16:creationId xmlns:a16="http://schemas.microsoft.com/office/drawing/2014/main" id="{012ECB41-B161-4B84-8F7E-92B01BC916D8}"/>
              </a:ext>
            </a:extLst>
          </p:cNvPr>
          <p:cNvSpPr>
            <a:spLocks noGrp="1"/>
          </p:cNvSpPr>
          <p:nvPr>
            <p:ph type="body" sz="quarter" idx="20" hasCustomPrompt="1"/>
          </p:nvPr>
        </p:nvSpPr>
        <p:spPr>
          <a:xfrm>
            <a:off x="6317254"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6" name="Pladsholder til tekst 7">
            <a:extLst>
              <a:ext uri="{FF2B5EF4-FFF2-40B4-BE49-F238E27FC236}">
                <a16:creationId xmlns:a16="http://schemas.microsoft.com/office/drawing/2014/main" id="{D2BAD4FB-D8A1-4142-95BA-69B2FCC881AF}"/>
              </a:ext>
            </a:extLst>
          </p:cNvPr>
          <p:cNvSpPr>
            <a:spLocks noGrp="1"/>
          </p:cNvSpPr>
          <p:nvPr>
            <p:ph type="body" sz="quarter" idx="21" hasCustomPrompt="1"/>
          </p:nvPr>
        </p:nvSpPr>
        <p:spPr>
          <a:xfrm>
            <a:off x="9067520"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41185225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374248"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46997"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626622"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3"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21" name="Rektangel 120">
            <a:extLst>
              <a:ext uri="{FF2B5EF4-FFF2-40B4-BE49-F238E27FC236}">
                <a16:creationId xmlns:a16="http://schemas.microsoft.com/office/drawing/2014/main" id="{8AAC9509-4177-4A02-81FB-C2A1EFCB7239}"/>
              </a:ext>
            </a:extLst>
          </p:cNvPr>
          <p:cNvSpPr/>
          <p:nvPr userDrawn="1"/>
        </p:nvSpPr>
        <p:spPr>
          <a:xfrm>
            <a:off x="3557971"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3630720"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15" name="TextBox 47">
            <a:extLst>
              <a:ext uri="{FF2B5EF4-FFF2-40B4-BE49-F238E27FC236}">
                <a16:creationId xmlns:a16="http://schemas.microsoft.com/office/drawing/2014/main" id="{027C4D33-2640-430C-BF99-91BB07999D92}"/>
              </a:ext>
            </a:extLst>
          </p:cNvPr>
          <p:cNvSpPr txBox="1">
            <a:spLocks noChangeAspect="1"/>
          </p:cNvSpPr>
          <p:nvPr userDrawn="1"/>
        </p:nvSpPr>
        <p:spPr>
          <a:xfrm>
            <a:off x="3810345"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31" name="Rektangel 130">
            <a:extLst>
              <a:ext uri="{FF2B5EF4-FFF2-40B4-BE49-F238E27FC236}">
                <a16:creationId xmlns:a16="http://schemas.microsoft.com/office/drawing/2014/main" id="{65A89AA1-86D5-4C42-9C54-A2A5F54A20CF}"/>
              </a:ext>
            </a:extLst>
          </p:cNvPr>
          <p:cNvSpPr/>
          <p:nvPr userDrawn="1"/>
        </p:nvSpPr>
        <p:spPr>
          <a:xfrm>
            <a:off x="5741694"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5814443"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25" name="TextBox 47">
            <a:extLst>
              <a:ext uri="{FF2B5EF4-FFF2-40B4-BE49-F238E27FC236}">
                <a16:creationId xmlns:a16="http://schemas.microsoft.com/office/drawing/2014/main" id="{38997B43-2EFD-4CED-9846-95018BAF3AD9}"/>
              </a:ext>
            </a:extLst>
          </p:cNvPr>
          <p:cNvSpPr txBox="1">
            <a:spLocks noChangeAspect="1"/>
          </p:cNvSpPr>
          <p:nvPr userDrawn="1"/>
        </p:nvSpPr>
        <p:spPr>
          <a:xfrm>
            <a:off x="5994068"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41" name="Rektangel 140">
            <a:extLst>
              <a:ext uri="{FF2B5EF4-FFF2-40B4-BE49-F238E27FC236}">
                <a16:creationId xmlns:a16="http://schemas.microsoft.com/office/drawing/2014/main" id="{F1BCD01F-9ACB-4F5F-B0ED-0D25AB08B145}"/>
              </a:ext>
            </a:extLst>
          </p:cNvPr>
          <p:cNvSpPr/>
          <p:nvPr userDrawn="1"/>
        </p:nvSpPr>
        <p:spPr>
          <a:xfrm>
            <a:off x="7925417"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7998166"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5" name="TextBox 47">
            <a:extLst>
              <a:ext uri="{FF2B5EF4-FFF2-40B4-BE49-F238E27FC236}">
                <a16:creationId xmlns:a16="http://schemas.microsoft.com/office/drawing/2014/main" id="{977154AD-C86B-46A6-96B9-F43A71E10376}"/>
              </a:ext>
            </a:extLst>
          </p:cNvPr>
          <p:cNvSpPr txBox="1">
            <a:spLocks noChangeAspect="1"/>
          </p:cNvSpPr>
          <p:nvPr userDrawn="1"/>
        </p:nvSpPr>
        <p:spPr>
          <a:xfrm>
            <a:off x="8177791"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51" name="Rektangel 150">
            <a:extLst>
              <a:ext uri="{FF2B5EF4-FFF2-40B4-BE49-F238E27FC236}">
                <a16:creationId xmlns:a16="http://schemas.microsoft.com/office/drawing/2014/main" id="{E8B75EEC-745C-4D4C-8BC3-896CD2D86AC4}"/>
              </a:ext>
            </a:extLst>
          </p:cNvPr>
          <p:cNvSpPr/>
          <p:nvPr userDrawn="1"/>
        </p:nvSpPr>
        <p:spPr>
          <a:xfrm>
            <a:off x="10109140"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0181889"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45" name="TextBox 47">
            <a:extLst>
              <a:ext uri="{FF2B5EF4-FFF2-40B4-BE49-F238E27FC236}">
                <a16:creationId xmlns:a16="http://schemas.microsoft.com/office/drawing/2014/main" id="{C2765928-A844-42F1-8E34-BAEF6C3E3D93}"/>
              </a:ext>
            </a:extLst>
          </p:cNvPr>
          <p:cNvSpPr txBox="1">
            <a:spLocks noChangeAspect="1"/>
          </p:cNvSpPr>
          <p:nvPr userDrawn="1"/>
        </p:nvSpPr>
        <p:spPr>
          <a:xfrm>
            <a:off x="10361514"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56" name="Pladsholder til tekst 7">
            <a:extLst>
              <a:ext uri="{FF2B5EF4-FFF2-40B4-BE49-F238E27FC236}">
                <a16:creationId xmlns:a16="http://schemas.microsoft.com/office/drawing/2014/main" id="{BE3319B8-519E-40E9-8C0E-587A72921E64}"/>
              </a:ext>
            </a:extLst>
          </p:cNvPr>
          <p:cNvSpPr>
            <a:spLocks noGrp="1"/>
          </p:cNvSpPr>
          <p:nvPr userDrawn="1">
            <p:ph type="body" sz="quarter" idx="10" hasCustomPrompt="1"/>
          </p:nvPr>
        </p:nvSpPr>
        <p:spPr>
          <a:xfrm>
            <a:off x="1446997"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57" name="Pladsholder til tekst 7">
            <a:extLst>
              <a:ext uri="{FF2B5EF4-FFF2-40B4-BE49-F238E27FC236}">
                <a16:creationId xmlns:a16="http://schemas.microsoft.com/office/drawing/2014/main" id="{D9263EB2-E680-49BA-89F1-F6FBDF2D9C02}"/>
              </a:ext>
            </a:extLst>
          </p:cNvPr>
          <p:cNvSpPr>
            <a:spLocks noGrp="1"/>
          </p:cNvSpPr>
          <p:nvPr userDrawn="1">
            <p:ph type="body" sz="quarter" idx="11" hasCustomPrompt="1"/>
          </p:nvPr>
        </p:nvSpPr>
        <p:spPr>
          <a:xfrm>
            <a:off x="3630720"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58" name="Pladsholder til tekst 7">
            <a:extLst>
              <a:ext uri="{FF2B5EF4-FFF2-40B4-BE49-F238E27FC236}">
                <a16:creationId xmlns:a16="http://schemas.microsoft.com/office/drawing/2014/main" id="{894BB9FA-A2ED-41D1-9E27-D1F975F9886E}"/>
              </a:ext>
            </a:extLst>
          </p:cNvPr>
          <p:cNvSpPr>
            <a:spLocks noGrp="1"/>
          </p:cNvSpPr>
          <p:nvPr userDrawn="1">
            <p:ph type="body" sz="quarter" idx="12" hasCustomPrompt="1"/>
          </p:nvPr>
        </p:nvSpPr>
        <p:spPr>
          <a:xfrm>
            <a:off x="5814443"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59" name="Pladsholder til tekst 7">
            <a:extLst>
              <a:ext uri="{FF2B5EF4-FFF2-40B4-BE49-F238E27FC236}">
                <a16:creationId xmlns:a16="http://schemas.microsoft.com/office/drawing/2014/main" id="{DDCC2EC0-8543-4AC3-8FBE-517B029A2516}"/>
              </a:ext>
            </a:extLst>
          </p:cNvPr>
          <p:cNvSpPr>
            <a:spLocks noGrp="1"/>
          </p:cNvSpPr>
          <p:nvPr userDrawn="1">
            <p:ph type="body" sz="quarter" idx="13" hasCustomPrompt="1"/>
          </p:nvPr>
        </p:nvSpPr>
        <p:spPr>
          <a:xfrm>
            <a:off x="7998166"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60" name="Pladsholder til tekst 7">
            <a:extLst>
              <a:ext uri="{FF2B5EF4-FFF2-40B4-BE49-F238E27FC236}">
                <a16:creationId xmlns:a16="http://schemas.microsoft.com/office/drawing/2014/main" id="{4B7A16AA-060C-4CD1-9D58-DD7064942F74}"/>
              </a:ext>
            </a:extLst>
          </p:cNvPr>
          <p:cNvSpPr>
            <a:spLocks noGrp="1"/>
          </p:cNvSpPr>
          <p:nvPr userDrawn="1">
            <p:ph type="body" sz="quarter" idx="14" hasCustomPrompt="1"/>
          </p:nvPr>
        </p:nvSpPr>
        <p:spPr>
          <a:xfrm>
            <a:off x="10181889"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61" name="Pladsholder til tekst 7">
            <a:extLst>
              <a:ext uri="{FF2B5EF4-FFF2-40B4-BE49-F238E27FC236}">
                <a16:creationId xmlns:a16="http://schemas.microsoft.com/office/drawing/2014/main" id="{53DB55AC-6AC4-44D7-AC1C-AFB1F7A64381}"/>
              </a:ext>
            </a:extLst>
          </p:cNvPr>
          <p:cNvSpPr>
            <a:spLocks noGrp="1"/>
          </p:cNvSpPr>
          <p:nvPr userDrawn="1">
            <p:ph type="body" sz="quarter" idx="15" hasCustomPrompt="1"/>
          </p:nvPr>
        </p:nvSpPr>
        <p:spPr>
          <a:xfrm>
            <a:off x="816722"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3" name="Pladsholder til tekst 7">
            <a:extLst>
              <a:ext uri="{FF2B5EF4-FFF2-40B4-BE49-F238E27FC236}">
                <a16:creationId xmlns:a16="http://schemas.microsoft.com/office/drawing/2014/main" id="{7E72E973-BA89-4FF3-A7D0-838610887D6C}"/>
              </a:ext>
            </a:extLst>
          </p:cNvPr>
          <p:cNvSpPr>
            <a:spLocks noGrp="1"/>
          </p:cNvSpPr>
          <p:nvPr>
            <p:ph type="body" sz="quarter" idx="16" hasCustomPrompt="1"/>
          </p:nvPr>
        </p:nvSpPr>
        <p:spPr>
          <a:xfrm>
            <a:off x="3000445"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4" name="Pladsholder til tekst 7">
            <a:extLst>
              <a:ext uri="{FF2B5EF4-FFF2-40B4-BE49-F238E27FC236}">
                <a16:creationId xmlns:a16="http://schemas.microsoft.com/office/drawing/2014/main" id="{B5662139-71C8-4EB9-853D-4F1BA72D92EB}"/>
              </a:ext>
            </a:extLst>
          </p:cNvPr>
          <p:cNvSpPr>
            <a:spLocks noGrp="1"/>
          </p:cNvSpPr>
          <p:nvPr>
            <p:ph type="body" sz="quarter" idx="17" hasCustomPrompt="1"/>
          </p:nvPr>
        </p:nvSpPr>
        <p:spPr>
          <a:xfrm>
            <a:off x="5184168"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5" name="Pladsholder til tekst 7">
            <a:extLst>
              <a:ext uri="{FF2B5EF4-FFF2-40B4-BE49-F238E27FC236}">
                <a16:creationId xmlns:a16="http://schemas.microsoft.com/office/drawing/2014/main" id="{ECE37A68-6D71-438F-B5E4-029C142A2814}"/>
              </a:ext>
            </a:extLst>
          </p:cNvPr>
          <p:cNvSpPr>
            <a:spLocks noGrp="1"/>
          </p:cNvSpPr>
          <p:nvPr>
            <p:ph type="body" sz="quarter" idx="18" hasCustomPrompt="1"/>
          </p:nvPr>
        </p:nvSpPr>
        <p:spPr>
          <a:xfrm>
            <a:off x="7367891"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6" name="Pladsholder til tekst 7">
            <a:extLst>
              <a:ext uri="{FF2B5EF4-FFF2-40B4-BE49-F238E27FC236}">
                <a16:creationId xmlns:a16="http://schemas.microsoft.com/office/drawing/2014/main" id="{E026825D-BF01-4798-B72D-C59A13CB40B9}"/>
              </a:ext>
            </a:extLst>
          </p:cNvPr>
          <p:cNvSpPr>
            <a:spLocks noGrp="1"/>
          </p:cNvSpPr>
          <p:nvPr>
            <p:ph type="body" sz="quarter" idx="19" hasCustomPrompt="1"/>
          </p:nvPr>
        </p:nvSpPr>
        <p:spPr>
          <a:xfrm>
            <a:off x="9551614"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7" name="Pladsholder til tekst 7">
            <a:extLst>
              <a:ext uri="{FF2B5EF4-FFF2-40B4-BE49-F238E27FC236}">
                <a16:creationId xmlns:a16="http://schemas.microsoft.com/office/drawing/2014/main" id="{5A05CAF3-FAB9-4BE7-8733-59F2B8466449}"/>
              </a:ext>
            </a:extLst>
          </p:cNvPr>
          <p:cNvSpPr>
            <a:spLocks noGrp="1"/>
          </p:cNvSpPr>
          <p:nvPr>
            <p:ph type="body" sz="quarter" idx="20" hasCustomPrompt="1"/>
          </p:nvPr>
        </p:nvSpPr>
        <p:spPr>
          <a:xfrm>
            <a:off x="816722"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8" name="Pladsholder til tekst 7">
            <a:extLst>
              <a:ext uri="{FF2B5EF4-FFF2-40B4-BE49-F238E27FC236}">
                <a16:creationId xmlns:a16="http://schemas.microsoft.com/office/drawing/2014/main" id="{3A3BF172-A391-4B06-BF86-A1119273DD36}"/>
              </a:ext>
            </a:extLst>
          </p:cNvPr>
          <p:cNvSpPr>
            <a:spLocks noGrp="1"/>
          </p:cNvSpPr>
          <p:nvPr>
            <p:ph type="body" sz="quarter" idx="21" hasCustomPrompt="1"/>
          </p:nvPr>
        </p:nvSpPr>
        <p:spPr>
          <a:xfrm>
            <a:off x="3000445"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9" name="Pladsholder til tekst 7">
            <a:extLst>
              <a:ext uri="{FF2B5EF4-FFF2-40B4-BE49-F238E27FC236}">
                <a16:creationId xmlns:a16="http://schemas.microsoft.com/office/drawing/2014/main" id="{44E1A53B-8BA5-4970-B034-F03F08B27AEE}"/>
              </a:ext>
            </a:extLst>
          </p:cNvPr>
          <p:cNvSpPr>
            <a:spLocks noGrp="1"/>
          </p:cNvSpPr>
          <p:nvPr>
            <p:ph type="body" sz="quarter" idx="22" hasCustomPrompt="1"/>
          </p:nvPr>
        </p:nvSpPr>
        <p:spPr>
          <a:xfrm>
            <a:off x="5184168"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70" name="Pladsholder til tekst 7">
            <a:extLst>
              <a:ext uri="{FF2B5EF4-FFF2-40B4-BE49-F238E27FC236}">
                <a16:creationId xmlns:a16="http://schemas.microsoft.com/office/drawing/2014/main" id="{11EF52BB-18D0-4605-82A9-74BCFD6484E1}"/>
              </a:ext>
            </a:extLst>
          </p:cNvPr>
          <p:cNvSpPr>
            <a:spLocks noGrp="1"/>
          </p:cNvSpPr>
          <p:nvPr>
            <p:ph type="body" sz="quarter" idx="23" hasCustomPrompt="1"/>
          </p:nvPr>
        </p:nvSpPr>
        <p:spPr>
          <a:xfrm>
            <a:off x="7367891"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71" name="Pladsholder til tekst 7">
            <a:extLst>
              <a:ext uri="{FF2B5EF4-FFF2-40B4-BE49-F238E27FC236}">
                <a16:creationId xmlns:a16="http://schemas.microsoft.com/office/drawing/2014/main" id="{5FCCE33B-8E73-4040-BAA2-A218D64DE4A5}"/>
              </a:ext>
            </a:extLst>
          </p:cNvPr>
          <p:cNvSpPr>
            <a:spLocks noGrp="1"/>
          </p:cNvSpPr>
          <p:nvPr>
            <p:ph type="body" sz="quarter" idx="24" hasCustomPrompt="1"/>
          </p:nvPr>
        </p:nvSpPr>
        <p:spPr>
          <a:xfrm>
            <a:off x="9551614"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36343132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965481"/>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626622"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3"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965481"/>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5" name="TextBox 47">
            <a:extLst>
              <a:ext uri="{FF2B5EF4-FFF2-40B4-BE49-F238E27FC236}">
                <a16:creationId xmlns:a16="http://schemas.microsoft.com/office/drawing/2014/main" id="{027C4D33-2640-430C-BF99-91BB07999D92}"/>
              </a:ext>
            </a:extLst>
          </p:cNvPr>
          <p:cNvSpPr txBox="1">
            <a:spLocks noChangeAspect="1"/>
          </p:cNvSpPr>
          <p:nvPr userDrawn="1"/>
        </p:nvSpPr>
        <p:spPr>
          <a:xfrm>
            <a:off x="3810345"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965481"/>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5" name="TextBox 47">
            <a:extLst>
              <a:ext uri="{FF2B5EF4-FFF2-40B4-BE49-F238E27FC236}">
                <a16:creationId xmlns:a16="http://schemas.microsoft.com/office/drawing/2014/main" id="{38997B43-2EFD-4CED-9846-95018BAF3AD9}"/>
              </a:ext>
            </a:extLst>
          </p:cNvPr>
          <p:cNvSpPr txBox="1">
            <a:spLocks noChangeAspect="1"/>
          </p:cNvSpPr>
          <p:nvPr userDrawn="1"/>
        </p:nvSpPr>
        <p:spPr>
          <a:xfrm>
            <a:off x="5994068"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965481"/>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5" name="TextBox 47">
            <a:extLst>
              <a:ext uri="{FF2B5EF4-FFF2-40B4-BE49-F238E27FC236}">
                <a16:creationId xmlns:a16="http://schemas.microsoft.com/office/drawing/2014/main" id="{977154AD-C86B-46A6-96B9-F43A71E10376}"/>
              </a:ext>
            </a:extLst>
          </p:cNvPr>
          <p:cNvSpPr txBox="1">
            <a:spLocks noChangeAspect="1"/>
          </p:cNvSpPr>
          <p:nvPr userDrawn="1"/>
        </p:nvSpPr>
        <p:spPr>
          <a:xfrm>
            <a:off x="8177791"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sp>
        <p:nvSpPr>
          <p:cNvPr id="151" name="Rektangel 150">
            <a:extLst>
              <a:ext uri="{FF2B5EF4-FFF2-40B4-BE49-F238E27FC236}">
                <a16:creationId xmlns:a16="http://schemas.microsoft.com/office/drawing/2014/main" id="{E8B75EEC-745C-4D4C-8BC3-896CD2D86AC4}"/>
              </a:ext>
            </a:extLst>
          </p:cNvPr>
          <p:cNvSpPr/>
          <p:nvPr userDrawn="1"/>
        </p:nvSpPr>
        <p:spPr>
          <a:xfrm>
            <a:off x="10109140"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0181889"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45" name="TextBox 47">
            <a:extLst>
              <a:ext uri="{FF2B5EF4-FFF2-40B4-BE49-F238E27FC236}">
                <a16:creationId xmlns:a16="http://schemas.microsoft.com/office/drawing/2014/main" id="{C2765928-A844-42F1-8E34-BAEF6C3E3D93}"/>
              </a:ext>
            </a:extLst>
          </p:cNvPr>
          <p:cNvSpPr txBox="1">
            <a:spLocks noChangeAspect="1"/>
          </p:cNvSpPr>
          <p:nvPr userDrawn="1"/>
        </p:nvSpPr>
        <p:spPr>
          <a:xfrm>
            <a:off x="10361514"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sp>
        <p:nvSpPr>
          <p:cNvPr id="45" name="Pladsholder til tekst 7">
            <a:extLst>
              <a:ext uri="{FF2B5EF4-FFF2-40B4-BE49-F238E27FC236}">
                <a16:creationId xmlns:a16="http://schemas.microsoft.com/office/drawing/2014/main" id="{FC384F8A-8913-4676-96CE-CD0CD647829D}"/>
              </a:ext>
            </a:extLst>
          </p:cNvPr>
          <p:cNvSpPr>
            <a:spLocks noGrp="1"/>
          </p:cNvSpPr>
          <p:nvPr>
            <p:ph type="body" sz="quarter" idx="10" hasCustomPrompt="1"/>
          </p:nvPr>
        </p:nvSpPr>
        <p:spPr>
          <a:xfrm>
            <a:off x="1446997"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6" name="Pladsholder til tekst 7">
            <a:extLst>
              <a:ext uri="{FF2B5EF4-FFF2-40B4-BE49-F238E27FC236}">
                <a16:creationId xmlns:a16="http://schemas.microsoft.com/office/drawing/2014/main" id="{50479298-BFAD-4088-9E1F-9E0D6BCED6D8}"/>
              </a:ext>
            </a:extLst>
          </p:cNvPr>
          <p:cNvSpPr>
            <a:spLocks noGrp="1"/>
          </p:cNvSpPr>
          <p:nvPr>
            <p:ph type="body" sz="quarter" idx="11" hasCustomPrompt="1"/>
          </p:nvPr>
        </p:nvSpPr>
        <p:spPr>
          <a:xfrm>
            <a:off x="3630720"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7" name="Pladsholder til tekst 7">
            <a:extLst>
              <a:ext uri="{FF2B5EF4-FFF2-40B4-BE49-F238E27FC236}">
                <a16:creationId xmlns:a16="http://schemas.microsoft.com/office/drawing/2014/main" id="{F37D62A5-9A70-43DC-9FB4-A322833BFBE3}"/>
              </a:ext>
            </a:extLst>
          </p:cNvPr>
          <p:cNvSpPr>
            <a:spLocks noGrp="1"/>
          </p:cNvSpPr>
          <p:nvPr>
            <p:ph type="body" sz="quarter" idx="12" hasCustomPrompt="1"/>
          </p:nvPr>
        </p:nvSpPr>
        <p:spPr>
          <a:xfrm>
            <a:off x="5814443"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8" name="Pladsholder til tekst 7">
            <a:extLst>
              <a:ext uri="{FF2B5EF4-FFF2-40B4-BE49-F238E27FC236}">
                <a16:creationId xmlns:a16="http://schemas.microsoft.com/office/drawing/2014/main" id="{E59909E4-8FA0-46C6-84E0-115F89CAF5CC}"/>
              </a:ext>
            </a:extLst>
          </p:cNvPr>
          <p:cNvSpPr>
            <a:spLocks noGrp="1"/>
          </p:cNvSpPr>
          <p:nvPr>
            <p:ph type="body" sz="quarter" idx="13" hasCustomPrompt="1"/>
          </p:nvPr>
        </p:nvSpPr>
        <p:spPr>
          <a:xfrm>
            <a:off x="7998166"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9" name="Pladsholder til tekst 7">
            <a:extLst>
              <a:ext uri="{FF2B5EF4-FFF2-40B4-BE49-F238E27FC236}">
                <a16:creationId xmlns:a16="http://schemas.microsoft.com/office/drawing/2014/main" id="{78521653-29EE-4728-85AA-E5712944C984}"/>
              </a:ext>
            </a:extLst>
          </p:cNvPr>
          <p:cNvSpPr>
            <a:spLocks noGrp="1"/>
          </p:cNvSpPr>
          <p:nvPr>
            <p:ph type="body" sz="quarter" idx="14" hasCustomPrompt="1"/>
          </p:nvPr>
        </p:nvSpPr>
        <p:spPr>
          <a:xfrm>
            <a:off x="10181889"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0" name="Pladsholder til tekst 7">
            <a:extLst>
              <a:ext uri="{FF2B5EF4-FFF2-40B4-BE49-F238E27FC236}">
                <a16:creationId xmlns:a16="http://schemas.microsoft.com/office/drawing/2014/main" id="{658415F1-7EA0-4D15-8877-3A8E9300E7F5}"/>
              </a:ext>
            </a:extLst>
          </p:cNvPr>
          <p:cNvSpPr>
            <a:spLocks noGrp="1"/>
          </p:cNvSpPr>
          <p:nvPr>
            <p:ph type="body" sz="quarter" idx="15" hasCustomPrompt="1"/>
          </p:nvPr>
        </p:nvSpPr>
        <p:spPr>
          <a:xfrm>
            <a:off x="816722"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1" name="Pladsholder til tekst 7">
            <a:extLst>
              <a:ext uri="{FF2B5EF4-FFF2-40B4-BE49-F238E27FC236}">
                <a16:creationId xmlns:a16="http://schemas.microsoft.com/office/drawing/2014/main" id="{41410F83-ECF2-4E75-B584-3DA2EAF56E3B}"/>
              </a:ext>
            </a:extLst>
          </p:cNvPr>
          <p:cNvSpPr>
            <a:spLocks noGrp="1"/>
          </p:cNvSpPr>
          <p:nvPr>
            <p:ph type="body" sz="quarter" idx="16" hasCustomPrompt="1"/>
          </p:nvPr>
        </p:nvSpPr>
        <p:spPr>
          <a:xfrm>
            <a:off x="3000445"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9A54AFD2-87F8-44B0-A142-E785F4EFAE67}"/>
              </a:ext>
            </a:extLst>
          </p:cNvPr>
          <p:cNvSpPr>
            <a:spLocks noGrp="1"/>
          </p:cNvSpPr>
          <p:nvPr>
            <p:ph type="body" sz="quarter" idx="17" hasCustomPrompt="1"/>
          </p:nvPr>
        </p:nvSpPr>
        <p:spPr>
          <a:xfrm>
            <a:off x="5184168"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9E6581A5-C275-43A6-A3DC-689B8D84B85A}"/>
              </a:ext>
            </a:extLst>
          </p:cNvPr>
          <p:cNvSpPr>
            <a:spLocks noGrp="1"/>
          </p:cNvSpPr>
          <p:nvPr>
            <p:ph type="body" sz="quarter" idx="18" hasCustomPrompt="1"/>
          </p:nvPr>
        </p:nvSpPr>
        <p:spPr>
          <a:xfrm>
            <a:off x="7367891"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8F1F3945-A3FB-48FD-B404-F63EC296E82D}"/>
              </a:ext>
            </a:extLst>
          </p:cNvPr>
          <p:cNvSpPr>
            <a:spLocks noGrp="1"/>
          </p:cNvSpPr>
          <p:nvPr>
            <p:ph type="body" sz="quarter" idx="19" hasCustomPrompt="1"/>
          </p:nvPr>
        </p:nvSpPr>
        <p:spPr>
          <a:xfrm>
            <a:off x="9551614"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9A24DF51-2ACB-408F-B996-80093BEF8D97}"/>
              </a:ext>
            </a:extLst>
          </p:cNvPr>
          <p:cNvSpPr>
            <a:spLocks noGrp="1"/>
          </p:cNvSpPr>
          <p:nvPr>
            <p:ph type="body" sz="quarter" idx="20" hasCustomPrompt="1"/>
          </p:nvPr>
        </p:nvSpPr>
        <p:spPr>
          <a:xfrm>
            <a:off x="816722"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6" name="Pladsholder til tekst 7">
            <a:extLst>
              <a:ext uri="{FF2B5EF4-FFF2-40B4-BE49-F238E27FC236}">
                <a16:creationId xmlns:a16="http://schemas.microsoft.com/office/drawing/2014/main" id="{2054AA2B-A473-44C5-9F92-5013B72F2DA9}"/>
              </a:ext>
            </a:extLst>
          </p:cNvPr>
          <p:cNvSpPr>
            <a:spLocks noGrp="1"/>
          </p:cNvSpPr>
          <p:nvPr>
            <p:ph type="body" sz="quarter" idx="21" hasCustomPrompt="1"/>
          </p:nvPr>
        </p:nvSpPr>
        <p:spPr>
          <a:xfrm>
            <a:off x="3000445"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7" name="Pladsholder til tekst 7">
            <a:extLst>
              <a:ext uri="{FF2B5EF4-FFF2-40B4-BE49-F238E27FC236}">
                <a16:creationId xmlns:a16="http://schemas.microsoft.com/office/drawing/2014/main" id="{589A1743-23F5-4FA4-930A-0101D126E838}"/>
              </a:ext>
            </a:extLst>
          </p:cNvPr>
          <p:cNvSpPr>
            <a:spLocks noGrp="1"/>
          </p:cNvSpPr>
          <p:nvPr>
            <p:ph type="body" sz="quarter" idx="22" hasCustomPrompt="1"/>
          </p:nvPr>
        </p:nvSpPr>
        <p:spPr>
          <a:xfrm>
            <a:off x="5184168"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8" name="Pladsholder til tekst 7">
            <a:extLst>
              <a:ext uri="{FF2B5EF4-FFF2-40B4-BE49-F238E27FC236}">
                <a16:creationId xmlns:a16="http://schemas.microsoft.com/office/drawing/2014/main" id="{1580BECD-5974-4E9E-ABB0-2E49BC36C3A2}"/>
              </a:ext>
            </a:extLst>
          </p:cNvPr>
          <p:cNvSpPr>
            <a:spLocks noGrp="1"/>
          </p:cNvSpPr>
          <p:nvPr>
            <p:ph type="body" sz="quarter" idx="23" hasCustomPrompt="1"/>
          </p:nvPr>
        </p:nvSpPr>
        <p:spPr>
          <a:xfrm>
            <a:off x="7367891"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9" name="Pladsholder til tekst 7">
            <a:extLst>
              <a:ext uri="{FF2B5EF4-FFF2-40B4-BE49-F238E27FC236}">
                <a16:creationId xmlns:a16="http://schemas.microsoft.com/office/drawing/2014/main" id="{1E77FF20-D70F-4D5B-AA0E-F95C84496228}"/>
              </a:ext>
            </a:extLst>
          </p:cNvPr>
          <p:cNvSpPr>
            <a:spLocks noGrp="1"/>
          </p:cNvSpPr>
          <p:nvPr>
            <p:ph type="body" sz="quarter" idx="24" hasCustomPrompt="1"/>
          </p:nvPr>
        </p:nvSpPr>
        <p:spPr>
          <a:xfrm>
            <a:off x="9551614"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1424979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678609"/>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3"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678609"/>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678609"/>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678609"/>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44" name="Gruppe 143">
            <a:extLst>
              <a:ext uri="{FF2B5EF4-FFF2-40B4-BE49-F238E27FC236}">
                <a16:creationId xmlns:a16="http://schemas.microsoft.com/office/drawing/2014/main" id="{FC8A441D-919D-4AF0-9796-51FFAD9F82D8}"/>
              </a:ext>
            </a:extLst>
          </p:cNvPr>
          <p:cNvGrpSpPr/>
          <p:nvPr userDrawn="1"/>
        </p:nvGrpSpPr>
        <p:grpSpPr>
          <a:xfrm>
            <a:off x="10109140" y="1678609"/>
            <a:ext cx="720749" cy="715643"/>
            <a:chOff x="1380471" y="2539224"/>
            <a:chExt cx="720749" cy="715643"/>
          </a:xfrm>
        </p:grpSpPr>
        <p:sp>
          <p:nvSpPr>
            <p:cNvPr id="151" name="Rektangel 150">
              <a:extLst>
                <a:ext uri="{FF2B5EF4-FFF2-40B4-BE49-F238E27FC236}">
                  <a16:creationId xmlns:a16="http://schemas.microsoft.com/office/drawing/2014/main" id="{E8B75EEC-745C-4D4C-8BC3-896CD2D86AC4}"/>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cxnSp>
        <p:nvCxnSpPr>
          <p:cNvPr id="56" name="Lige forbindelse 55">
            <a:extLst>
              <a:ext uri="{FF2B5EF4-FFF2-40B4-BE49-F238E27FC236}">
                <a16:creationId xmlns:a16="http://schemas.microsoft.com/office/drawing/2014/main" id="{ABAD6483-8063-41B6-9650-9B7CA57A9CCF}"/>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47">
            <a:extLst>
              <a:ext uri="{FF2B5EF4-FFF2-40B4-BE49-F238E27FC236}">
                <a16:creationId xmlns:a16="http://schemas.microsoft.com/office/drawing/2014/main" id="{495541D9-5EAC-433D-AD60-45E81D3D070C}"/>
              </a:ext>
            </a:extLst>
          </p:cNvPr>
          <p:cNvSpPr txBox="1">
            <a:spLocks noChangeAspect="1"/>
          </p:cNvSpPr>
          <p:nvPr userDrawn="1"/>
        </p:nvSpPr>
        <p:spPr>
          <a:xfrm>
            <a:off x="1626622"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8" name="TextBox 47">
            <a:extLst>
              <a:ext uri="{FF2B5EF4-FFF2-40B4-BE49-F238E27FC236}">
                <a16:creationId xmlns:a16="http://schemas.microsoft.com/office/drawing/2014/main" id="{33C22E5A-43E8-4995-AEF4-587D1C1FC8B8}"/>
              </a:ext>
            </a:extLst>
          </p:cNvPr>
          <p:cNvSpPr txBox="1">
            <a:spLocks noChangeAspect="1"/>
          </p:cNvSpPr>
          <p:nvPr userDrawn="1"/>
        </p:nvSpPr>
        <p:spPr>
          <a:xfrm>
            <a:off x="3810345"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9" name="TextBox 47">
            <a:extLst>
              <a:ext uri="{FF2B5EF4-FFF2-40B4-BE49-F238E27FC236}">
                <a16:creationId xmlns:a16="http://schemas.microsoft.com/office/drawing/2014/main" id="{D39A2E45-2491-4E1C-B1FB-A51E6DCD97DC}"/>
              </a:ext>
            </a:extLst>
          </p:cNvPr>
          <p:cNvSpPr txBox="1">
            <a:spLocks noChangeAspect="1"/>
          </p:cNvSpPr>
          <p:nvPr userDrawn="1"/>
        </p:nvSpPr>
        <p:spPr>
          <a:xfrm>
            <a:off x="5994068"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0" name="TextBox 47">
            <a:extLst>
              <a:ext uri="{FF2B5EF4-FFF2-40B4-BE49-F238E27FC236}">
                <a16:creationId xmlns:a16="http://schemas.microsoft.com/office/drawing/2014/main" id="{D829223F-7CE0-4262-AE5F-DEF936C74485}"/>
              </a:ext>
            </a:extLst>
          </p:cNvPr>
          <p:cNvSpPr txBox="1">
            <a:spLocks noChangeAspect="1"/>
          </p:cNvSpPr>
          <p:nvPr userDrawn="1"/>
        </p:nvSpPr>
        <p:spPr>
          <a:xfrm>
            <a:off x="8177791"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1" name="TextBox 47">
            <a:extLst>
              <a:ext uri="{FF2B5EF4-FFF2-40B4-BE49-F238E27FC236}">
                <a16:creationId xmlns:a16="http://schemas.microsoft.com/office/drawing/2014/main" id="{3533FA23-C20C-42F9-98D0-EB1B60BD217B}"/>
              </a:ext>
            </a:extLst>
          </p:cNvPr>
          <p:cNvSpPr txBox="1">
            <a:spLocks noChangeAspect="1"/>
          </p:cNvSpPr>
          <p:nvPr userDrawn="1"/>
        </p:nvSpPr>
        <p:spPr>
          <a:xfrm>
            <a:off x="10361514"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6" name="Pladsholder til tekst 7">
            <a:extLst>
              <a:ext uri="{FF2B5EF4-FFF2-40B4-BE49-F238E27FC236}">
                <a16:creationId xmlns:a16="http://schemas.microsoft.com/office/drawing/2014/main" id="{6A49EB85-724B-4981-8AA3-A32383786DF7}"/>
              </a:ext>
            </a:extLst>
          </p:cNvPr>
          <p:cNvSpPr>
            <a:spLocks noGrp="1"/>
          </p:cNvSpPr>
          <p:nvPr>
            <p:ph type="body" sz="quarter" idx="10" hasCustomPrompt="1"/>
          </p:nvPr>
        </p:nvSpPr>
        <p:spPr>
          <a:xfrm>
            <a:off x="1446997"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7" name="Pladsholder til tekst 7">
            <a:extLst>
              <a:ext uri="{FF2B5EF4-FFF2-40B4-BE49-F238E27FC236}">
                <a16:creationId xmlns:a16="http://schemas.microsoft.com/office/drawing/2014/main" id="{74ACA55F-EBB1-4A53-999C-3D4C3C5C82FF}"/>
              </a:ext>
            </a:extLst>
          </p:cNvPr>
          <p:cNvSpPr>
            <a:spLocks noGrp="1"/>
          </p:cNvSpPr>
          <p:nvPr>
            <p:ph type="body" sz="quarter" idx="11" hasCustomPrompt="1"/>
          </p:nvPr>
        </p:nvSpPr>
        <p:spPr>
          <a:xfrm>
            <a:off x="3630720"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8" name="Pladsholder til tekst 7">
            <a:extLst>
              <a:ext uri="{FF2B5EF4-FFF2-40B4-BE49-F238E27FC236}">
                <a16:creationId xmlns:a16="http://schemas.microsoft.com/office/drawing/2014/main" id="{145EAA9E-CC3A-4954-9CD9-679DEAD1059F}"/>
              </a:ext>
            </a:extLst>
          </p:cNvPr>
          <p:cNvSpPr>
            <a:spLocks noGrp="1"/>
          </p:cNvSpPr>
          <p:nvPr>
            <p:ph type="body" sz="quarter" idx="12" hasCustomPrompt="1"/>
          </p:nvPr>
        </p:nvSpPr>
        <p:spPr>
          <a:xfrm>
            <a:off x="5814443"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9" name="Pladsholder til tekst 7">
            <a:extLst>
              <a:ext uri="{FF2B5EF4-FFF2-40B4-BE49-F238E27FC236}">
                <a16:creationId xmlns:a16="http://schemas.microsoft.com/office/drawing/2014/main" id="{1AA40DAB-4BAA-4CB8-96B2-D7B58C10EB29}"/>
              </a:ext>
            </a:extLst>
          </p:cNvPr>
          <p:cNvSpPr>
            <a:spLocks noGrp="1"/>
          </p:cNvSpPr>
          <p:nvPr>
            <p:ph type="body" sz="quarter" idx="13" hasCustomPrompt="1"/>
          </p:nvPr>
        </p:nvSpPr>
        <p:spPr>
          <a:xfrm>
            <a:off x="7998166"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50" name="Pladsholder til tekst 7">
            <a:extLst>
              <a:ext uri="{FF2B5EF4-FFF2-40B4-BE49-F238E27FC236}">
                <a16:creationId xmlns:a16="http://schemas.microsoft.com/office/drawing/2014/main" id="{ABA422C2-2845-40F1-A7F4-FBC776C2300F}"/>
              </a:ext>
            </a:extLst>
          </p:cNvPr>
          <p:cNvSpPr>
            <a:spLocks noGrp="1"/>
          </p:cNvSpPr>
          <p:nvPr>
            <p:ph type="body" sz="quarter" idx="14" hasCustomPrompt="1"/>
          </p:nvPr>
        </p:nvSpPr>
        <p:spPr>
          <a:xfrm>
            <a:off x="10181889"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1" name="Pladsholder til tekst 7">
            <a:extLst>
              <a:ext uri="{FF2B5EF4-FFF2-40B4-BE49-F238E27FC236}">
                <a16:creationId xmlns:a16="http://schemas.microsoft.com/office/drawing/2014/main" id="{409D7CB4-3C90-4CB5-A7A4-830370864A7D}"/>
              </a:ext>
            </a:extLst>
          </p:cNvPr>
          <p:cNvSpPr>
            <a:spLocks noGrp="1"/>
          </p:cNvSpPr>
          <p:nvPr>
            <p:ph type="body" sz="quarter" idx="15" hasCustomPrompt="1"/>
          </p:nvPr>
        </p:nvSpPr>
        <p:spPr>
          <a:xfrm>
            <a:off x="816722"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4381D52C-7149-4627-969A-140D499D07E7}"/>
              </a:ext>
            </a:extLst>
          </p:cNvPr>
          <p:cNvSpPr>
            <a:spLocks noGrp="1"/>
          </p:cNvSpPr>
          <p:nvPr>
            <p:ph type="body" sz="quarter" idx="16" hasCustomPrompt="1"/>
          </p:nvPr>
        </p:nvSpPr>
        <p:spPr>
          <a:xfrm>
            <a:off x="3000445"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04A2C742-0564-483B-9F8A-B1CC4F458DD7}"/>
              </a:ext>
            </a:extLst>
          </p:cNvPr>
          <p:cNvSpPr>
            <a:spLocks noGrp="1"/>
          </p:cNvSpPr>
          <p:nvPr>
            <p:ph type="body" sz="quarter" idx="17" hasCustomPrompt="1"/>
          </p:nvPr>
        </p:nvSpPr>
        <p:spPr>
          <a:xfrm>
            <a:off x="5184168"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B39E72AF-C1DE-4885-9A34-57266333381B}"/>
              </a:ext>
            </a:extLst>
          </p:cNvPr>
          <p:cNvSpPr>
            <a:spLocks noGrp="1"/>
          </p:cNvSpPr>
          <p:nvPr>
            <p:ph type="body" sz="quarter" idx="18" hasCustomPrompt="1"/>
          </p:nvPr>
        </p:nvSpPr>
        <p:spPr>
          <a:xfrm>
            <a:off x="7367891"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D73CB851-B68B-4FE9-8D82-555C75F361BB}"/>
              </a:ext>
            </a:extLst>
          </p:cNvPr>
          <p:cNvSpPr>
            <a:spLocks noGrp="1"/>
          </p:cNvSpPr>
          <p:nvPr>
            <p:ph type="body" sz="quarter" idx="19" hasCustomPrompt="1"/>
          </p:nvPr>
        </p:nvSpPr>
        <p:spPr>
          <a:xfrm>
            <a:off x="9551614"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2" name="Pladsholder til tekst 7">
            <a:extLst>
              <a:ext uri="{FF2B5EF4-FFF2-40B4-BE49-F238E27FC236}">
                <a16:creationId xmlns:a16="http://schemas.microsoft.com/office/drawing/2014/main" id="{2AEE3704-DDD3-4309-AA39-4623D27E78EB}"/>
              </a:ext>
            </a:extLst>
          </p:cNvPr>
          <p:cNvSpPr>
            <a:spLocks noGrp="1"/>
          </p:cNvSpPr>
          <p:nvPr>
            <p:ph type="body" sz="quarter" idx="20" hasCustomPrompt="1"/>
          </p:nvPr>
        </p:nvSpPr>
        <p:spPr>
          <a:xfrm>
            <a:off x="816722"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3" name="Pladsholder til tekst 7">
            <a:extLst>
              <a:ext uri="{FF2B5EF4-FFF2-40B4-BE49-F238E27FC236}">
                <a16:creationId xmlns:a16="http://schemas.microsoft.com/office/drawing/2014/main" id="{C5D13959-5975-4770-B374-3A0338C68497}"/>
              </a:ext>
            </a:extLst>
          </p:cNvPr>
          <p:cNvSpPr>
            <a:spLocks noGrp="1"/>
          </p:cNvSpPr>
          <p:nvPr>
            <p:ph type="body" sz="quarter" idx="21" hasCustomPrompt="1"/>
          </p:nvPr>
        </p:nvSpPr>
        <p:spPr>
          <a:xfrm>
            <a:off x="3000445"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4" name="Pladsholder til tekst 7">
            <a:extLst>
              <a:ext uri="{FF2B5EF4-FFF2-40B4-BE49-F238E27FC236}">
                <a16:creationId xmlns:a16="http://schemas.microsoft.com/office/drawing/2014/main" id="{E6BE6E3F-79D3-4B8E-B1CB-1864E420E30B}"/>
              </a:ext>
            </a:extLst>
          </p:cNvPr>
          <p:cNvSpPr>
            <a:spLocks noGrp="1"/>
          </p:cNvSpPr>
          <p:nvPr>
            <p:ph type="body" sz="quarter" idx="22" hasCustomPrompt="1"/>
          </p:nvPr>
        </p:nvSpPr>
        <p:spPr>
          <a:xfrm>
            <a:off x="5184168"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5" name="Pladsholder til tekst 7">
            <a:extLst>
              <a:ext uri="{FF2B5EF4-FFF2-40B4-BE49-F238E27FC236}">
                <a16:creationId xmlns:a16="http://schemas.microsoft.com/office/drawing/2014/main" id="{72B50563-F5C9-4341-A5CA-13BD0E7B0176}"/>
              </a:ext>
            </a:extLst>
          </p:cNvPr>
          <p:cNvSpPr>
            <a:spLocks noGrp="1"/>
          </p:cNvSpPr>
          <p:nvPr>
            <p:ph type="body" sz="quarter" idx="23" hasCustomPrompt="1"/>
          </p:nvPr>
        </p:nvSpPr>
        <p:spPr>
          <a:xfrm>
            <a:off x="7367891"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6" name="Pladsholder til tekst 7">
            <a:extLst>
              <a:ext uri="{FF2B5EF4-FFF2-40B4-BE49-F238E27FC236}">
                <a16:creationId xmlns:a16="http://schemas.microsoft.com/office/drawing/2014/main" id="{8AFE0861-1CC7-4058-B014-CDFC824334B6}"/>
              </a:ext>
            </a:extLst>
          </p:cNvPr>
          <p:cNvSpPr>
            <a:spLocks noGrp="1"/>
          </p:cNvSpPr>
          <p:nvPr>
            <p:ph type="body" sz="quarter" idx="24" hasCustomPrompt="1"/>
          </p:nvPr>
        </p:nvSpPr>
        <p:spPr>
          <a:xfrm>
            <a:off x="9551614"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2644877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678609"/>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3"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678609"/>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678609"/>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678609"/>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44" name="Gruppe 143">
            <a:extLst>
              <a:ext uri="{FF2B5EF4-FFF2-40B4-BE49-F238E27FC236}">
                <a16:creationId xmlns:a16="http://schemas.microsoft.com/office/drawing/2014/main" id="{FC8A441D-919D-4AF0-9796-51FFAD9F82D8}"/>
              </a:ext>
            </a:extLst>
          </p:cNvPr>
          <p:cNvGrpSpPr/>
          <p:nvPr userDrawn="1"/>
        </p:nvGrpSpPr>
        <p:grpSpPr>
          <a:xfrm>
            <a:off x="10109140" y="1678609"/>
            <a:ext cx="720749" cy="715643"/>
            <a:chOff x="1380471" y="2539224"/>
            <a:chExt cx="720749" cy="715643"/>
          </a:xfrm>
        </p:grpSpPr>
        <p:sp>
          <p:nvSpPr>
            <p:cNvPr id="151" name="Rektangel 150">
              <a:extLst>
                <a:ext uri="{FF2B5EF4-FFF2-40B4-BE49-F238E27FC236}">
                  <a16:creationId xmlns:a16="http://schemas.microsoft.com/office/drawing/2014/main" id="{E8B75EEC-745C-4D4C-8BC3-896CD2D86AC4}"/>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cxnSp>
        <p:nvCxnSpPr>
          <p:cNvPr id="56" name="Lige forbindelse 55">
            <a:extLst>
              <a:ext uri="{FF2B5EF4-FFF2-40B4-BE49-F238E27FC236}">
                <a16:creationId xmlns:a16="http://schemas.microsoft.com/office/drawing/2014/main" id="{ABAD6483-8063-41B6-9650-9B7CA57A9CCF}"/>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47">
            <a:extLst>
              <a:ext uri="{FF2B5EF4-FFF2-40B4-BE49-F238E27FC236}">
                <a16:creationId xmlns:a16="http://schemas.microsoft.com/office/drawing/2014/main" id="{495541D9-5EAC-433D-AD60-45E81D3D070C}"/>
              </a:ext>
            </a:extLst>
          </p:cNvPr>
          <p:cNvSpPr txBox="1">
            <a:spLocks noChangeAspect="1"/>
          </p:cNvSpPr>
          <p:nvPr userDrawn="1"/>
        </p:nvSpPr>
        <p:spPr>
          <a:xfrm>
            <a:off x="1626622"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8" name="TextBox 47">
            <a:extLst>
              <a:ext uri="{FF2B5EF4-FFF2-40B4-BE49-F238E27FC236}">
                <a16:creationId xmlns:a16="http://schemas.microsoft.com/office/drawing/2014/main" id="{33C22E5A-43E8-4995-AEF4-587D1C1FC8B8}"/>
              </a:ext>
            </a:extLst>
          </p:cNvPr>
          <p:cNvSpPr txBox="1">
            <a:spLocks noChangeAspect="1"/>
          </p:cNvSpPr>
          <p:nvPr userDrawn="1"/>
        </p:nvSpPr>
        <p:spPr>
          <a:xfrm>
            <a:off x="3810345"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9" name="TextBox 47">
            <a:extLst>
              <a:ext uri="{FF2B5EF4-FFF2-40B4-BE49-F238E27FC236}">
                <a16:creationId xmlns:a16="http://schemas.microsoft.com/office/drawing/2014/main" id="{D39A2E45-2491-4E1C-B1FB-A51E6DCD97DC}"/>
              </a:ext>
            </a:extLst>
          </p:cNvPr>
          <p:cNvSpPr txBox="1">
            <a:spLocks noChangeAspect="1"/>
          </p:cNvSpPr>
          <p:nvPr userDrawn="1"/>
        </p:nvSpPr>
        <p:spPr>
          <a:xfrm>
            <a:off x="5994068"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0" name="TextBox 47">
            <a:extLst>
              <a:ext uri="{FF2B5EF4-FFF2-40B4-BE49-F238E27FC236}">
                <a16:creationId xmlns:a16="http://schemas.microsoft.com/office/drawing/2014/main" id="{D829223F-7CE0-4262-AE5F-DEF936C74485}"/>
              </a:ext>
            </a:extLst>
          </p:cNvPr>
          <p:cNvSpPr txBox="1">
            <a:spLocks noChangeAspect="1"/>
          </p:cNvSpPr>
          <p:nvPr userDrawn="1"/>
        </p:nvSpPr>
        <p:spPr>
          <a:xfrm>
            <a:off x="8177791"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1" name="TextBox 47">
            <a:extLst>
              <a:ext uri="{FF2B5EF4-FFF2-40B4-BE49-F238E27FC236}">
                <a16:creationId xmlns:a16="http://schemas.microsoft.com/office/drawing/2014/main" id="{3533FA23-C20C-42F9-98D0-EB1B60BD217B}"/>
              </a:ext>
            </a:extLst>
          </p:cNvPr>
          <p:cNvSpPr txBox="1">
            <a:spLocks noChangeAspect="1"/>
          </p:cNvSpPr>
          <p:nvPr userDrawn="1"/>
        </p:nvSpPr>
        <p:spPr>
          <a:xfrm>
            <a:off x="10361514"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6" name="Pladsholder til tekst 7">
            <a:extLst>
              <a:ext uri="{FF2B5EF4-FFF2-40B4-BE49-F238E27FC236}">
                <a16:creationId xmlns:a16="http://schemas.microsoft.com/office/drawing/2014/main" id="{F095C2A5-17AB-453C-B1AE-D3F281806C30}"/>
              </a:ext>
            </a:extLst>
          </p:cNvPr>
          <p:cNvSpPr>
            <a:spLocks noGrp="1"/>
          </p:cNvSpPr>
          <p:nvPr>
            <p:ph type="body" sz="quarter" idx="10" hasCustomPrompt="1"/>
          </p:nvPr>
        </p:nvSpPr>
        <p:spPr>
          <a:xfrm>
            <a:off x="1446997"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7" name="Pladsholder til tekst 7">
            <a:extLst>
              <a:ext uri="{FF2B5EF4-FFF2-40B4-BE49-F238E27FC236}">
                <a16:creationId xmlns:a16="http://schemas.microsoft.com/office/drawing/2014/main" id="{FDCF7A4E-AC69-4A35-B765-4388CA18F9B1}"/>
              </a:ext>
            </a:extLst>
          </p:cNvPr>
          <p:cNvSpPr>
            <a:spLocks noGrp="1"/>
          </p:cNvSpPr>
          <p:nvPr>
            <p:ph type="body" sz="quarter" idx="11" hasCustomPrompt="1"/>
          </p:nvPr>
        </p:nvSpPr>
        <p:spPr>
          <a:xfrm>
            <a:off x="3630720"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8" name="Pladsholder til tekst 7">
            <a:extLst>
              <a:ext uri="{FF2B5EF4-FFF2-40B4-BE49-F238E27FC236}">
                <a16:creationId xmlns:a16="http://schemas.microsoft.com/office/drawing/2014/main" id="{DBFF8424-5CE7-4E76-B0EE-67D2E5B1CB18}"/>
              </a:ext>
            </a:extLst>
          </p:cNvPr>
          <p:cNvSpPr>
            <a:spLocks noGrp="1"/>
          </p:cNvSpPr>
          <p:nvPr>
            <p:ph type="body" sz="quarter" idx="12" hasCustomPrompt="1"/>
          </p:nvPr>
        </p:nvSpPr>
        <p:spPr>
          <a:xfrm>
            <a:off x="5814443"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9" name="Pladsholder til tekst 7">
            <a:extLst>
              <a:ext uri="{FF2B5EF4-FFF2-40B4-BE49-F238E27FC236}">
                <a16:creationId xmlns:a16="http://schemas.microsoft.com/office/drawing/2014/main" id="{F9B67927-03BE-4C61-9062-A3453249EC0F}"/>
              </a:ext>
            </a:extLst>
          </p:cNvPr>
          <p:cNvSpPr>
            <a:spLocks noGrp="1"/>
          </p:cNvSpPr>
          <p:nvPr>
            <p:ph type="body" sz="quarter" idx="13" hasCustomPrompt="1"/>
          </p:nvPr>
        </p:nvSpPr>
        <p:spPr>
          <a:xfrm>
            <a:off x="7998166"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50" name="Pladsholder til tekst 7">
            <a:extLst>
              <a:ext uri="{FF2B5EF4-FFF2-40B4-BE49-F238E27FC236}">
                <a16:creationId xmlns:a16="http://schemas.microsoft.com/office/drawing/2014/main" id="{286ACE06-EEFE-4047-8914-8916B384F23F}"/>
              </a:ext>
            </a:extLst>
          </p:cNvPr>
          <p:cNvSpPr>
            <a:spLocks noGrp="1"/>
          </p:cNvSpPr>
          <p:nvPr>
            <p:ph type="body" sz="quarter" idx="14" hasCustomPrompt="1"/>
          </p:nvPr>
        </p:nvSpPr>
        <p:spPr>
          <a:xfrm>
            <a:off x="10181889"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1" name="Pladsholder til tekst 7">
            <a:extLst>
              <a:ext uri="{FF2B5EF4-FFF2-40B4-BE49-F238E27FC236}">
                <a16:creationId xmlns:a16="http://schemas.microsoft.com/office/drawing/2014/main" id="{94C252FC-817E-4B4F-80BF-BA09D4206C27}"/>
              </a:ext>
            </a:extLst>
          </p:cNvPr>
          <p:cNvSpPr>
            <a:spLocks noGrp="1"/>
          </p:cNvSpPr>
          <p:nvPr>
            <p:ph type="body" sz="quarter" idx="15" hasCustomPrompt="1"/>
          </p:nvPr>
        </p:nvSpPr>
        <p:spPr>
          <a:xfrm>
            <a:off x="816722"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2BB63008-4A14-45A3-9E36-13F0B4BE6FFF}"/>
              </a:ext>
            </a:extLst>
          </p:cNvPr>
          <p:cNvSpPr>
            <a:spLocks noGrp="1"/>
          </p:cNvSpPr>
          <p:nvPr>
            <p:ph type="body" sz="quarter" idx="16" hasCustomPrompt="1"/>
          </p:nvPr>
        </p:nvSpPr>
        <p:spPr>
          <a:xfrm>
            <a:off x="3000445"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01A063BB-832E-43C5-AC61-5FFBE123D166}"/>
              </a:ext>
            </a:extLst>
          </p:cNvPr>
          <p:cNvSpPr>
            <a:spLocks noGrp="1"/>
          </p:cNvSpPr>
          <p:nvPr>
            <p:ph type="body" sz="quarter" idx="17" hasCustomPrompt="1"/>
          </p:nvPr>
        </p:nvSpPr>
        <p:spPr>
          <a:xfrm>
            <a:off x="5184168"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A71E00A5-D4A4-484E-92F4-EDAB661DAD4C}"/>
              </a:ext>
            </a:extLst>
          </p:cNvPr>
          <p:cNvSpPr>
            <a:spLocks noGrp="1"/>
          </p:cNvSpPr>
          <p:nvPr>
            <p:ph type="body" sz="quarter" idx="18" hasCustomPrompt="1"/>
          </p:nvPr>
        </p:nvSpPr>
        <p:spPr>
          <a:xfrm>
            <a:off x="7367891"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538F311C-98A4-4F2C-AF71-C33EE6340849}"/>
              </a:ext>
            </a:extLst>
          </p:cNvPr>
          <p:cNvSpPr>
            <a:spLocks noGrp="1"/>
          </p:cNvSpPr>
          <p:nvPr>
            <p:ph type="body" sz="quarter" idx="19" hasCustomPrompt="1"/>
          </p:nvPr>
        </p:nvSpPr>
        <p:spPr>
          <a:xfrm>
            <a:off x="9551614"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2" name="Pladsholder til tekst 7">
            <a:extLst>
              <a:ext uri="{FF2B5EF4-FFF2-40B4-BE49-F238E27FC236}">
                <a16:creationId xmlns:a16="http://schemas.microsoft.com/office/drawing/2014/main" id="{369508DD-16DB-432E-B375-755DF4577FC0}"/>
              </a:ext>
            </a:extLst>
          </p:cNvPr>
          <p:cNvSpPr>
            <a:spLocks noGrp="1"/>
          </p:cNvSpPr>
          <p:nvPr>
            <p:ph type="body" sz="quarter" idx="20" hasCustomPrompt="1"/>
          </p:nvPr>
        </p:nvSpPr>
        <p:spPr>
          <a:xfrm>
            <a:off x="816722"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3" name="Pladsholder til tekst 7">
            <a:extLst>
              <a:ext uri="{FF2B5EF4-FFF2-40B4-BE49-F238E27FC236}">
                <a16:creationId xmlns:a16="http://schemas.microsoft.com/office/drawing/2014/main" id="{D9552617-95F8-4B4C-962D-EA0FC8D6C3AF}"/>
              </a:ext>
            </a:extLst>
          </p:cNvPr>
          <p:cNvSpPr>
            <a:spLocks noGrp="1"/>
          </p:cNvSpPr>
          <p:nvPr>
            <p:ph type="body" sz="quarter" idx="21" hasCustomPrompt="1"/>
          </p:nvPr>
        </p:nvSpPr>
        <p:spPr>
          <a:xfrm>
            <a:off x="3000445"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4" name="Pladsholder til tekst 7">
            <a:extLst>
              <a:ext uri="{FF2B5EF4-FFF2-40B4-BE49-F238E27FC236}">
                <a16:creationId xmlns:a16="http://schemas.microsoft.com/office/drawing/2014/main" id="{FD8EE1F3-D652-49CD-B975-5994ECC07D12}"/>
              </a:ext>
            </a:extLst>
          </p:cNvPr>
          <p:cNvSpPr>
            <a:spLocks noGrp="1"/>
          </p:cNvSpPr>
          <p:nvPr>
            <p:ph type="body" sz="quarter" idx="22" hasCustomPrompt="1"/>
          </p:nvPr>
        </p:nvSpPr>
        <p:spPr>
          <a:xfrm>
            <a:off x="5184168"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5" name="Pladsholder til tekst 7">
            <a:extLst>
              <a:ext uri="{FF2B5EF4-FFF2-40B4-BE49-F238E27FC236}">
                <a16:creationId xmlns:a16="http://schemas.microsoft.com/office/drawing/2014/main" id="{02BBCD97-01E4-46C5-B56F-DF1C8E0B73B9}"/>
              </a:ext>
            </a:extLst>
          </p:cNvPr>
          <p:cNvSpPr>
            <a:spLocks noGrp="1"/>
          </p:cNvSpPr>
          <p:nvPr>
            <p:ph type="body" sz="quarter" idx="23" hasCustomPrompt="1"/>
          </p:nvPr>
        </p:nvSpPr>
        <p:spPr>
          <a:xfrm>
            <a:off x="7367891"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6" name="Pladsholder til tekst 7">
            <a:extLst>
              <a:ext uri="{FF2B5EF4-FFF2-40B4-BE49-F238E27FC236}">
                <a16:creationId xmlns:a16="http://schemas.microsoft.com/office/drawing/2014/main" id="{712092F0-5115-4F9A-A21D-F25224BBE43A}"/>
              </a:ext>
            </a:extLst>
          </p:cNvPr>
          <p:cNvSpPr>
            <a:spLocks noGrp="1"/>
          </p:cNvSpPr>
          <p:nvPr>
            <p:ph type="body" sz="quarter" idx="24" hasCustomPrompt="1"/>
          </p:nvPr>
        </p:nvSpPr>
        <p:spPr>
          <a:xfrm>
            <a:off x="9551614"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24964476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oces -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41" name="Lige forbindelse 40">
            <a:extLst>
              <a:ext uri="{FF2B5EF4-FFF2-40B4-BE49-F238E27FC236}">
                <a16:creationId xmlns:a16="http://schemas.microsoft.com/office/drawing/2014/main" id="{49209ADC-5A0C-4147-B7A6-2509C72D56A0}"/>
              </a:ext>
            </a:extLst>
          </p:cNvPr>
          <p:cNvCxnSpPr>
            <a:cxnSpLocks/>
          </p:cNvCxnSpPr>
          <p:nvPr userDrawn="1"/>
        </p:nvCxnSpPr>
        <p:spPr>
          <a:xfrm>
            <a:off x="5132389" y="2518129"/>
            <a:ext cx="5688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0" name="Lige forbindelse 49">
            <a:extLst>
              <a:ext uri="{FF2B5EF4-FFF2-40B4-BE49-F238E27FC236}">
                <a16:creationId xmlns:a16="http://schemas.microsoft.com/office/drawing/2014/main" id="{190A30AA-3B44-46A0-B19A-086DB78B652D}"/>
              </a:ext>
            </a:extLst>
          </p:cNvPr>
          <p:cNvCxnSpPr>
            <a:cxnSpLocks/>
          </p:cNvCxnSpPr>
          <p:nvPr userDrawn="1"/>
        </p:nvCxnSpPr>
        <p:spPr>
          <a:xfrm flipV="1">
            <a:off x="4424485" y="3926242"/>
            <a:ext cx="6408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Bue 50">
            <a:extLst>
              <a:ext uri="{FF2B5EF4-FFF2-40B4-BE49-F238E27FC236}">
                <a16:creationId xmlns:a16="http://schemas.microsoft.com/office/drawing/2014/main" id="{E2AC187E-01BE-4228-BAD4-F37EF90CA05B}"/>
              </a:ext>
            </a:extLst>
          </p:cNvPr>
          <p:cNvSpPr>
            <a:spLocks noChangeAspect="1"/>
          </p:cNvSpPr>
          <p:nvPr userDrawn="1"/>
        </p:nvSpPr>
        <p:spPr>
          <a:xfrm>
            <a:off x="10188927" y="2518129"/>
            <a:ext cx="1260000" cy="1416822"/>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2" name="Bue 51">
            <a:extLst>
              <a:ext uri="{FF2B5EF4-FFF2-40B4-BE49-F238E27FC236}">
                <a16:creationId xmlns:a16="http://schemas.microsoft.com/office/drawing/2014/main" id="{57888D71-3067-4010-AA45-FDA68C499ACF}"/>
              </a:ext>
            </a:extLst>
          </p:cNvPr>
          <p:cNvSpPr>
            <a:spLocks noChangeAspect="1"/>
          </p:cNvSpPr>
          <p:nvPr userDrawn="1"/>
        </p:nvSpPr>
        <p:spPr>
          <a:xfrm flipV="1">
            <a:off x="10188924" y="2513073"/>
            <a:ext cx="1260000" cy="1416822"/>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p>
        </p:txBody>
      </p:sp>
      <p:grpSp>
        <p:nvGrpSpPr>
          <p:cNvPr id="53" name="Gruppe 52">
            <a:extLst>
              <a:ext uri="{FF2B5EF4-FFF2-40B4-BE49-F238E27FC236}">
                <a16:creationId xmlns:a16="http://schemas.microsoft.com/office/drawing/2014/main" id="{6C0DE4ED-1267-4B00-93DE-E9224EDF43ED}"/>
              </a:ext>
            </a:extLst>
          </p:cNvPr>
          <p:cNvGrpSpPr/>
          <p:nvPr userDrawn="1"/>
        </p:nvGrpSpPr>
        <p:grpSpPr>
          <a:xfrm flipH="1">
            <a:off x="3802882" y="3921186"/>
            <a:ext cx="1260003" cy="1421878"/>
            <a:chOff x="5616999" y="4146501"/>
            <a:chExt cx="1260003" cy="1264496"/>
          </a:xfrm>
        </p:grpSpPr>
        <p:sp>
          <p:nvSpPr>
            <p:cNvPr id="54" name="Bue 53">
              <a:extLst>
                <a:ext uri="{FF2B5EF4-FFF2-40B4-BE49-F238E27FC236}">
                  <a16:creationId xmlns:a16="http://schemas.microsoft.com/office/drawing/2014/main" id="{981C4134-F3B3-4BC7-A91F-6F3B73A1BD5D}"/>
                </a:ext>
              </a:extLst>
            </p:cNvPr>
            <p:cNvSpPr>
              <a:spLocks noChangeAspect="1"/>
            </p:cNvSpPr>
            <p:nvPr/>
          </p:nvSpPr>
          <p:spPr>
            <a:xfrm>
              <a:off x="5617002" y="4150997"/>
              <a:ext cx="1260000" cy="1260000"/>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5" name="Bue 54">
              <a:extLst>
                <a:ext uri="{FF2B5EF4-FFF2-40B4-BE49-F238E27FC236}">
                  <a16:creationId xmlns:a16="http://schemas.microsoft.com/office/drawing/2014/main" id="{54420059-B6FF-467A-BF06-481DDEEB476C}"/>
                </a:ext>
              </a:extLst>
            </p:cNvPr>
            <p:cNvSpPr>
              <a:spLocks noChangeAspect="1"/>
            </p:cNvSpPr>
            <p:nvPr/>
          </p:nvSpPr>
          <p:spPr>
            <a:xfrm flipV="1">
              <a:off x="5616999" y="4146501"/>
              <a:ext cx="1260000" cy="1260000"/>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grpSp>
      <p:cxnSp>
        <p:nvCxnSpPr>
          <p:cNvPr id="56" name="Lige forbindelse 55">
            <a:extLst>
              <a:ext uri="{FF2B5EF4-FFF2-40B4-BE49-F238E27FC236}">
                <a16:creationId xmlns:a16="http://schemas.microsoft.com/office/drawing/2014/main" id="{BFD637E7-01CA-4291-A0F8-616FE626FDB1}"/>
              </a:ext>
            </a:extLst>
          </p:cNvPr>
          <p:cNvCxnSpPr>
            <a:cxnSpLocks/>
          </p:cNvCxnSpPr>
          <p:nvPr userDrawn="1"/>
        </p:nvCxnSpPr>
        <p:spPr>
          <a:xfrm>
            <a:off x="4424483" y="5338008"/>
            <a:ext cx="4968000" cy="0"/>
          </a:xfrm>
          <a:prstGeom prst="line">
            <a:avLst/>
          </a:prstGeom>
          <a:ln w="254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 name="Gruppe 2">
            <a:extLst>
              <a:ext uri="{FF2B5EF4-FFF2-40B4-BE49-F238E27FC236}">
                <a16:creationId xmlns:a16="http://schemas.microsoft.com/office/drawing/2014/main" id="{DE76CA44-EA16-484D-8761-47A66579F9A9}"/>
              </a:ext>
            </a:extLst>
          </p:cNvPr>
          <p:cNvGrpSpPr>
            <a:grpSpLocks noChangeAspect="1"/>
          </p:cNvGrpSpPr>
          <p:nvPr userDrawn="1"/>
        </p:nvGrpSpPr>
        <p:grpSpPr>
          <a:xfrm>
            <a:off x="9479418" y="4330391"/>
            <a:ext cx="1969200" cy="1366463"/>
            <a:chOff x="9479419" y="4330391"/>
            <a:chExt cx="1743075" cy="1209551"/>
          </a:xfrm>
        </p:grpSpPr>
        <p:grpSp>
          <p:nvGrpSpPr>
            <p:cNvPr id="57" name="Gruppe 56">
              <a:extLst>
                <a:ext uri="{FF2B5EF4-FFF2-40B4-BE49-F238E27FC236}">
                  <a16:creationId xmlns:a16="http://schemas.microsoft.com/office/drawing/2014/main" id="{05363556-890C-48AE-B618-6AF830FAC51C}"/>
                </a:ext>
              </a:extLst>
            </p:cNvPr>
            <p:cNvGrpSpPr/>
            <p:nvPr userDrawn="1"/>
          </p:nvGrpSpPr>
          <p:grpSpPr>
            <a:xfrm>
              <a:off x="9479419" y="4901081"/>
              <a:ext cx="1743075" cy="638861"/>
              <a:chOff x="6303309" y="4240881"/>
              <a:chExt cx="1743075" cy="638861"/>
            </a:xfrm>
          </p:grpSpPr>
          <p:sp>
            <p:nvSpPr>
              <p:cNvPr id="58" name="Ellipse 57">
                <a:extLst>
                  <a:ext uri="{FF2B5EF4-FFF2-40B4-BE49-F238E27FC236}">
                    <a16:creationId xmlns:a16="http://schemas.microsoft.com/office/drawing/2014/main" id="{643AEAA3-6CDA-4936-B1DC-EC6D0370EFA7}"/>
                  </a:ext>
                </a:extLst>
              </p:cNvPr>
              <p:cNvSpPr/>
              <p:nvPr/>
            </p:nvSpPr>
            <p:spPr>
              <a:xfrm>
                <a:off x="6303309" y="4451117"/>
                <a:ext cx="1743075" cy="428625"/>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9" name="Rektangel 58">
                <a:extLst>
                  <a:ext uri="{FF2B5EF4-FFF2-40B4-BE49-F238E27FC236}">
                    <a16:creationId xmlns:a16="http://schemas.microsoft.com/office/drawing/2014/main" id="{4FEE5CBE-0FDA-4045-B2BF-08EAF9334CB6}"/>
                  </a:ext>
                </a:extLst>
              </p:cNvPr>
              <p:cNvSpPr/>
              <p:nvPr/>
            </p:nvSpPr>
            <p:spPr>
              <a:xfrm>
                <a:off x="6303309" y="4451117"/>
                <a:ext cx="1743074" cy="218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Ellipse 59">
                <a:extLst>
                  <a:ext uri="{FF2B5EF4-FFF2-40B4-BE49-F238E27FC236}">
                    <a16:creationId xmlns:a16="http://schemas.microsoft.com/office/drawing/2014/main" id="{4B7165FD-8130-49AB-87FA-71F5552EE95B}"/>
                  </a:ext>
                </a:extLst>
              </p:cNvPr>
              <p:cNvSpPr/>
              <p:nvPr/>
            </p:nvSpPr>
            <p:spPr>
              <a:xfrm>
                <a:off x="6303309" y="4240881"/>
                <a:ext cx="1743075" cy="428625"/>
              </a:xfrm>
              <a:prstGeom prst="ellipse">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61" name="Gruppe 60">
              <a:extLst>
                <a:ext uri="{FF2B5EF4-FFF2-40B4-BE49-F238E27FC236}">
                  <a16:creationId xmlns:a16="http://schemas.microsoft.com/office/drawing/2014/main" id="{4A9CB5AB-7F49-46B6-939E-1391D4D03EF2}"/>
                </a:ext>
              </a:extLst>
            </p:cNvPr>
            <p:cNvGrpSpPr/>
            <p:nvPr userDrawn="1"/>
          </p:nvGrpSpPr>
          <p:grpSpPr>
            <a:xfrm>
              <a:off x="10076832" y="4330391"/>
              <a:ext cx="72000" cy="675808"/>
              <a:chOff x="10000632" y="4376433"/>
              <a:chExt cx="72000" cy="675808"/>
            </a:xfrm>
            <a:solidFill>
              <a:schemeClr val="accent4"/>
            </a:solidFill>
          </p:grpSpPr>
          <p:sp>
            <p:nvSpPr>
              <p:cNvPr id="62" name="Rektangel 61">
                <a:extLst>
                  <a:ext uri="{FF2B5EF4-FFF2-40B4-BE49-F238E27FC236}">
                    <a16:creationId xmlns:a16="http://schemas.microsoft.com/office/drawing/2014/main" id="{BDEDA1DD-A894-4252-B243-F6F1A64DAD5D}"/>
                  </a:ext>
                </a:extLst>
              </p:cNvPr>
              <p:cNvSpPr/>
              <p:nvPr/>
            </p:nvSpPr>
            <p:spPr>
              <a:xfrm>
                <a:off x="10027632" y="4419654"/>
                <a:ext cx="18000" cy="632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3" name="Ellipse 62">
                <a:extLst>
                  <a:ext uri="{FF2B5EF4-FFF2-40B4-BE49-F238E27FC236}">
                    <a16:creationId xmlns:a16="http://schemas.microsoft.com/office/drawing/2014/main" id="{D4EB1C2F-9B6E-4D70-8618-F4F9438BE4BF}"/>
                  </a:ext>
                </a:extLst>
              </p:cNvPr>
              <p:cNvSpPr>
                <a:spLocks noChangeAspect="1"/>
              </p:cNvSpPr>
              <p:nvPr/>
            </p:nvSpPr>
            <p:spPr>
              <a:xfrm>
                <a:off x="10000632" y="4376433"/>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64" name="Gruppe 63">
              <a:extLst>
                <a:ext uri="{FF2B5EF4-FFF2-40B4-BE49-F238E27FC236}">
                  <a16:creationId xmlns:a16="http://schemas.microsoft.com/office/drawing/2014/main" id="{FCBE25A7-64FD-4483-93B9-56E010335D1A}"/>
                </a:ext>
              </a:extLst>
            </p:cNvPr>
            <p:cNvGrpSpPr/>
            <p:nvPr userDrawn="1"/>
          </p:nvGrpSpPr>
          <p:grpSpPr>
            <a:xfrm>
              <a:off x="10453070" y="4558680"/>
              <a:ext cx="72000" cy="675808"/>
              <a:chOff x="10000632" y="4376433"/>
              <a:chExt cx="72000" cy="675808"/>
            </a:xfrm>
            <a:solidFill>
              <a:schemeClr val="accent4"/>
            </a:solidFill>
          </p:grpSpPr>
          <p:sp>
            <p:nvSpPr>
              <p:cNvPr id="65" name="Rektangel 64">
                <a:extLst>
                  <a:ext uri="{FF2B5EF4-FFF2-40B4-BE49-F238E27FC236}">
                    <a16:creationId xmlns:a16="http://schemas.microsoft.com/office/drawing/2014/main" id="{57AA1D3C-4B16-4650-B07C-0F75B506D3AB}"/>
                  </a:ext>
                </a:extLst>
              </p:cNvPr>
              <p:cNvSpPr/>
              <p:nvPr/>
            </p:nvSpPr>
            <p:spPr>
              <a:xfrm>
                <a:off x="10027632" y="4419654"/>
                <a:ext cx="18000" cy="632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6" name="Ellipse 65">
                <a:extLst>
                  <a:ext uri="{FF2B5EF4-FFF2-40B4-BE49-F238E27FC236}">
                    <a16:creationId xmlns:a16="http://schemas.microsoft.com/office/drawing/2014/main" id="{CE11751E-86F3-41A6-93DB-05D962BE1D22}"/>
                  </a:ext>
                </a:extLst>
              </p:cNvPr>
              <p:cNvSpPr>
                <a:spLocks noChangeAspect="1"/>
              </p:cNvSpPr>
              <p:nvPr/>
            </p:nvSpPr>
            <p:spPr>
              <a:xfrm>
                <a:off x="10000632" y="4376433"/>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67" name="Parallelogram 66">
              <a:extLst>
                <a:ext uri="{FF2B5EF4-FFF2-40B4-BE49-F238E27FC236}">
                  <a16:creationId xmlns:a16="http://schemas.microsoft.com/office/drawing/2014/main" id="{C8992EFC-2C46-410B-80ED-00F1C1C7660F}"/>
                </a:ext>
              </a:extLst>
            </p:cNvPr>
            <p:cNvSpPr/>
            <p:nvPr userDrawn="1"/>
          </p:nvSpPr>
          <p:spPr>
            <a:xfrm rot="5400000">
              <a:off x="10064010" y="4451216"/>
              <a:ext cx="464881" cy="367238"/>
            </a:xfrm>
            <a:prstGeom prst="parallelogram">
              <a:avLst>
                <a:gd name="adj" fmla="val 7039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Parallelogram 67">
              <a:extLst>
                <a:ext uri="{FF2B5EF4-FFF2-40B4-BE49-F238E27FC236}">
                  <a16:creationId xmlns:a16="http://schemas.microsoft.com/office/drawing/2014/main" id="{6BDB80F5-06B8-4924-8B09-D89ECD396D43}"/>
                </a:ext>
              </a:extLst>
            </p:cNvPr>
            <p:cNvSpPr/>
            <p:nvPr userDrawn="1"/>
          </p:nvSpPr>
          <p:spPr>
            <a:xfrm rot="5400000">
              <a:off x="10082085" y="4451698"/>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Parallelogram 68">
              <a:extLst>
                <a:ext uri="{FF2B5EF4-FFF2-40B4-BE49-F238E27FC236}">
                  <a16:creationId xmlns:a16="http://schemas.microsoft.com/office/drawing/2014/main" id="{207154A2-860B-43D2-A15A-D956BA3B3BF2}"/>
                </a:ext>
              </a:extLst>
            </p:cNvPr>
            <p:cNvSpPr/>
            <p:nvPr userDrawn="1"/>
          </p:nvSpPr>
          <p:spPr>
            <a:xfrm rot="5400000">
              <a:off x="10149176" y="4599979"/>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Parallelogram 69">
              <a:extLst>
                <a:ext uri="{FF2B5EF4-FFF2-40B4-BE49-F238E27FC236}">
                  <a16:creationId xmlns:a16="http://schemas.microsoft.com/office/drawing/2014/main" id="{40FAC0DB-3631-4F2E-B636-EBA2C3DC7CFB}"/>
                </a:ext>
              </a:extLst>
            </p:cNvPr>
            <p:cNvSpPr/>
            <p:nvPr userDrawn="1"/>
          </p:nvSpPr>
          <p:spPr>
            <a:xfrm rot="5400000">
              <a:off x="10224606" y="4556546"/>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Parallelogram 70">
              <a:extLst>
                <a:ext uri="{FF2B5EF4-FFF2-40B4-BE49-F238E27FC236}">
                  <a16:creationId xmlns:a16="http://schemas.microsoft.com/office/drawing/2014/main" id="{FCA37109-7511-419A-AC78-C33D8E4CDBBE}"/>
                </a:ext>
              </a:extLst>
            </p:cNvPr>
            <p:cNvSpPr/>
            <p:nvPr userDrawn="1"/>
          </p:nvSpPr>
          <p:spPr>
            <a:xfrm rot="5400000">
              <a:off x="10285346" y="4698510"/>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Parallelogram 71">
              <a:extLst>
                <a:ext uri="{FF2B5EF4-FFF2-40B4-BE49-F238E27FC236}">
                  <a16:creationId xmlns:a16="http://schemas.microsoft.com/office/drawing/2014/main" id="{9D10A2ED-C239-4014-AD50-5ED16F42114E}"/>
                </a:ext>
              </a:extLst>
            </p:cNvPr>
            <p:cNvSpPr/>
            <p:nvPr userDrawn="1"/>
          </p:nvSpPr>
          <p:spPr>
            <a:xfrm rot="5400000">
              <a:off x="10367209" y="4652190"/>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73" name="Delvis cirkel 72">
            <a:extLst>
              <a:ext uri="{FF2B5EF4-FFF2-40B4-BE49-F238E27FC236}">
                <a16:creationId xmlns:a16="http://schemas.microsoft.com/office/drawing/2014/main" id="{3B8C5E55-F1AC-4624-999D-8C4B17EC621B}"/>
              </a:ext>
            </a:extLst>
          </p:cNvPr>
          <p:cNvSpPr>
            <a:spLocks noChangeAspect="1"/>
          </p:cNvSpPr>
          <p:nvPr userDrawn="1"/>
        </p:nvSpPr>
        <p:spPr>
          <a:xfrm>
            <a:off x="8684118" y="4675215"/>
            <a:ext cx="2964634" cy="818963"/>
          </a:xfrm>
          <a:prstGeom prst="pie">
            <a:avLst>
              <a:gd name="adj1" fmla="val 592718"/>
              <a:gd name="adj2" fmla="val 1939236"/>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42" name="Gruppe 41">
            <a:extLst>
              <a:ext uri="{FF2B5EF4-FFF2-40B4-BE49-F238E27FC236}">
                <a16:creationId xmlns:a16="http://schemas.microsoft.com/office/drawing/2014/main" id="{1843FFFA-85CB-4C97-9043-471F2305EAFB}"/>
              </a:ext>
            </a:extLst>
          </p:cNvPr>
          <p:cNvGrpSpPr>
            <a:grpSpLocks noChangeAspect="1"/>
          </p:cNvGrpSpPr>
          <p:nvPr userDrawn="1"/>
        </p:nvGrpSpPr>
        <p:grpSpPr>
          <a:xfrm>
            <a:off x="3802882" y="1668692"/>
            <a:ext cx="1976271" cy="1224000"/>
            <a:chOff x="3499072" y="1895117"/>
            <a:chExt cx="1750789" cy="1084349"/>
          </a:xfrm>
        </p:grpSpPr>
        <p:sp>
          <p:nvSpPr>
            <p:cNvPr id="43" name="Ellipse 42">
              <a:extLst>
                <a:ext uri="{FF2B5EF4-FFF2-40B4-BE49-F238E27FC236}">
                  <a16:creationId xmlns:a16="http://schemas.microsoft.com/office/drawing/2014/main" id="{A0161158-DE8F-49F1-9D2E-49C1806F4A3A}"/>
                </a:ext>
              </a:extLst>
            </p:cNvPr>
            <p:cNvSpPr/>
            <p:nvPr/>
          </p:nvSpPr>
          <p:spPr>
            <a:xfrm>
              <a:off x="3506786" y="2550841"/>
              <a:ext cx="1743075" cy="428625"/>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 name="Rektangel 43">
              <a:extLst>
                <a:ext uri="{FF2B5EF4-FFF2-40B4-BE49-F238E27FC236}">
                  <a16:creationId xmlns:a16="http://schemas.microsoft.com/office/drawing/2014/main" id="{F9FE7780-2005-4DF3-9E83-3F2B82FBDC9A}"/>
                </a:ext>
              </a:extLst>
            </p:cNvPr>
            <p:cNvSpPr/>
            <p:nvPr/>
          </p:nvSpPr>
          <p:spPr>
            <a:xfrm>
              <a:off x="3506786" y="2550841"/>
              <a:ext cx="1743074" cy="218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 name="Ellipse 44">
              <a:extLst>
                <a:ext uri="{FF2B5EF4-FFF2-40B4-BE49-F238E27FC236}">
                  <a16:creationId xmlns:a16="http://schemas.microsoft.com/office/drawing/2014/main" id="{16EA7011-2C67-4848-B2E0-93FB6961EFB4}"/>
                </a:ext>
              </a:extLst>
            </p:cNvPr>
            <p:cNvSpPr/>
            <p:nvPr/>
          </p:nvSpPr>
          <p:spPr>
            <a:xfrm>
              <a:off x="3506786" y="2340605"/>
              <a:ext cx="1743075" cy="428625"/>
            </a:xfrm>
            <a:prstGeom prst="ellipse">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 name="Rektangel 45">
              <a:extLst>
                <a:ext uri="{FF2B5EF4-FFF2-40B4-BE49-F238E27FC236}">
                  <a16:creationId xmlns:a16="http://schemas.microsoft.com/office/drawing/2014/main" id="{2A1DBFD8-F463-4E02-A9FE-326D6DE636A0}"/>
                </a:ext>
              </a:extLst>
            </p:cNvPr>
            <p:cNvSpPr/>
            <p:nvPr/>
          </p:nvSpPr>
          <p:spPr>
            <a:xfrm>
              <a:off x="4378849" y="1938338"/>
              <a:ext cx="18000" cy="6325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7" name="Delvis cirkel 46">
              <a:extLst>
                <a:ext uri="{FF2B5EF4-FFF2-40B4-BE49-F238E27FC236}">
                  <a16:creationId xmlns:a16="http://schemas.microsoft.com/office/drawing/2014/main" id="{8702EFE5-2212-4373-97F4-647AF63FD7CF}"/>
                </a:ext>
              </a:extLst>
            </p:cNvPr>
            <p:cNvSpPr/>
            <p:nvPr/>
          </p:nvSpPr>
          <p:spPr>
            <a:xfrm>
              <a:off x="3499072" y="2347690"/>
              <a:ext cx="1743076" cy="428625"/>
            </a:xfrm>
            <a:prstGeom prst="pie">
              <a:avLst>
                <a:gd name="adj1" fmla="val 395265"/>
                <a:gd name="adj2" fmla="val 2113435"/>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48" name="Bølge 47">
              <a:extLst>
                <a:ext uri="{FF2B5EF4-FFF2-40B4-BE49-F238E27FC236}">
                  <a16:creationId xmlns:a16="http://schemas.microsoft.com/office/drawing/2014/main" id="{FA7A01CC-1063-4610-8D56-EAD07EA7E062}"/>
                </a:ext>
              </a:extLst>
            </p:cNvPr>
            <p:cNvSpPr/>
            <p:nvPr/>
          </p:nvSpPr>
          <p:spPr>
            <a:xfrm>
              <a:off x="4396849" y="1937545"/>
              <a:ext cx="302151" cy="272256"/>
            </a:xfrm>
            <a:prstGeom prst="wave">
              <a:avLst>
                <a:gd name="adj1" fmla="val 5503"/>
                <a:gd name="adj2" fmla="val 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 name="Ellipse 48">
              <a:extLst>
                <a:ext uri="{FF2B5EF4-FFF2-40B4-BE49-F238E27FC236}">
                  <a16:creationId xmlns:a16="http://schemas.microsoft.com/office/drawing/2014/main" id="{1B207C00-C058-4194-AE36-4C026B641127}"/>
                </a:ext>
              </a:extLst>
            </p:cNvPr>
            <p:cNvSpPr>
              <a:spLocks noChangeAspect="1"/>
            </p:cNvSpPr>
            <p:nvPr/>
          </p:nvSpPr>
          <p:spPr>
            <a:xfrm>
              <a:off x="4351849" y="1895117"/>
              <a:ext cx="72000" cy="7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74" name="Rektangel 73">
            <a:extLst>
              <a:ext uri="{FF2B5EF4-FFF2-40B4-BE49-F238E27FC236}">
                <a16:creationId xmlns:a16="http://schemas.microsoft.com/office/drawing/2014/main" id="{0A3DDEDC-7AC8-4995-9C89-AF14071F0B0E}"/>
              </a:ext>
            </a:extLst>
          </p:cNvPr>
          <p:cNvSpPr/>
          <p:nvPr userDrawn="1"/>
        </p:nvSpPr>
        <p:spPr>
          <a:xfrm>
            <a:off x="731838" y="1798498"/>
            <a:ext cx="2835467"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5" name="Ligebenet trekant 74">
            <a:extLst>
              <a:ext uri="{FF2B5EF4-FFF2-40B4-BE49-F238E27FC236}">
                <a16:creationId xmlns:a16="http://schemas.microsoft.com/office/drawing/2014/main" id="{1E7F9902-96BD-4109-A383-93C0021853AC}"/>
              </a:ext>
            </a:extLst>
          </p:cNvPr>
          <p:cNvSpPr/>
          <p:nvPr userDrawn="1"/>
        </p:nvSpPr>
        <p:spPr>
          <a:xfrm flipV="1">
            <a:off x="858716" y="5846263"/>
            <a:ext cx="2708588" cy="134917"/>
          </a:xfrm>
          <a:prstGeom prst="triangle">
            <a:avLst>
              <a:gd name="adj"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Pladsholder til tekst 2">
            <a:extLst>
              <a:ext uri="{FF2B5EF4-FFF2-40B4-BE49-F238E27FC236}">
                <a16:creationId xmlns:a16="http://schemas.microsoft.com/office/drawing/2014/main" id="{874054DA-6037-4BE2-B2B5-218E61E2BF5C}"/>
              </a:ext>
            </a:extLst>
          </p:cNvPr>
          <p:cNvSpPr>
            <a:spLocks noGrp="1"/>
          </p:cNvSpPr>
          <p:nvPr>
            <p:ph type="body" sz="quarter" idx="10" hasCustomPrompt="1"/>
          </p:nvPr>
        </p:nvSpPr>
        <p:spPr>
          <a:xfrm>
            <a:off x="858716" y="1675076"/>
            <a:ext cx="2835275" cy="4183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da-DK" sz="1800" smtClean="0">
                <a:solidFill>
                  <a:schemeClr val="lt1"/>
                </a:solidFill>
              </a:defRPr>
            </a:lvl1pPr>
            <a:lvl2pPr>
              <a:defRPr lang="da-DK" sz="1800" smtClean="0">
                <a:solidFill>
                  <a:schemeClr val="lt1"/>
                </a:solidFill>
              </a:defRPr>
            </a:lvl2pPr>
            <a:lvl3pPr>
              <a:defRPr lang="da-DK" sz="1800" smtClean="0">
                <a:solidFill>
                  <a:schemeClr val="lt1"/>
                </a:solidFill>
              </a:defRPr>
            </a:lvl3pPr>
            <a:lvl4pPr>
              <a:defRPr lang="da-DK" smtClean="0">
                <a:solidFill>
                  <a:schemeClr val="lt1"/>
                </a:solidFill>
              </a:defRPr>
            </a:lvl4pPr>
            <a:lvl5pPr>
              <a:defRPr lang="da-DK">
                <a:solidFill>
                  <a:schemeClr val="lt1"/>
                </a:solidFill>
              </a:defRPr>
            </a:lvl5pPr>
          </a:lstStyle>
          <a:p>
            <a:pPr algn="ctr"/>
            <a:r>
              <a:rPr lang="da-DK" dirty="0" err="1"/>
              <a:t>Lorem</a:t>
            </a:r>
            <a:r>
              <a:rPr lang="da-DK" dirty="0"/>
              <a:t> </a:t>
            </a:r>
            <a:r>
              <a:rPr lang="da-DK" dirty="0" err="1"/>
              <a:t>ipsum</a:t>
            </a:r>
            <a:r>
              <a:rPr lang="da-DK" dirty="0"/>
              <a:t> </a:t>
            </a:r>
            <a:r>
              <a:rPr lang="da-DK" dirty="0" err="1"/>
              <a:t>dolor</a:t>
            </a:r>
            <a:r>
              <a:rPr lang="da-DK" dirty="0"/>
              <a:t> sit </a:t>
            </a:r>
            <a:r>
              <a:rPr lang="da-DK" dirty="0" err="1"/>
              <a:t>amet</a:t>
            </a:r>
            <a:r>
              <a:rPr lang="da-DK" dirty="0"/>
              <a:t>, </a:t>
            </a:r>
            <a:r>
              <a:rPr lang="da-DK" dirty="0" err="1"/>
              <a:t>consectetur</a:t>
            </a:r>
            <a:r>
              <a:rPr lang="da-DK" dirty="0"/>
              <a:t> </a:t>
            </a:r>
            <a:r>
              <a:rPr lang="da-DK" dirty="0" err="1"/>
              <a:t>adipiscing</a:t>
            </a:r>
            <a:r>
              <a:rPr lang="da-DK" dirty="0"/>
              <a:t> </a:t>
            </a:r>
            <a:r>
              <a:rPr lang="da-DK" dirty="0" err="1"/>
              <a:t>elit</a:t>
            </a:r>
            <a:r>
              <a:rPr lang="da-DK" dirty="0"/>
              <a:t>. Vivamus non eros </a:t>
            </a:r>
            <a:r>
              <a:rPr lang="da-DK" dirty="0" err="1"/>
              <a:t>quis</a:t>
            </a:r>
            <a:r>
              <a:rPr lang="da-DK" dirty="0"/>
              <a:t> </a:t>
            </a:r>
            <a:r>
              <a:rPr lang="da-DK" dirty="0" err="1"/>
              <a:t>urna</a:t>
            </a:r>
            <a:r>
              <a:rPr lang="da-DK" dirty="0"/>
              <a:t> </a:t>
            </a:r>
            <a:r>
              <a:rPr lang="da-DK" dirty="0" err="1"/>
              <a:t>mollis</a:t>
            </a:r>
            <a:r>
              <a:rPr lang="da-DK" dirty="0"/>
              <a:t> finibus. </a:t>
            </a:r>
            <a:r>
              <a:rPr lang="da-DK" dirty="0" err="1"/>
              <a:t>Nulla</a:t>
            </a:r>
            <a:r>
              <a:rPr lang="da-DK" dirty="0"/>
              <a:t> </a:t>
            </a:r>
            <a:r>
              <a:rPr lang="da-DK" dirty="0" err="1"/>
              <a:t>lacinia</a:t>
            </a:r>
            <a:r>
              <a:rPr lang="da-DK" dirty="0"/>
              <a:t> </a:t>
            </a:r>
            <a:r>
              <a:rPr lang="da-DK" dirty="0" err="1"/>
              <a:t>ligula</a:t>
            </a:r>
            <a:r>
              <a:rPr lang="da-DK" dirty="0"/>
              <a:t> ut </a:t>
            </a:r>
            <a:r>
              <a:rPr lang="da-DK" dirty="0" err="1"/>
              <a:t>eleifend</a:t>
            </a:r>
            <a:r>
              <a:rPr lang="da-DK" dirty="0"/>
              <a:t> </a:t>
            </a:r>
            <a:r>
              <a:rPr lang="da-DK" dirty="0" err="1"/>
              <a:t>vestibulum</a:t>
            </a:r>
            <a:r>
              <a:rPr lang="da-DK" dirty="0"/>
              <a:t>. </a:t>
            </a:r>
            <a:r>
              <a:rPr lang="da-DK" dirty="0" err="1"/>
              <a:t>Nullam</a:t>
            </a:r>
            <a:r>
              <a:rPr lang="da-DK" dirty="0"/>
              <a:t> </a:t>
            </a:r>
            <a:r>
              <a:rPr lang="da-DK" dirty="0" err="1"/>
              <a:t>semper</a:t>
            </a:r>
            <a:r>
              <a:rPr lang="da-DK" dirty="0"/>
              <a:t> </a:t>
            </a:r>
            <a:r>
              <a:rPr lang="da-DK" dirty="0" err="1"/>
              <a:t>mollis</a:t>
            </a:r>
            <a:r>
              <a:rPr lang="da-DK" dirty="0"/>
              <a:t> </a:t>
            </a:r>
            <a:r>
              <a:rPr lang="da-DK" dirty="0" err="1"/>
              <a:t>dolor</a:t>
            </a:r>
            <a:r>
              <a:rPr lang="da-DK" dirty="0"/>
              <a:t> et </a:t>
            </a:r>
            <a:r>
              <a:rPr lang="da-DK" dirty="0" err="1"/>
              <a:t>fermentum</a:t>
            </a:r>
            <a:r>
              <a:rPr lang="da-DK" dirty="0"/>
              <a:t>. </a:t>
            </a:r>
            <a:endParaRPr lang="da-DK" sz="1200" b="1" dirty="0">
              <a:solidFill>
                <a:schemeClr val="bg2"/>
              </a:solidFill>
            </a:endParaRPr>
          </a:p>
        </p:txBody>
      </p:sp>
    </p:spTree>
    <p:extLst>
      <p:ext uri="{BB962C8B-B14F-4D97-AF65-F5344CB8AC3E}">
        <p14:creationId xmlns:p14="http://schemas.microsoft.com/office/powerpoint/2010/main" val="29422857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ces -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 name="Rektangel 6">
            <a:extLst>
              <a:ext uri="{FF2B5EF4-FFF2-40B4-BE49-F238E27FC236}">
                <a16:creationId xmlns:a16="http://schemas.microsoft.com/office/drawing/2014/main" id="{16F04D43-F3B9-4272-8237-8102477F6CA0}"/>
              </a:ext>
            </a:extLst>
          </p:cNvPr>
          <p:cNvSpPr/>
          <p:nvPr/>
        </p:nvSpPr>
        <p:spPr>
          <a:xfrm>
            <a:off x="731838" y="1798498"/>
            <a:ext cx="2835467"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9" name="Ligebenet trekant 8">
            <a:extLst>
              <a:ext uri="{FF2B5EF4-FFF2-40B4-BE49-F238E27FC236}">
                <a16:creationId xmlns:a16="http://schemas.microsoft.com/office/drawing/2014/main" id="{10DBBEDE-6C73-48DA-B529-46B704B198FF}"/>
              </a:ext>
            </a:extLst>
          </p:cNvPr>
          <p:cNvSpPr/>
          <p:nvPr/>
        </p:nvSpPr>
        <p:spPr>
          <a:xfrm flipV="1">
            <a:off x="858716" y="5846263"/>
            <a:ext cx="2708588" cy="134917"/>
          </a:xfrm>
          <a:prstGeom prst="triangle">
            <a:avLst>
              <a:gd name="adj"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0" name="Gruppe 9">
            <a:extLst>
              <a:ext uri="{FF2B5EF4-FFF2-40B4-BE49-F238E27FC236}">
                <a16:creationId xmlns:a16="http://schemas.microsoft.com/office/drawing/2014/main" id="{DF97EFDD-256A-492D-A344-3559A1D53BF7}"/>
              </a:ext>
            </a:extLst>
          </p:cNvPr>
          <p:cNvGrpSpPr>
            <a:grpSpLocks noChangeAspect="1"/>
          </p:cNvGrpSpPr>
          <p:nvPr userDrawn="1"/>
        </p:nvGrpSpPr>
        <p:grpSpPr>
          <a:xfrm>
            <a:off x="4266252" y="1683336"/>
            <a:ext cx="7192219" cy="4284000"/>
            <a:chOff x="3990198" y="1516017"/>
            <a:chExt cx="7471106" cy="4450117"/>
          </a:xfrm>
        </p:grpSpPr>
        <p:grpSp>
          <p:nvGrpSpPr>
            <p:cNvPr id="11" name="Gruppe 10">
              <a:extLst>
                <a:ext uri="{FF2B5EF4-FFF2-40B4-BE49-F238E27FC236}">
                  <a16:creationId xmlns:a16="http://schemas.microsoft.com/office/drawing/2014/main" id="{E51787F0-0216-4DB6-ACB8-116CBE47435B}"/>
                </a:ext>
              </a:extLst>
            </p:cNvPr>
            <p:cNvGrpSpPr>
              <a:grpSpLocks noChangeAspect="1"/>
            </p:cNvGrpSpPr>
            <p:nvPr/>
          </p:nvGrpSpPr>
          <p:grpSpPr>
            <a:xfrm>
              <a:off x="3990198" y="2183284"/>
              <a:ext cx="7471106" cy="3782850"/>
              <a:chOff x="4492716" y="3334701"/>
              <a:chExt cx="5145595" cy="2605373"/>
            </a:xfrm>
          </p:grpSpPr>
          <p:sp>
            <p:nvSpPr>
              <p:cNvPr id="16" name="Parallelogram 15">
                <a:extLst>
                  <a:ext uri="{FF2B5EF4-FFF2-40B4-BE49-F238E27FC236}">
                    <a16:creationId xmlns:a16="http://schemas.microsoft.com/office/drawing/2014/main" id="{86C095BB-2D1A-4131-A91D-F3223E4302A5}"/>
                  </a:ext>
                </a:extLst>
              </p:cNvPr>
              <p:cNvSpPr/>
              <p:nvPr/>
            </p:nvSpPr>
            <p:spPr>
              <a:xfrm rot="5400000" flipV="1">
                <a:off x="7251884" y="3195686"/>
                <a:ext cx="1878615" cy="2894238"/>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 name="Gruppe 16">
                <a:extLst>
                  <a:ext uri="{FF2B5EF4-FFF2-40B4-BE49-F238E27FC236}">
                    <a16:creationId xmlns:a16="http://schemas.microsoft.com/office/drawing/2014/main" id="{9C716927-5CAC-49A3-8E44-699BC79B3396}"/>
                  </a:ext>
                </a:extLst>
              </p:cNvPr>
              <p:cNvGrpSpPr/>
              <p:nvPr/>
            </p:nvGrpSpPr>
            <p:grpSpPr>
              <a:xfrm>
                <a:off x="7380466" y="3334701"/>
                <a:ext cx="2257844" cy="1253419"/>
                <a:chOff x="5867465" y="3140257"/>
                <a:chExt cx="2257844" cy="1253419"/>
              </a:xfrm>
            </p:grpSpPr>
            <p:sp>
              <p:nvSpPr>
                <p:cNvPr id="39" name="Rektangel 38">
                  <a:extLst>
                    <a:ext uri="{FF2B5EF4-FFF2-40B4-BE49-F238E27FC236}">
                      <a16:creationId xmlns:a16="http://schemas.microsoft.com/office/drawing/2014/main" id="{36AE33A6-655B-4B89-95FA-EAFCDE0CD833}"/>
                    </a:ext>
                  </a:extLst>
                </p:cNvPr>
                <p:cNvSpPr/>
                <p:nvPr/>
              </p:nvSpPr>
              <p:spPr>
                <a:xfrm>
                  <a:off x="6210299" y="3420500"/>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 name="Parallelogram 39">
                  <a:extLst>
                    <a:ext uri="{FF2B5EF4-FFF2-40B4-BE49-F238E27FC236}">
                      <a16:creationId xmlns:a16="http://schemas.microsoft.com/office/drawing/2014/main" id="{C6375358-FEB5-4264-BD9C-51110EB689FD}"/>
                    </a:ext>
                  </a:extLst>
                </p:cNvPr>
                <p:cNvSpPr/>
                <p:nvPr/>
              </p:nvSpPr>
              <p:spPr>
                <a:xfrm rot="16200000" flipH="1" flipV="1">
                  <a:off x="7244615" y="2894621"/>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 name="Parallelogram 40">
                  <a:extLst>
                    <a:ext uri="{FF2B5EF4-FFF2-40B4-BE49-F238E27FC236}">
                      <a16:creationId xmlns:a16="http://schemas.microsoft.com/office/drawing/2014/main" id="{2691FE01-8237-49F6-8796-02AC054E4459}"/>
                    </a:ext>
                  </a:extLst>
                </p:cNvPr>
                <p:cNvSpPr/>
                <p:nvPr/>
              </p:nvSpPr>
              <p:spPr>
                <a:xfrm rot="5400000" flipV="1">
                  <a:off x="6116345" y="2894621"/>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 name="Parallelogram 41">
                  <a:extLst>
                    <a:ext uri="{FF2B5EF4-FFF2-40B4-BE49-F238E27FC236}">
                      <a16:creationId xmlns:a16="http://schemas.microsoft.com/office/drawing/2014/main" id="{85119C47-157F-4EE0-AF71-205446C00CAB}"/>
                    </a:ext>
                  </a:extLst>
                </p:cNvPr>
                <p:cNvSpPr/>
                <p:nvPr/>
              </p:nvSpPr>
              <p:spPr>
                <a:xfrm rot="16200000">
                  <a:off x="6119589"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3" name="Parallelogram 42">
                  <a:extLst>
                    <a:ext uri="{FF2B5EF4-FFF2-40B4-BE49-F238E27FC236}">
                      <a16:creationId xmlns:a16="http://schemas.microsoft.com/office/drawing/2014/main" id="{550D8EF9-9842-4D2A-A303-82B16F3EA960}"/>
                    </a:ext>
                  </a:extLst>
                </p:cNvPr>
                <p:cNvSpPr/>
                <p:nvPr/>
              </p:nvSpPr>
              <p:spPr>
                <a:xfrm rot="5400000" flipV="1">
                  <a:off x="7244615"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 name="Parallelogram 43">
                  <a:extLst>
                    <a:ext uri="{FF2B5EF4-FFF2-40B4-BE49-F238E27FC236}">
                      <a16:creationId xmlns:a16="http://schemas.microsoft.com/office/drawing/2014/main" id="{454AEDEE-6131-4C45-BFD3-071C7F7AB543}"/>
                    </a:ext>
                  </a:extLst>
                </p:cNvPr>
                <p:cNvSpPr/>
                <p:nvPr/>
              </p:nvSpPr>
              <p:spPr>
                <a:xfrm rot="16200000">
                  <a:off x="6113101" y="3263414"/>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 name="Parallelogram 44">
                  <a:extLst>
                    <a:ext uri="{FF2B5EF4-FFF2-40B4-BE49-F238E27FC236}">
                      <a16:creationId xmlns:a16="http://schemas.microsoft.com/office/drawing/2014/main" id="{815C821E-32C1-407F-A637-E994B373CA04}"/>
                    </a:ext>
                  </a:extLst>
                </p:cNvPr>
                <p:cNvSpPr/>
                <p:nvPr/>
              </p:nvSpPr>
              <p:spPr>
                <a:xfrm rot="5400000" flipV="1">
                  <a:off x="7241912" y="3260711"/>
                  <a:ext cx="635058" cy="1131737"/>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 name="Parallelogram 17">
                <a:extLst>
                  <a:ext uri="{FF2B5EF4-FFF2-40B4-BE49-F238E27FC236}">
                    <a16:creationId xmlns:a16="http://schemas.microsoft.com/office/drawing/2014/main" id="{117C1068-6BF3-4C01-A56C-7A7D7A41FA36}"/>
                  </a:ext>
                </a:extLst>
              </p:cNvPr>
              <p:cNvSpPr/>
              <p:nvPr/>
            </p:nvSpPr>
            <p:spPr>
              <a:xfrm rot="1067907">
                <a:off x="7096348" y="4114698"/>
                <a:ext cx="1385098" cy="406658"/>
              </a:xfrm>
              <a:prstGeom prst="parallelogram">
                <a:avLst>
                  <a:gd name="adj" fmla="val 511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9" name="Gruppe 18">
                <a:extLst>
                  <a:ext uri="{FF2B5EF4-FFF2-40B4-BE49-F238E27FC236}">
                    <a16:creationId xmlns:a16="http://schemas.microsoft.com/office/drawing/2014/main" id="{40102214-B33B-4563-B54A-54579DBC34B0}"/>
                  </a:ext>
                </a:extLst>
              </p:cNvPr>
              <p:cNvGrpSpPr/>
              <p:nvPr/>
            </p:nvGrpSpPr>
            <p:grpSpPr>
              <a:xfrm>
                <a:off x="5939074" y="4008841"/>
                <a:ext cx="2254600" cy="1256663"/>
                <a:chOff x="5870709" y="3137013"/>
                <a:chExt cx="2254600" cy="1256663"/>
              </a:xfrm>
            </p:grpSpPr>
            <p:sp>
              <p:nvSpPr>
                <p:cNvPr id="32" name="Rektangel 31">
                  <a:extLst>
                    <a:ext uri="{FF2B5EF4-FFF2-40B4-BE49-F238E27FC236}">
                      <a16:creationId xmlns:a16="http://schemas.microsoft.com/office/drawing/2014/main" id="{BF5C0EA3-7124-4257-B290-11FD2C40ECD8}"/>
                    </a:ext>
                  </a:extLst>
                </p:cNvPr>
                <p:cNvSpPr/>
                <p:nvPr/>
              </p:nvSpPr>
              <p:spPr>
                <a:xfrm>
                  <a:off x="6207055" y="3414012"/>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 name="Parallelogram 32">
                  <a:extLst>
                    <a:ext uri="{FF2B5EF4-FFF2-40B4-BE49-F238E27FC236}">
                      <a16:creationId xmlns:a16="http://schemas.microsoft.com/office/drawing/2014/main" id="{9306F96C-3E52-4B3F-830E-388AB3E2CAA0}"/>
                    </a:ext>
                  </a:extLst>
                </p:cNvPr>
                <p:cNvSpPr/>
                <p:nvPr/>
              </p:nvSpPr>
              <p:spPr>
                <a:xfrm rot="16200000" flipH="1" flipV="1">
                  <a:off x="7242452" y="2897607"/>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 name="Parallelogram 33">
                  <a:extLst>
                    <a:ext uri="{FF2B5EF4-FFF2-40B4-BE49-F238E27FC236}">
                      <a16:creationId xmlns:a16="http://schemas.microsoft.com/office/drawing/2014/main" id="{B10EF3BC-BEEA-4D72-9BEC-489A5B398A13}"/>
                    </a:ext>
                  </a:extLst>
                </p:cNvPr>
                <p:cNvSpPr/>
                <p:nvPr/>
              </p:nvSpPr>
              <p:spPr>
                <a:xfrm rot="5400000" flipV="1">
                  <a:off x="6116345" y="2891377"/>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Parallelogram 34">
                  <a:extLst>
                    <a:ext uri="{FF2B5EF4-FFF2-40B4-BE49-F238E27FC236}">
                      <a16:creationId xmlns:a16="http://schemas.microsoft.com/office/drawing/2014/main" id="{9A341374-7988-43A3-A230-ED6DCDBA86D4}"/>
                    </a:ext>
                  </a:extLst>
                </p:cNvPr>
                <p:cNvSpPr/>
                <p:nvPr/>
              </p:nvSpPr>
              <p:spPr>
                <a:xfrm rot="16200000">
                  <a:off x="6119589"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arallelogram 35">
                  <a:extLst>
                    <a:ext uri="{FF2B5EF4-FFF2-40B4-BE49-F238E27FC236}">
                      <a16:creationId xmlns:a16="http://schemas.microsoft.com/office/drawing/2014/main" id="{AA25B443-3BC6-44C5-8E8F-00C0F20B13E2}"/>
                    </a:ext>
                  </a:extLst>
                </p:cNvPr>
                <p:cNvSpPr/>
                <p:nvPr/>
              </p:nvSpPr>
              <p:spPr>
                <a:xfrm rot="5400000" flipV="1">
                  <a:off x="7244615"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7" name="Parallelogram 36">
                  <a:extLst>
                    <a:ext uri="{FF2B5EF4-FFF2-40B4-BE49-F238E27FC236}">
                      <a16:creationId xmlns:a16="http://schemas.microsoft.com/office/drawing/2014/main" id="{857606BA-1844-413F-9D17-077A753FF375}"/>
                    </a:ext>
                  </a:extLst>
                </p:cNvPr>
                <p:cNvSpPr/>
                <p:nvPr/>
              </p:nvSpPr>
              <p:spPr>
                <a:xfrm rot="16200000">
                  <a:off x="6119589" y="3263414"/>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 name="Parallelogram 37">
                  <a:extLst>
                    <a:ext uri="{FF2B5EF4-FFF2-40B4-BE49-F238E27FC236}">
                      <a16:creationId xmlns:a16="http://schemas.microsoft.com/office/drawing/2014/main" id="{F7B2353B-3636-44A6-B44F-ACF8229C18C6}"/>
                    </a:ext>
                  </a:extLst>
                </p:cNvPr>
                <p:cNvSpPr/>
                <p:nvPr/>
              </p:nvSpPr>
              <p:spPr>
                <a:xfrm rot="5400000" flipV="1">
                  <a:off x="7242049" y="3258569"/>
                  <a:ext cx="635058" cy="1131462"/>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0" name="Parallelogram 19">
                <a:extLst>
                  <a:ext uri="{FF2B5EF4-FFF2-40B4-BE49-F238E27FC236}">
                    <a16:creationId xmlns:a16="http://schemas.microsoft.com/office/drawing/2014/main" id="{9FBE41A7-9022-4F8D-A8BB-7889908F6620}"/>
                  </a:ext>
                </a:extLst>
              </p:cNvPr>
              <p:cNvSpPr/>
              <p:nvPr/>
            </p:nvSpPr>
            <p:spPr>
              <a:xfrm rot="1067907">
                <a:off x="5651712" y="4790684"/>
                <a:ext cx="1385098" cy="406658"/>
              </a:xfrm>
              <a:prstGeom prst="parallelogram">
                <a:avLst>
                  <a:gd name="adj" fmla="val 511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Parallelogram 20">
                <a:extLst>
                  <a:ext uri="{FF2B5EF4-FFF2-40B4-BE49-F238E27FC236}">
                    <a16:creationId xmlns:a16="http://schemas.microsoft.com/office/drawing/2014/main" id="{1F017EAA-2E3B-4AC1-BA3E-4AE8B5895F35}"/>
                  </a:ext>
                </a:extLst>
              </p:cNvPr>
              <p:cNvSpPr/>
              <p:nvPr/>
            </p:nvSpPr>
            <p:spPr>
              <a:xfrm rot="1067907">
                <a:off x="5642152" y="4507472"/>
                <a:ext cx="1397613" cy="406658"/>
              </a:xfrm>
              <a:prstGeom prst="parallelogram">
                <a:avLst>
                  <a:gd name="adj" fmla="val 5110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2" name="Gruppe 21">
                <a:extLst>
                  <a:ext uri="{FF2B5EF4-FFF2-40B4-BE49-F238E27FC236}">
                    <a16:creationId xmlns:a16="http://schemas.microsoft.com/office/drawing/2014/main" id="{76B82BAD-1559-4645-9B37-A3148B803EAF}"/>
                  </a:ext>
                </a:extLst>
              </p:cNvPr>
              <p:cNvGrpSpPr>
                <a:grpSpLocks noChangeAspect="1"/>
              </p:cNvGrpSpPr>
              <p:nvPr/>
            </p:nvGrpSpPr>
            <p:grpSpPr>
              <a:xfrm>
                <a:off x="4492716" y="4689641"/>
                <a:ext cx="2251356" cy="1250433"/>
                <a:chOff x="5888242" y="4060866"/>
                <a:chExt cx="2251356" cy="1250433"/>
              </a:xfrm>
            </p:grpSpPr>
            <p:sp>
              <p:nvSpPr>
                <p:cNvPr id="25" name="Rektangel 24">
                  <a:extLst>
                    <a:ext uri="{FF2B5EF4-FFF2-40B4-BE49-F238E27FC236}">
                      <a16:creationId xmlns:a16="http://schemas.microsoft.com/office/drawing/2014/main" id="{EB3A27D6-8D66-4D36-B646-5A54A88BF75B}"/>
                    </a:ext>
                  </a:extLst>
                </p:cNvPr>
                <p:cNvSpPr/>
                <p:nvPr/>
              </p:nvSpPr>
              <p:spPr>
                <a:xfrm>
                  <a:off x="6224588" y="4338123"/>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 name="Parallelogram 25">
                  <a:extLst>
                    <a:ext uri="{FF2B5EF4-FFF2-40B4-BE49-F238E27FC236}">
                      <a16:creationId xmlns:a16="http://schemas.microsoft.com/office/drawing/2014/main" id="{91C5F5C8-CE25-4F44-A406-B0D36D74AFB2}"/>
                    </a:ext>
                  </a:extLst>
                </p:cNvPr>
                <p:cNvSpPr/>
                <p:nvPr/>
              </p:nvSpPr>
              <p:spPr>
                <a:xfrm rot="16200000" flipH="1" flipV="1">
                  <a:off x="7258904" y="3815230"/>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 name="Parallelogram 26">
                  <a:extLst>
                    <a:ext uri="{FF2B5EF4-FFF2-40B4-BE49-F238E27FC236}">
                      <a16:creationId xmlns:a16="http://schemas.microsoft.com/office/drawing/2014/main" id="{EE806253-C0B9-473D-B19D-7611D62D3729}"/>
                    </a:ext>
                  </a:extLst>
                </p:cNvPr>
                <p:cNvSpPr/>
                <p:nvPr/>
              </p:nvSpPr>
              <p:spPr>
                <a:xfrm rot="5400000" flipV="1">
                  <a:off x="6133878" y="3815488"/>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arallelogram 27">
                  <a:extLst>
                    <a:ext uri="{FF2B5EF4-FFF2-40B4-BE49-F238E27FC236}">
                      <a16:creationId xmlns:a16="http://schemas.microsoft.com/office/drawing/2014/main" id="{851BD3F4-6DAD-4180-9281-812D2C513905}"/>
                    </a:ext>
                  </a:extLst>
                </p:cNvPr>
                <p:cNvSpPr/>
                <p:nvPr/>
              </p:nvSpPr>
              <p:spPr>
                <a:xfrm rot="16200000">
                  <a:off x="6133878" y="4430605"/>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 name="Parallelogram 28">
                  <a:extLst>
                    <a:ext uri="{FF2B5EF4-FFF2-40B4-BE49-F238E27FC236}">
                      <a16:creationId xmlns:a16="http://schemas.microsoft.com/office/drawing/2014/main" id="{BCA2B517-C08E-47F6-8467-A6C576D57F1D}"/>
                    </a:ext>
                  </a:extLst>
                </p:cNvPr>
                <p:cNvSpPr/>
                <p:nvPr/>
              </p:nvSpPr>
              <p:spPr>
                <a:xfrm rot="5400000" flipV="1">
                  <a:off x="7258904" y="4430605"/>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0" name="Parallelogram 29">
                  <a:extLst>
                    <a:ext uri="{FF2B5EF4-FFF2-40B4-BE49-F238E27FC236}">
                      <a16:creationId xmlns:a16="http://schemas.microsoft.com/office/drawing/2014/main" id="{D1E060C8-997B-48C3-ABFE-DF3189153CCA}"/>
                    </a:ext>
                  </a:extLst>
                </p:cNvPr>
                <p:cNvSpPr/>
                <p:nvPr/>
              </p:nvSpPr>
              <p:spPr>
                <a:xfrm rot="16200000">
                  <a:off x="6133878" y="4181037"/>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1" name="Parallelogram 30">
                  <a:extLst>
                    <a:ext uri="{FF2B5EF4-FFF2-40B4-BE49-F238E27FC236}">
                      <a16:creationId xmlns:a16="http://schemas.microsoft.com/office/drawing/2014/main" id="{23E2FC97-A4E0-437A-86C9-1EE4CD64C2D4}"/>
                    </a:ext>
                  </a:extLst>
                </p:cNvPr>
                <p:cNvSpPr/>
                <p:nvPr/>
              </p:nvSpPr>
              <p:spPr>
                <a:xfrm rot="5400000" flipV="1">
                  <a:off x="7258904" y="4181037"/>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3" name="Parallelogram 22">
                <a:extLst>
                  <a:ext uri="{FF2B5EF4-FFF2-40B4-BE49-F238E27FC236}">
                    <a16:creationId xmlns:a16="http://schemas.microsoft.com/office/drawing/2014/main" id="{10C5F8FB-204F-4AA6-A3A6-8171232020CC}"/>
                  </a:ext>
                </a:extLst>
              </p:cNvPr>
              <p:cNvSpPr/>
              <p:nvPr/>
            </p:nvSpPr>
            <p:spPr>
              <a:xfrm rot="1067907">
                <a:off x="7089560" y="3832642"/>
                <a:ext cx="1397613" cy="406658"/>
              </a:xfrm>
              <a:prstGeom prst="parallelogram">
                <a:avLst>
                  <a:gd name="adj" fmla="val 5110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Ligebenet trekant 23">
                <a:extLst>
                  <a:ext uri="{FF2B5EF4-FFF2-40B4-BE49-F238E27FC236}">
                    <a16:creationId xmlns:a16="http://schemas.microsoft.com/office/drawing/2014/main" id="{7308D29B-C1FD-46B7-8C42-D81CD503FF9D}"/>
                  </a:ext>
                </a:extLst>
              </p:cNvPr>
              <p:cNvSpPr/>
              <p:nvPr/>
            </p:nvSpPr>
            <p:spPr>
              <a:xfrm rot="20580000">
                <a:off x="8542487" y="3483571"/>
                <a:ext cx="912731" cy="452829"/>
              </a:xfrm>
              <a:prstGeom prst="triangle">
                <a:avLst>
                  <a:gd name="adj" fmla="val 967"/>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13" name="Rektangel 12">
              <a:extLst>
                <a:ext uri="{FF2B5EF4-FFF2-40B4-BE49-F238E27FC236}">
                  <a16:creationId xmlns:a16="http://schemas.microsoft.com/office/drawing/2014/main" id="{34005773-0874-4920-90CC-11A523538F11}"/>
                </a:ext>
              </a:extLst>
            </p:cNvPr>
            <p:cNvSpPr/>
            <p:nvPr/>
          </p:nvSpPr>
          <p:spPr>
            <a:xfrm>
              <a:off x="9808568" y="1585892"/>
              <a:ext cx="29100" cy="10226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 name="Bølge 13">
              <a:extLst>
                <a:ext uri="{FF2B5EF4-FFF2-40B4-BE49-F238E27FC236}">
                  <a16:creationId xmlns:a16="http://schemas.microsoft.com/office/drawing/2014/main" id="{3D085299-3950-4433-BD09-5050FE741403}"/>
                </a:ext>
              </a:extLst>
            </p:cNvPr>
            <p:cNvSpPr/>
            <p:nvPr/>
          </p:nvSpPr>
          <p:spPr>
            <a:xfrm>
              <a:off x="9837669" y="1584610"/>
              <a:ext cx="488484" cy="440154"/>
            </a:xfrm>
            <a:prstGeom prst="wave">
              <a:avLst>
                <a:gd name="adj1" fmla="val 5503"/>
                <a:gd name="adj2" fmla="val 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6452B657-8F2F-49DE-983A-2B919F463CE4}"/>
                </a:ext>
              </a:extLst>
            </p:cNvPr>
            <p:cNvSpPr>
              <a:spLocks noChangeAspect="1"/>
            </p:cNvSpPr>
            <p:nvPr/>
          </p:nvSpPr>
          <p:spPr>
            <a:xfrm>
              <a:off x="9764918" y="1516017"/>
              <a:ext cx="116402" cy="1164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3" name="Pladsholder til tekst 2">
            <a:extLst>
              <a:ext uri="{FF2B5EF4-FFF2-40B4-BE49-F238E27FC236}">
                <a16:creationId xmlns:a16="http://schemas.microsoft.com/office/drawing/2014/main" id="{9AF9E833-3A38-4EBC-87C9-B3D0073E655C}"/>
              </a:ext>
            </a:extLst>
          </p:cNvPr>
          <p:cNvSpPr>
            <a:spLocks noGrp="1"/>
          </p:cNvSpPr>
          <p:nvPr>
            <p:ph type="body" sz="quarter" idx="10" hasCustomPrompt="1"/>
          </p:nvPr>
        </p:nvSpPr>
        <p:spPr>
          <a:xfrm>
            <a:off x="858716" y="1675076"/>
            <a:ext cx="2835275" cy="4183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da-DK" sz="1800" smtClean="0">
                <a:solidFill>
                  <a:schemeClr val="lt1"/>
                </a:solidFill>
              </a:defRPr>
            </a:lvl1pPr>
            <a:lvl2pPr>
              <a:defRPr lang="da-DK" sz="1800" smtClean="0">
                <a:solidFill>
                  <a:schemeClr val="lt1"/>
                </a:solidFill>
              </a:defRPr>
            </a:lvl2pPr>
            <a:lvl3pPr>
              <a:defRPr lang="da-DK" sz="1800" smtClean="0">
                <a:solidFill>
                  <a:schemeClr val="lt1"/>
                </a:solidFill>
              </a:defRPr>
            </a:lvl3pPr>
            <a:lvl4pPr>
              <a:defRPr lang="da-DK" smtClean="0">
                <a:solidFill>
                  <a:schemeClr val="lt1"/>
                </a:solidFill>
              </a:defRPr>
            </a:lvl4pPr>
            <a:lvl5pPr>
              <a:defRPr lang="da-DK">
                <a:solidFill>
                  <a:schemeClr val="lt1"/>
                </a:solidFill>
              </a:defRPr>
            </a:lvl5pPr>
          </a:lstStyle>
          <a:p>
            <a:pPr algn="ctr"/>
            <a:r>
              <a:rPr lang="da-DK" dirty="0" err="1"/>
              <a:t>Lorem</a:t>
            </a:r>
            <a:r>
              <a:rPr lang="da-DK" dirty="0"/>
              <a:t> </a:t>
            </a:r>
            <a:r>
              <a:rPr lang="da-DK" dirty="0" err="1"/>
              <a:t>ipsum</a:t>
            </a:r>
            <a:r>
              <a:rPr lang="da-DK" dirty="0"/>
              <a:t> </a:t>
            </a:r>
            <a:r>
              <a:rPr lang="da-DK" dirty="0" err="1"/>
              <a:t>dolor</a:t>
            </a:r>
            <a:r>
              <a:rPr lang="da-DK" dirty="0"/>
              <a:t> sit </a:t>
            </a:r>
            <a:r>
              <a:rPr lang="da-DK" dirty="0" err="1"/>
              <a:t>amet</a:t>
            </a:r>
            <a:r>
              <a:rPr lang="da-DK" dirty="0"/>
              <a:t>, </a:t>
            </a:r>
            <a:r>
              <a:rPr lang="da-DK" dirty="0" err="1"/>
              <a:t>consectetur</a:t>
            </a:r>
            <a:r>
              <a:rPr lang="da-DK" dirty="0"/>
              <a:t> </a:t>
            </a:r>
            <a:r>
              <a:rPr lang="da-DK" dirty="0" err="1"/>
              <a:t>adipiscing</a:t>
            </a:r>
            <a:r>
              <a:rPr lang="da-DK" dirty="0"/>
              <a:t> </a:t>
            </a:r>
            <a:r>
              <a:rPr lang="da-DK" dirty="0" err="1"/>
              <a:t>elit</a:t>
            </a:r>
            <a:r>
              <a:rPr lang="da-DK" dirty="0"/>
              <a:t>. Vivamus non eros </a:t>
            </a:r>
            <a:r>
              <a:rPr lang="da-DK" dirty="0" err="1"/>
              <a:t>quis</a:t>
            </a:r>
            <a:r>
              <a:rPr lang="da-DK" dirty="0"/>
              <a:t> </a:t>
            </a:r>
            <a:r>
              <a:rPr lang="da-DK" dirty="0" err="1"/>
              <a:t>urna</a:t>
            </a:r>
            <a:r>
              <a:rPr lang="da-DK" dirty="0"/>
              <a:t> </a:t>
            </a:r>
            <a:r>
              <a:rPr lang="da-DK" dirty="0" err="1"/>
              <a:t>mollis</a:t>
            </a:r>
            <a:r>
              <a:rPr lang="da-DK" dirty="0"/>
              <a:t> finibus. </a:t>
            </a:r>
            <a:r>
              <a:rPr lang="da-DK" dirty="0" err="1"/>
              <a:t>Nulla</a:t>
            </a:r>
            <a:r>
              <a:rPr lang="da-DK" dirty="0"/>
              <a:t> </a:t>
            </a:r>
            <a:r>
              <a:rPr lang="da-DK" dirty="0" err="1"/>
              <a:t>lacinia</a:t>
            </a:r>
            <a:r>
              <a:rPr lang="da-DK" dirty="0"/>
              <a:t> </a:t>
            </a:r>
            <a:r>
              <a:rPr lang="da-DK" dirty="0" err="1"/>
              <a:t>ligula</a:t>
            </a:r>
            <a:r>
              <a:rPr lang="da-DK" dirty="0"/>
              <a:t> ut </a:t>
            </a:r>
            <a:r>
              <a:rPr lang="da-DK" dirty="0" err="1"/>
              <a:t>eleifend</a:t>
            </a:r>
            <a:r>
              <a:rPr lang="da-DK" dirty="0"/>
              <a:t> </a:t>
            </a:r>
            <a:r>
              <a:rPr lang="da-DK" dirty="0" err="1"/>
              <a:t>vestibulum</a:t>
            </a:r>
            <a:r>
              <a:rPr lang="da-DK" dirty="0"/>
              <a:t>. </a:t>
            </a:r>
            <a:r>
              <a:rPr lang="da-DK" dirty="0" err="1"/>
              <a:t>Nullam</a:t>
            </a:r>
            <a:r>
              <a:rPr lang="da-DK" dirty="0"/>
              <a:t> </a:t>
            </a:r>
            <a:r>
              <a:rPr lang="da-DK" dirty="0" err="1"/>
              <a:t>semper</a:t>
            </a:r>
            <a:r>
              <a:rPr lang="da-DK" dirty="0"/>
              <a:t> </a:t>
            </a:r>
            <a:r>
              <a:rPr lang="da-DK" dirty="0" err="1"/>
              <a:t>mollis</a:t>
            </a:r>
            <a:r>
              <a:rPr lang="da-DK" dirty="0"/>
              <a:t> </a:t>
            </a:r>
            <a:r>
              <a:rPr lang="da-DK" dirty="0" err="1"/>
              <a:t>dolor</a:t>
            </a:r>
            <a:r>
              <a:rPr lang="da-DK" dirty="0"/>
              <a:t> et </a:t>
            </a:r>
            <a:r>
              <a:rPr lang="da-DK" dirty="0" err="1"/>
              <a:t>fermentum</a:t>
            </a:r>
            <a:r>
              <a:rPr lang="da-DK" dirty="0"/>
              <a:t>. </a:t>
            </a:r>
            <a:endParaRPr lang="da-DK" sz="1200" b="1" dirty="0">
              <a:solidFill>
                <a:schemeClr val="bg2"/>
              </a:solidFill>
            </a:endParaRPr>
          </a:p>
        </p:txBody>
      </p:sp>
    </p:spTree>
    <p:extLst>
      <p:ext uri="{BB962C8B-B14F-4D97-AF65-F5344CB8AC3E}">
        <p14:creationId xmlns:p14="http://schemas.microsoft.com/office/powerpoint/2010/main" val="17975359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llede - fuld 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Pladsholder til billede 5">
            <a:extLst>
              <a:ext uri="{FF2B5EF4-FFF2-40B4-BE49-F238E27FC236}">
                <a16:creationId xmlns:a16="http://schemas.microsoft.com/office/drawing/2014/main" id="{63FF79C7-E844-410D-9F8B-CB11C5B9B8BD}"/>
              </a:ext>
            </a:extLst>
          </p:cNvPr>
          <p:cNvSpPr>
            <a:spLocks noGrp="1"/>
          </p:cNvSpPr>
          <p:nvPr>
            <p:ph type="pic" sz="quarter" idx="10"/>
          </p:nvPr>
        </p:nvSpPr>
        <p:spPr>
          <a:xfrm>
            <a:off x="623888" y="1557337"/>
            <a:ext cx="10944223" cy="4535488"/>
          </a:xfrm>
          <a:prstGeom prst="rect">
            <a:avLst/>
          </a:prstGeom>
        </p:spPr>
        <p:txBody>
          <a:bodyPr anchor="ctr" anchorCtr="0"/>
          <a:lstStyle>
            <a:lvl1pPr algn="ctr">
              <a:defRPr sz="3200" b="1">
                <a:solidFill>
                  <a:schemeClr val="accent4"/>
                </a:solidFill>
              </a:defRPr>
            </a:lvl1pPr>
          </a:lstStyle>
          <a:p>
            <a:endParaRPr lang="da-DK" dirty="0"/>
          </a:p>
        </p:txBody>
      </p:sp>
    </p:spTree>
    <p:extLst>
      <p:ext uri="{BB962C8B-B14F-4D97-AF65-F5344CB8AC3E}">
        <p14:creationId xmlns:p14="http://schemas.microsoft.com/office/powerpoint/2010/main" val="37814513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E0502F-E17C-4323-9D6D-BD6DB10F16C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2A8C1D30-5C8F-464F-AB5C-E06C0EB66760}"/>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B81616A7-A7CA-43CA-8120-1FBCFFED6C10}"/>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73379D92-48DC-4631-8358-E2F9FC6BE7CD}"/>
              </a:ext>
            </a:extLst>
          </p:cNvPr>
          <p:cNvSpPr>
            <a:spLocks noGrp="1"/>
          </p:cNvSpPr>
          <p:nvPr>
            <p:ph type="dt" sz="half" idx="10"/>
          </p:nvPr>
        </p:nvSpPr>
        <p:spPr/>
        <p:txBody>
          <a:bodyPr/>
          <a:lstStyle/>
          <a:p>
            <a:fld id="{FE9E665B-F97D-415C-88F5-486C1A9D5FEA}" type="datetime1">
              <a:rPr lang="da-DK" smtClean="0"/>
              <a:t>17-02-2026</a:t>
            </a:fld>
            <a:endParaRPr lang="da-DK"/>
          </a:p>
        </p:txBody>
      </p:sp>
      <p:sp>
        <p:nvSpPr>
          <p:cNvPr id="6" name="Pladsholder til sidefod 5">
            <a:extLst>
              <a:ext uri="{FF2B5EF4-FFF2-40B4-BE49-F238E27FC236}">
                <a16:creationId xmlns:a16="http://schemas.microsoft.com/office/drawing/2014/main" id="{0F76E51A-E8CA-46BB-92DE-CBE6E715660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2701E74-5FA9-4076-98F5-D2833EC89F10}"/>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2185372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llede - halv sid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6" name="Pladsholder til billede 5">
            <a:extLst>
              <a:ext uri="{FF2B5EF4-FFF2-40B4-BE49-F238E27FC236}">
                <a16:creationId xmlns:a16="http://schemas.microsoft.com/office/drawing/2014/main" id="{63FF79C7-E844-410D-9F8B-CB11C5B9B8BD}"/>
              </a:ext>
            </a:extLst>
          </p:cNvPr>
          <p:cNvSpPr>
            <a:spLocks noGrp="1"/>
          </p:cNvSpPr>
          <p:nvPr>
            <p:ph type="pic" sz="quarter" idx="10"/>
          </p:nvPr>
        </p:nvSpPr>
        <p:spPr>
          <a:xfrm>
            <a:off x="6226631" y="1665288"/>
            <a:ext cx="5233531" cy="4315892"/>
          </a:xfrm>
          <a:prstGeom prst="rect">
            <a:avLst/>
          </a:prstGeom>
        </p:spPr>
        <p:txBody>
          <a:bodyPr anchor="ctr" anchorCtr="0"/>
          <a:lstStyle>
            <a:lvl1pPr algn="ctr">
              <a:defRPr sz="3200" b="1">
                <a:solidFill>
                  <a:schemeClr val="accent4"/>
                </a:solidFill>
              </a:defRPr>
            </a:lvl1pPr>
          </a:lstStyle>
          <a:p>
            <a:endParaRPr lang="da-DK" dirty="0"/>
          </a:p>
        </p:txBody>
      </p:sp>
      <p:sp>
        <p:nvSpPr>
          <p:cNvPr id="7" name="Pladsholder til tekst 6">
            <a:extLst>
              <a:ext uri="{FF2B5EF4-FFF2-40B4-BE49-F238E27FC236}">
                <a16:creationId xmlns:a16="http://schemas.microsoft.com/office/drawing/2014/main" id="{8EC12CBA-B651-4801-AEFB-4AC451959534}"/>
              </a:ext>
            </a:extLst>
          </p:cNvPr>
          <p:cNvSpPr>
            <a:spLocks noGrp="1"/>
          </p:cNvSpPr>
          <p:nvPr>
            <p:ph type="body" sz="quarter" idx="12" hasCustomPrompt="1"/>
          </p:nvPr>
        </p:nvSpPr>
        <p:spPr>
          <a:xfrm>
            <a:off x="858838" y="1663700"/>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Tree>
    <p:extLst>
      <p:ext uri="{BB962C8B-B14F-4D97-AF65-F5344CB8AC3E}">
        <p14:creationId xmlns:p14="http://schemas.microsoft.com/office/powerpoint/2010/main" val="29188444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llede - halv sid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 name="Pladsholder til billede 5">
            <a:extLst>
              <a:ext uri="{FF2B5EF4-FFF2-40B4-BE49-F238E27FC236}">
                <a16:creationId xmlns:a16="http://schemas.microsoft.com/office/drawing/2014/main" id="{63FF79C7-E844-410D-9F8B-CB11C5B9B8BD}"/>
              </a:ext>
            </a:extLst>
          </p:cNvPr>
          <p:cNvSpPr>
            <a:spLocks noGrp="1"/>
          </p:cNvSpPr>
          <p:nvPr>
            <p:ph type="pic" sz="quarter" idx="10"/>
          </p:nvPr>
        </p:nvSpPr>
        <p:spPr>
          <a:xfrm>
            <a:off x="6226631" y="1665288"/>
            <a:ext cx="5233531" cy="4315892"/>
          </a:xfrm>
          <a:prstGeom prst="rect">
            <a:avLst/>
          </a:prstGeom>
        </p:spPr>
        <p:txBody>
          <a:bodyPr anchor="ctr" anchorCtr="0"/>
          <a:lstStyle>
            <a:lvl1pPr algn="ctr">
              <a:defRPr sz="3200" b="1">
                <a:solidFill>
                  <a:schemeClr val="accent4"/>
                </a:solidFill>
              </a:defRPr>
            </a:lvl1pPr>
          </a:lstStyle>
          <a:p>
            <a:endParaRPr lang="da-DK" dirty="0"/>
          </a:p>
        </p:txBody>
      </p:sp>
      <p:sp>
        <p:nvSpPr>
          <p:cNvPr id="3" name="Pladsholder til tekst 2">
            <a:extLst>
              <a:ext uri="{FF2B5EF4-FFF2-40B4-BE49-F238E27FC236}">
                <a16:creationId xmlns:a16="http://schemas.microsoft.com/office/drawing/2014/main" id="{77AD16C4-74B4-4CC1-B9B5-CDD670FBB0C0}"/>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dirty="0" err="1">
                <a:solidFill>
                  <a:schemeClr val="bg1"/>
                </a:solidFill>
              </a:rPr>
              <a:t>Lorem</a:t>
            </a:r>
            <a:r>
              <a:rPr lang="da-DK" dirty="0">
                <a:solidFill>
                  <a:schemeClr val="bg1"/>
                </a:solidFill>
              </a:rPr>
              <a:t> </a:t>
            </a:r>
            <a:r>
              <a:rPr lang="da-DK" dirty="0" err="1">
                <a:solidFill>
                  <a:schemeClr val="bg1"/>
                </a:solidFill>
              </a:rPr>
              <a:t>ipsum</a:t>
            </a:r>
            <a:r>
              <a:rPr lang="da-DK" dirty="0">
                <a:solidFill>
                  <a:schemeClr val="bg1"/>
                </a:solidFill>
              </a:rPr>
              <a:t> </a:t>
            </a:r>
            <a:r>
              <a:rPr lang="da-DK" dirty="0" err="1">
                <a:solidFill>
                  <a:schemeClr val="bg1"/>
                </a:solidFill>
              </a:rPr>
              <a:t>dolor</a:t>
            </a:r>
            <a:r>
              <a:rPr lang="da-DK" dirty="0">
                <a:solidFill>
                  <a:schemeClr val="bg1"/>
                </a:solidFill>
              </a:rPr>
              <a:t> sit </a:t>
            </a:r>
            <a:r>
              <a:rPr lang="da-DK" dirty="0" err="1">
                <a:solidFill>
                  <a:schemeClr val="bg1"/>
                </a:solidFill>
              </a:rPr>
              <a:t>amet</a:t>
            </a:r>
            <a:r>
              <a:rPr lang="da-DK" dirty="0">
                <a:solidFill>
                  <a:schemeClr val="bg1"/>
                </a:solidFill>
              </a:rPr>
              <a:t>, </a:t>
            </a:r>
            <a:r>
              <a:rPr lang="da-DK" dirty="0" err="1">
                <a:solidFill>
                  <a:schemeClr val="bg1"/>
                </a:solidFill>
              </a:rPr>
              <a:t>consectetur</a:t>
            </a:r>
            <a:r>
              <a:rPr lang="da-DK" dirty="0">
                <a:solidFill>
                  <a:schemeClr val="bg1"/>
                </a:solidFill>
              </a:rPr>
              <a:t> </a:t>
            </a:r>
            <a:r>
              <a:rPr lang="da-DK" dirty="0" err="1">
                <a:solidFill>
                  <a:schemeClr val="bg1"/>
                </a:solidFill>
              </a:rPr>
              <a:t>adipiscing</a:t>
            </a:r>
            <a:r>
              <a:rPr lang="da-DK" dirty="0">
                <a:solidFill>
                  <a:schemeClr val="bg1"/>
                </a:solidFill>
              </a:rPr>
              <a:t> </a:t>
            </a:r>
            <a:r>
              <a:rPr lang="da-DK" dirty="0" err="1">
                <a:solidFill>
                  <a:schemeClr val="bg1"/>
                </a:solidFill>
              </a:rPr>
              <a:t>elit</a:t>
            </a:r>
            <a:r>
              <a:rPr lang="da-DK" dirty="0">
                <a:solidFill>
                  <a:schemeClr val="bg1"/>
                </a:solidFill>
              </a:rPr>
              <a:t>. Vivamus non eros </a:t>
            </a:r>
            <a:r>
              <a:rPr lang="da-DK" dirty="0" err="1">
                <a:solidFill>
                  <a:schemeClr val="bg1"/>
                </a:solidFill>
              </a:rPr>
              <a:t>quis</a:t>
            </a:r>
            <a:r>
              <a:rPr lang="da-DK" dirty="0">
                <a:solidFill>
                  <a:schemeClr val="bg1"/>
                </a:solidFill>
              </a:rPr>
              <a:t> </a:t>
            </a:r>
            <a:r>
              <a:rPr lang="da-DK" dirty="0" err="1">
                <a:solidFill>
                  <a:schemeClr val="bg1"/>
                </a:solidFill>
              </a:rPr>
              <a:t>urna</a:t>
            </a:r>
            <a:r>
              <a:rPr lang="da-DK" dirty="0">
                <a:solidFill>
                  <a:schemeClr val="bg1"/>
                </a:solidFill>
              </a:rPr>
              <a:t> </a:t>
            </a:r>
            <a:r>
              <a:rPr lang="da-DK" dirty="0" err="1">
                <a:solidFill>
                  <a:schemeClr val="bg1"/>
                </a:solidFill>
              </a:rPr>
              <a:t>mollis</a:t>
            </a:r>
            <a:r>
              <a:rPr lang="da-DK" dirty="0">
                <a:solidFill>
                  <a:schemeClr val="bg1"/>
                </a:solidFill>
              </a:rPr>
              <a:t> finibus. </a:t>
            </a:r>
            <a:r>
              <a:rPr lang="da-DK" dirty="0" err="1">
                <a:solidFill>
                  <a:schemeClr val="bg1"/>
                </a:solidFill>
              </a:rPr>
              <a:t>Nulla</a:t>
            </a:r>
            <a:r>
              <a:rPr lang="da-DK" dirty="0">
                <a:solidFill>
                  <a:schemeClr val="bg1"/>
                </a:solidFill>
              </a:rPr>
              <a:t> </a:t>
            </a:r>
            <a:r>
              <a:rPr lang="da-DK" dirty="0" err="1">
                <a:solidFill>
                  <a:schemeClr val="bg1"/>
                </a:solidFill>
              </a:rPr>
              <a:t>lacinia</a:t>
            </a:r>
            <a:r>
              <a:rPr lang="da-DK" dirty="0">
                <a:solidFill>
                  <a:schemeClr val="bg1"/>
                </a:solidFill>
              </a:rPr>
              <a:t> </a:t>
            </a:r>
            <a:r>
              <a:rPr lang="da-DK" dirty="0" err="1">
                <a:solidFill>
                  <a:schemeClr val="bg1"/>
                </a:solidFill>
              </a:rPr>
              <a:t>ligula</a:t>
            </a:r>
            <a:r>
              <a:rPr lang="da-DK" dirty="0">
                <a:solidFill>
                  <a:schemeClr val="bg1"/>
                </a:solidFill>
              </a:rPr>
              <a:t> ut </a:t>
            </a:r>
            <a:r>
              <a:rPr lang="da-DK" dirty="0" err="1">
                <a:solidFill>
                  <a:schemeClr val="bg1"/>
                </a:solidFill>
              </a:rPr>
              <a:t>eleifend</a:t>
            </a:r>
            <a:r>
              <a:rPr lang="da-DK" dirty="0">
                <a:solidFill>
                  <a:schemeClr val="bg1"/>
                </a:solidFill>
              </a:rPr>
              <a:t> </a:t>
            </a:r>
            <a:r>
              <a:rPr lang="da-DK" dirty="0" err="1">
                <a:solidFill>
                  <a:schemeClr val="bg1"/>
                </a:solidFill>
              </a:rPr>
              <a:t>vestibulum</a:t>
            </a:r>
            <a:r>
              <a:rPr lang="da-DK" dirty="0">
                <a:solidFill>
                  <a:schemeClr val="bg1"/>
                </a:solidFill>
              </a:rPr>
              <a:t>. </a:t>
            </a:r>
            <a:r>
              <a:rPr lang="da-DK" dirty="0" err="1">
                <a:solidFill>
                  <a:schemeClr val="bg1"/>
                </a:solidFill>
              </a:rPr>
              <a:t>Nullam</a:t>
            </a:r>
            <a:r>
              <a:rPr lang="da-DK" dirty="0">
                <a:solidFill>
                  <a:schemeClr val="bg1"/>
                </a:solidFill>
              </a:rPr>
              <a:t> </a:t>
            </a:r>
            <a:r>
              <a:rPr lang="da-DK" dirty="0" err="1">
                <a:solidFill>
                  <a:schemeClr val="bg1"/>
                </a:solidFill>
              </a:rPr>
              <a:t>semper</a:t>
            </a:r>
            <a:r>
              <a:rPr lang="da-DK" dirty="0">
                <a:solidFill>
                  <a:schemeClr val="bg1"/>
                </a:solidFill>
              </a:rPr>
              <a:t> </a:t>
            </a:r>
            <a:r>
              <a:rPr lang="da-DK" dirty="0" err="1">
                <a:solidFill>
                  <a:schemeClr val="bg1"/>
                </a:solidFill>
              </a:rPr>
              <a:t>mollis</a:t>
            </a:r>
            <a:r>
              <a:rPr lang="da-DK" dirty="0">
                <a:solidFill>
                  <a:schemeClr val="bg1"/>
                </a:solidFill>
              </a:rPr>
              <a:t> </a:t>
            </a:r>
            <a:r>
              <a:rPr lang="da-DK" dirty="0" err="1">
                <a:solidFill>
                  <a:schemeClr val="bg1"/>
                </a:solidFill>
              </a:rPr>
              <a:t>dolor</a:t>
            </a:r>
            <a:r>
              <a:rPr lang="da-DK" dirty="0">
                <a:solidFill>
                  <a:schemeClr val="bg1"/>
                </a:solidFill>
              </a:rPr>
              <a:t> et </a:t>
            </a:r>
            <a:r>
              <a:rPr lang="da-DK" dirty="0" err="1">
                <a:solidFill>
                  <a:schemeClr val="bg1"/>
                </a:solidFill>
              </a:rPr>
              <a:t>fermentum</a:t>
            </a:r>
            <a:r>
              <a:rPr lang="da-DK" dirty="0">
                <a:solidFill>
                  <a:schemeClr val="bg1"/>
                </a:solidFill>
              </a:rPr>
              <a:t>. </a:t>
            </a:r>
            <a:endParaRPr lang="da-DK" sz="500" b="1" dirty="0">
              <a:solidFill>
                <a:schemeClr val="bg1"/>
              </a:solidFill>
            </a:endParaRPr>
          </a:p>
        </p:txBody>
      </p:sp>
    </p:spTree>
    <p:extLst>
      <p:ext uri="{BB962C8B-B14F-4D97-AF65-F5344CB8AC3E}">
        <p14:creationId xmlns:p14="http://schemas.microsoft.com/office/powerpoint/2010/main" val="4360537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ådhus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9" name="Gruppe 408">
            <a:extLst>
              <a:ext uri="{FF2B5EF4-FFF2-40B4-BE49-F238E27FC236}">
                <a16:creationId xmlns:a16="http://schemas.microsoft.com/office/drawing/2014/main" id="{C7A352E4-A5C6-4A63-B76E-74A0064E1078}"/>
              </a:ext>
            </a:extLst>
          </p:cNvPr>
          <p:cNvGrpSpPr>
            <a:grpSpLocks noChangeAspect="1"/>
          </p:cNvGrpSpPr>
          <p:nvPr userDrawn="1"/>
        </p:nvGrpSpPr>
        <p:grpSpPr>
          <a:xfrm flipH="1">
            <a:off x="9330607" y="2347657"/>
            <a:ext cx="1892210" cy="693435"/>
            <a:chOff x="7698172" y="1860827"/>
            <a:chExt cx="2046398" cy="794493"/>
          </a:xfrm>
        </p:grpSpPr>
        <p:sp>
          <p:nvSpPr>
            <p:cNvPr id="410" name="Ellipse 409">
              <a:extLst>
                <a:ext uri="{FF2B5EF4-FFF2-40B4-BE49-F238E27FC236}">
                  <a16:creationId xmlns:a16="http://schemas.microsoft.com/office/drawing/2014/main" id="{F270DDC4-5F4A-422C-A11A-6A2537121524}"/>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1" name="Ellipse 410">
              <a:extLst>
                <a:ext uri="{FF2B5EF4-FFF2-40B4-BE49-F238E27FC236}">
                  <a16:creationId xmlns:a16="http://schemas.microsoft.com/office/drawing/2014/main" id="{733AFB7D-F4E7-4BBD-A28B-D48718E592EE}"/>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2" name="Ellipse 411">
              <a:extLst>
                <a:ext uri="{FF2B5EF4-FFF2-40B4-BE49-F238E27FC236}">
                  <a16:creationId xmlns:a16="http://schemas.microsoft.com/office/drawing/2014/main" id="{46338556-16B1-4920-BB26-EF31250257E1}"/>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3" name="Ellipse 412">
              <a:extLst>
                <a:ext uri="{FF2B5EF4-FFF2-40B4-BE49-F238E27FC236}">
                  <a16:creationId xmlns:a16="http://schemas.microsoft.com/office/drawing/2014/main" id="{A989BD7E-EBB5-4FD6-9003-86B1B1BCA0DD}"/>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4" name="Ellipse 413">
              <a:extLst>
                <a:ext uri="{FF2B5EF4-FFF2-40B4-BE49-F238E27FC236}">
                  <a16:creationId xmlns:a16="http://schemas.microsoft.com/office/drawing/2014/main" id="{660F0352-CA9A-407A-8F34-8B99EA4D7173}"/>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5" name="Ellipse 414">
              <a:extLst>
                <a:ext uri="{FF2B5EF4-FFF2-40B4-BE49-F238E27FC236}">
                  <a16:creationId xmlns:a16="http://schemas.microsoft.com/office/drawing/2014/main" id="{41F63CD6-B579-4649-B389-B33C43B2637D}"/>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grpSp>
        <p:nvGrpSpPr>
          <p:cNvPr id="8" name="Gruppe 7">
            <a:extLst>
              <a:ext uri="{FF2B5EF4-FFF2-40B4-BE49-F238E27FC236}">
                <a16:creationId xmlns:a16="http://schemas.microsoft.com/office/drawing/2014/main" id="{209FB825-220A-48FA-A6D1-E9A6C5AEF9C1}"/>
              </a:ext>
            </a:extLst>
          </p:cNvPr>
          <p:cNvGrpSpPr/>
          <p:nvPr userDrawn="1"/>
        </p:nvGrpSpPr>
        <p:grpSpPr>
          <a:xfrm>
            <a:off x="6443096" y="2874413"/>
            <a:ext cx="4767787" cy="2971852"/>
            <a:chOff x="712082" y="2111604"/>
            <a:chExt cx="6075213" cy="3923488"/>
          </a:xfrm>
        </p:grpSpPr>
        <p:sp>
          <p:nvSpPr>
            <p:cNvPr id="9" name="Rektangel: afrundede hjørner 8">
              <a:extLst>
                <a:ext uri="{FF2B5EF4-FFF2-40B4-BE49-F238E27FC236}">
                  <a16:creationId xmlns:a16="http://schemas.microsoft.com/office/drawing/2014/main" id="{D12915CE-017F-4839-9114-B988E231832D}"/>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afrundede hjørner 9">
              <a:extLst>
                <a:ext uri="{FF2B5EF4-FFF2-40B4-BE49-F238E27FC236}">
                  <a16:creationId xmlns:a16="http://schemas.microsoft.com/office/drawing/2014/main" id="{3B7CC597-79A8-4ECC-A362-62EE66962B07}"/>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Rektangel: afrundede hjørner 10">
              <a:extLst>
                <a:ext uri="{FF2B5EF4-FFF2-40B4-BE49-F238E27FC236}">
                  <a16:creationId xmlns:a16="http://schemas.microsoft.com/office/drawing/2014/main" id="{75E23005-5306-4743-A369-75D0D8F3AA4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3" name="Gruppe 12">
              <a:extLst>
                <a:ext uri="{FF2B5EF4-FFF2-40B4-BE49-F238E27FC236}">
                  <a16:creationId xmlns:a16="http://schemas.microsoft.com/office/drawing/2014/main" id="{1FD8A96C-FFB6-4902-A26D-1A5FDA42DFEF}"/>
                </a:ext>
              </a:extLst>
            </p:cNvPr>
            <p:cNvGrpSpPr/>
            <p:nvPr/>
          </p:nvGrpSpPr>
          <p:grpSpPr>
            <a:xfrm>
              <a:off x="2852905" y="4409245"/>
              <a:ext cx="1032122" cy="975758"/>
              <a:chOff x="1610213" y="4933721"/>
              <a:chExt cx="1169253" cy="1099213"/>
            </a:xfrm>
          </p:grpSpPr>
          <p:grpSp>
            <p:nvGrpSpPr>
              <p:cNvPr id="387" name="Gruppe 386">
                <a:extLst>
                  <a:ext uri="{FF2B5EF4-FFF2-40B4-BE49-F238E27FC236}">
                    <a16:creationId xmlns:a16="http://schemas.microsoft.com/office/drawing/2014/main" id="{4BE69B33-6A0F-461B-AD97-8BAC60632EB8}"/>
                  </a:ext>
                </a:extLst>
              </p:cNvPr>
              <p:cNvGrpSpPr/>
              <p:nvPr/>
            </p:nvGrpSpPr>
            <p:grpSpPr>
              <a:xfrm>
                <a:off x="2145228" y="5613320"/>
                <a:ext cx="165543" cy="419614"/>
                <a:chOff x="4852454" y="2916519"/>
                <a:chExt cx="278597" cy="366599"/>
              </a:xfrm>
            </p:grpSpPr>
            <p:sp>
              <p:nvSpPr>
                <p:cNvPr id="393" name="Rektangel 392">
                  <a:extLst>
                    <a:ext uri="{FF2B5EF4-FFF2-40B4-BE49-F238E27FC236}">
                      <a16:creationId xmlns:a16="http://schemas.microsoft.com/office/drawing/2014/main" id="{EA8A4F5E-C08D-4F3E-83CC-7160CCC2B9EC}"/>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4" name="Rektangel: afrundede hjørner 393">
                  <a:extLst>
                    <a:ext uri="{FF2B5EF4-FFF2-40B4-BE49-F238E27FC236}">
                      <a16:creationId xmlns:a16="http://schemas.microsoft.com/office/drawing/2014/main" id="{616B30AF-441E-405F-B45D-63D1D6DE67F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8" name="Ellipse 387">
                <a:extLst>
                  <a:ext uri="{FF2B5EF4-FFF2-40B4-BE49-F238E27FC236}">
                    <a16:creationId xmlns:a16="http://schemas.microsoft.com/office/drawing/2014/main" id="{CBFEC183-09F6-4E44-8714-84DB92B2F03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9" name="Ellipse 388">
                <a:extLst>
                  <a:ext uri="{FF2B5EF4-FFF2-40B4-BE49-F238E27FC236}">
                    <a16:creationId xmlns:a16="http://schemas.microsoft.com/office/drawing/2014/main" id="{414CDBAA-F375-4AB1-853D-6F674C111FAB}"/>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0" name="Ellipse 389">
                <a:extLst>
                  <a:ext uri="{FF2B5EF4-FFF2-40B4-BE49-F238E27FC236}">
                    <a16:creationId xmlns:a16="http://schemas.microsoft.com/office/drawing/2014/main" id="{49A05CC0-2FA9-485A-B9C3-066E0A087D2A}"/>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1" name="Ellipse 390">
                <a:extLst>
                  <a:ext uri="{FF2B5EF4-FFF2-40B4-BE49-F238E27FC236}">
                    <a16:creationId xmlns:a16="http://schemas.microsoft.com/office/drawing/2014/main" id="{5CBC264F-1743-4DA0-9514-A049FBDA5B69}"/>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2" name="Ellipse 391">
                <a:extLst>
                  <a:ext uri="{FF2B5EF4-FFF2-40B4-BE49-F238E27FC236}">
                    <a16:creationId xmlns:a16="http://schemas.microsoft.com/office/drawing/2014/main" id="{E0F5E750-A5E6-4319-B73B-ECDB8BFED00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 name="Gruppe 13">
              <a:extLst>
                <a:ext uri="{FF2B5EF4-FFF2-40B4-BE49-F238E27FC236}">
                  <a16:creationId xmlns:a16="http://schemas.microsoft.com/office/drawing/2014/main" id="{76CB85A7-D23B-402F-872F-4B4CC09D3C39}"/>
                </a:ext>
              </a:extLst>
            </p:cNvPr>
            <p:cNvGrpSpPr/>
            <p:nvPr/>
          </p:nvGrpSpPr>
          <p:grpSpPr>
            <a:xfrm flipH="1">
              <a:off x="4708158" y="4232264"/>
              <a:ext cx="1032122" cy="975758"/>
              <a:chOff x="1610213" y="4933721"/>
              <a:chExt cx="1169253" cy="1099213"/>
            </a:xfrm>
          </p:grpSpPr>
          <p:grpSp>
            <p:nvGrpSpPr>
              <p:cNvPr id="379" name="Gruppe 378">
                <a:extLst>
                  <a:ext uri="{FF2B5EF4-FFF2-40B4-BE49-F238E27FC236}">
                    <a16:creationId xmlns:a16="http://schemas.microsoft.com/office/drawing/2014/main" id="{CD71C443-C53E-4435-A672-34EBE422BBEC}"/>
                  </a:ext>
                </a:extLst>
              </p:cNvPr>
              <p:cNvGrpSpPr/>
              <p:nvPr/>
            </p:nvGrpSpPr>
            <p:grpSpPr>
              <a:xfrm>
                <a:off x="2145228" y="5613320"/>
                <a:ext cx="165543" cy="419614"/>
                <a:chOff x="4852454" y="2916519"/>
                <a:chExt cx="278597" cy="366599"/>
              </a:xfrm>
            </p:grpSpPr>
            <p:sp>
              <p:nvSpPr>
                <p:cNvPr id="385" name="Rektangel 384">
                  <a:extLst>
                    <a:ext uri="{FF2B5EF4-FFF2-40B4-BE49-F238E27FC236}">
                      <a16:creationId xmlns:a16="http://schemas.microsoft.com/office/drawing/2014/main" id="{5D850C96-F3F9-4F41-858A-1DB87CF271D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6" name="Rektangel: afrundede hjørner 385">
                  <a:extLst>
                    <a:ext uri="{FF2B5EF4-FFF2-40B4-BE49-F238E27FC236}">
                      <a16:creationId xmlns:a16="http://schemas.microsoft.com/office/drawing/2014/main" id="{4A429EE3-7A63-41AC-8AB9-68379B66C2B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0" name="Ellipse 379">
                <a:extLst>
                  <a:ext uri="{FF2B5EF4-FFF2-40B4-BE49-F238E27FC236}">
                    <a16:creationId xmlns:a16="http://schemas.microsoft.com/office/drawing/2014/main" id="{EC9227BD-3396-4B5F-8F18-04B480FA0A1A}"/>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0C49A90A-535D-4ED6-947D-1BFC15A21AA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2" name="Ellipse 381">
                <a:extLst>
                  <a:ext uri="{FF2B5EF4-FFF2-40B4-BE49-F238E27FC236}">
                    <a16:creationId xmlns:a16="http://schemas.microsoft.com/office/drawing/2014/main" id="{818C8BDE-F9E2-43FA-897D-84FF4EF3EA9E}"/>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3" name="Ellipse 382">
                <a:extLst>
                  <a:ext uri="{FF2B5EF4-FFF2-40B4-BE49-F238E27FC236}">
                    <a16:creationId xmlns:a16="http://schemas.microsoft.com/office/drawing/2014/main" id="{6B41002B-B795-4B5E-B00C-F986EA1BD58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4" name="Ellipse 383">
                <a:extLst>
                  <a:ext uri="{FF2B5EF4-FFF2-40B4-BE49-F238E27FC236}">
                    <a16:creationId xmlns:a16="http://schemas.microsoft.com/office/drawing/2014/main" id="{CA459810-9B4D-42AA-86B4-EFEA010AC3DA}"/>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5" name="Gruppe 14">
              <a:extLst>
                <a:ext uri="{FF2B5EF4-FFF2-40B4-BE49-F238E27FC236}">
                  <a16:creationId xmlns:a16="http://schemas.microsoft.com/office/drawing/2014/main" id="{06B4B2F8-BBD8-4854-8738-0ED5CF3ECA6F}"/>
                </a:ext>
              </a:extLst>
            </p:cNvPr>
            <p:cNvGrpSpPr/>
            <p:nvPr/>
          </p:nvGrpSpPr>
          <p:grpSpPr>
            <a:xfrm>
              <a:off x="1654814" y="4240269"/>
              <a:ext cx="1167307" cy="975758"/>
              <a:chOff x="1501738" y="4933721"/>
              <a:chExt cx="1322399" cy="1099213"/>
            </a:xfrm>
          </p:grpSpPr>
          <p:grpSp>
            <p:nvGrpSpPr>
              <p:cNvPr id="371" name="Gruppe 370">
                <a:extLst>
                  <a:ext uri="{FF2B5EF4-FFF2-40B4-BE49-F238E27FC236}">
                    <a16:creationId xmlns:a16="http://schemas.microsoft.com/office/drawing/2014/main" id="{7435F622-C51B-4B7F-9C1F-9A9E535A82C7}"/>
                  </a:ext>
                </a:extLst>
              </p:cNvPr>
              <p:cNvGrpSpPr/>
              <p:nvPr/>
            </p:nvGrpSpPr>
            <p:grpSpPr>
              <a:xfrm>
                <a:off x="2145228" y="5613320"/>
                <a:ext cx="165543" cy="419614"/>
                <a:chOff x="4852454" y="2916519"/>
                <a:chExt cx="278597" cy="366599"/>
              </a:xfrm>
            </p:grpSpPr>
            <p:sp>
              <p:nvSpPr>
                <p:cNvPr id="377" name="Rektangel 376">
                  <a:extLst>
                    <a:ext uri="{FF2B5EF4-FFF2-40B4-BE49-F238E27FC236}">
                      <a16:creationId xmlns:a16="http://schemas.microsoft.com/office/drawing/2014/main" id="{F430B710-4439-4CB2-9C83-8297C479F18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8" name="Rektangel: afrundede hjørner 377">
                  <a:extLst>
                    <a:ext uri="{FF2B5EF4-FFF2-40B4-BE49-F238E27FC236}">
                      <a16:creationId xmlns:a16="http://schemas.microsoft.com/office/drawing/2014/main" id="{680CDE23-D095-43BD-82BA-B7C065D3FE3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2" name="Ellipse 371">
                <a:extLst>
                  <a:ext uri="{FF2B5EF4-FFF2-40B4-BE49-F238E27FC236}">
                    <a16:creationId xmlns:a16="http://schemas.microsoft.com/office/drawing/2014/main" id="{CB9CE901-2022-4043-935F-730EDD6302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48B392EA-00D1-4118-BD73-5BF127A5F459}"/>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4" name="Ellipse 373">
                <a:extLst>
                  <a:ext uri="{FF2B5EF4-FFF2-40B4-BE49-F238E27FC236}">
                    <a16:creationId xmlns:a16="http://schemas.microsoft.com/office/drawing/2014/main" id="{21004C8B-440B-4AB0-ADCB-82F72D54C33A}"/>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5" name="Ellipse 374">
                <a:extLst>
                  <a:ext uri="{FF2B5EF4-FFF2-40B4-BE49-F238E27FC236}">
                    <a16:creationId xmlns:a16="http://schemas.microsoft.com/office/drawing/2014/main" id="{9F0CAA2B-5081-4E62-913E-16EC62AD5993}"/>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6" name="Ellipse 375">
                <a:extLst>
                  <a:ext uri="{FF2B5EF4-FFF2-40B4-BE49-F238E27FC236}">
                    <a16:creationId xmlns:a16="http://schemas.microsoft.com/office/drawing/2014/main" id="{266454EB-8A46-4978-BC52-1A3DDA29D0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 name="Rektangel 15">
              <a:extLst>
                <a:ext uri="{FF2B5EF4-FFF2-40B4-BE49-F238E27FC236}">
                  <a16:creationId xmlns:a16="http://schemas.microsoft.com/office/drawing/2014/main" id="{ACE4BA10-47BA-494C-9915-AEE6711DAF5F}"/>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a:extLst>
                <a:ext uri="{FF2B5EF4-FFF2-40B4-BE49-F238E27FC236}">
                  <a16:creationId xmlns:a16="http://schemas.microsoft.com/office/drawing/2014/main" id="{EAD5F2BE-4E82-484A-AA72-8EE9873A11DD}"/>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A23C0407-1781-4843-961B-B7DF99D4C204}"/>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Rektangel 18">
              <a:extLst>
                <a:ext uri="{FF2B5EF4-FFF2-40B4-BE49-F238E27FC236}">
                  <a16:creationId xmlns:a16="http://schemas.microsoft.com/office/drawing/2014/main" id="{9323A793-FEF2-4C15-8DBF-F2272A972C84}"/>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0" name="Gruppe 19">
              <a:extLst>
                <a:ext uri="{FF2B5EF4-FFF2-40B4-BE49-F238E27FC236}">
                  <a16:creationId xmlns:a16="http://schemas.microsoft.com/office/drawing/2014/main" id="{2CE29CAA-5E81-4346-B2C2-F9BFEF247DA2}"/>
                </a:ext>
              </a:extLst>
            </p:cNvPr>
            <p:cNvGrpSpPr/>
            <p:nvPr/>
          </p:nvGrpSpPr>
          <p:grpSpPr>
            <a:xfrm>
              <a:off x="1698371" y="4660669"/>
              <a:ext cx="4376784" cy="325426"/>
              <a:chOff x="1209635" y="3152432"/>
              <a:chExt cx="9240230" cy="585788"/>
            </a:xfrm>
          </p:grpSpPr>
          <p:sp>
            <p:nvSpPr>
              <p:cNvPr id="368" name="Retvinklet trekant 367">
                <a:extLst>
                  <a:ext uri="{FF2B5EF4-FFF2-40B4-BE49-F238E27FC236}">
                    <a16:creationId xmlns:a16="http://schemas.microsoft.com/office/drawing/2014/main" id="{AA6CEFBF-FBD7-4E5F-8328-AD416249F345}"/>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9" name="Rektangel 368">
                <a:extLst>
                  <a:ext uri="{FF2B5EF4-FFF2-40B4-BE49-F238E27FC236}">
                    <a16:creationId xmlns:a16="http://schemas.microsoft.com/office/drawing/2014/main" id="{BD584DE1-DAC4-4348-852F-F9E38DB98C11}"/>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0" name="Retvinklet trekant 369">
                <a:extLst>
                  <a:ext uri="{FF2B5EF4-FFF2-40B4-BE49-F238E27FC236}">
                    <a16:creationId xmlns:a16="http://schemas.microsoft.com/office/drawing/2014/main" id="{1A865442-CDE4-4268-A59E-F1DF2C034D71}"/>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1" name="Rektangel 20">
              <a:extLst>
                <a:ext uri="{FF2B5EF4-FFF2-40B4-BE49-F238E27FC236}">
                  <a16:creationId xmlns:a16="http://schemas.microsoft.com/office/drawing/2014/main" id="{66396729-BCBD-4A52-8790-017196F5F590}"/>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ektangel 21">
              <a:extLst>
                <a:ext uri="{FF2B5EF4-FFF2-40B4-BE49-F238E27FC236}">
                  <a16:creationId xmlns:a16="http://schemas.microsoft.com/office/drawing/2014/main" id="{AA5FBF21-4DE4-4DA8-A04C-53B6BB8EA6FE}"/>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3" name="Gruppe 22">
              <a:extLst>
                <a:ext uri="{FF2B5EF4-FFF2-40B4-BE49-F238E27FC236}">
                  <a16:creationId xmlns:a16="http://schemas.microsoft.com/office/drawing/2014/main" id="{DB1B58F9-A653-40BF-8AD7-2EB84B53AA24}"/>
                </a:ext>
              </a:extLst>
            </p:cNvPr>
            <p:cNvGrpSpPr/>
            <p:nvPr/>
          </p:nvGrpSpPr>
          <p:grpSpPr>
            <a:xfrm>
              <a:off x="1827227" y="5182532"/>
              <a:ext cx="110215" cy="202903"/>
              <a:chOff x="1758507" y="5170209"/>
              <a:chExt cx="156925" cy="285896"/>
            </a:xfrm>
          </p:grpSpPr>
          <p:sp>
            <p:nvSpPr>
              <p:cNvPr id="365" name="Rektangel 364">
                <a:extLst>
                  <a:ext uri="{FF2B5EF4-FFF2-40B4-BE49-F238E27FC236}">
                    <a16:creationId xmlns:a16="http://schemas.microsoft.com/office/drawing/2014/main" id="{67A62152-E40F-4211-9440-07C34FC8100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6" name="Lige forbindelse 365">
                <a:extLst>
                  <a:ext uri="{FF2B5EF4-FFF2-40B4-BE49-F238E27FC236}">
                    <a16:creationId xmlns:a16="http://schemas.microsoft.com/office/drawing/2014/main" id="{96B8406A-0265-4C4C-8241-1A05382B7268}"/>
                  </a:ext>
                </a:extLst>
              </p:cNvPr>
              <p:cNvCxnSpPr>
                <a:cxnSpLocks/>
                <a:stCxn id="365" idx="0"/>
                <a:endCxn id="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7" name="Lige forbindelse 366">
                <a:extLst>
                  <a:ext uri="{FF2B5EF4-FFF2-40B4-BE49-F238E27FC236}">
                    <a16:creationId xmlns:a16="http://schemas.microsoft.com/office/drawing/2014/main" id="{9AF71B64-D1F2-43F7-B0D9-75EF6483507D}"/>
                  </a:ext>
                </a:extLst>
              </p:cNvPr>
              <p:cNvCxnSpPr>
                <a:cxnSpLocks/>
                <a:stCxn id="365" idx="1"/>
                <a:endCxn id="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4" name="Gruppe 23">
              <a:extLst>
                <a:ext uri="{FF2B5EF4-FFF2-40B4-BE49-F238E27FC236}">
                  <a16:creationId xmlns:a16="http://schemas.microsoft.com/office/drawing/2014/main" id="{A24DF649-D3F7-4864-8FFA-1BF208AE06EF}"/>
                </a:ext>
              </a:extLst>
            </p:cNvPr>
            <p:cNvGrpSpPr/>
            <p:nvPr/>
          </p:nvGrpSpPr>
          <p:grpSpPr>
            <a:xfrm>
              <a:off x="2018117" y="5182532"/>
              <a:ext cx="110215" cy="202903"/>
              <a:chOff x="1758507" y="5170209"/>
              <a:chExt cx="156925" cy="285896"/>
            </a:xfrm>
          </p:grpSpPr>
          <p:sp>
            <p:nvSpPr>
              <p:cNvPr id="362" name="Rektangel 361">
                <a:extLst>
                  <a:ext uri="{FF2B5EF4-FFF2-40B4-BE49-F238E27FC236}">
                    <a16:creationId xmlns:a16="http://schemas.microsoft.com/office/drawing/2014/main" id="{39484904-D904-46D7-A960-CBA002D8138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3" name="Lige forbindelse 362">
                <a:extLst>
                  <a:ext uri="{FF2B5EF4-FFF2-40B4-BE49-F238E27FC236}">
                    <a16:creationId xmlns:a16="http://schemas.microsoft.com/office/drawing/2014/main" id="{11D2B54A-410B-4B07-9EAB-B567D52DE7C6}"/>
                  </a:ext>
                </a:extLst>
              </p:cNvPr>
              <p:cNvCxnSpPr>
                <a:cxnSpLocks/>
                <a:stCxn id="362" idx="0"/>
                <a:endCxn id="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4" name="Lige forbindelse 363">
                <a:extLst>
                  <a:ext uri="{FF2B5EF4-FFF2-40B4-BE49-F238E27FC236}">
                    <a16:creationId xmlns:a16="http://schemas.microsoft.com/office/drawing/2014/main" id="{A86CC369-AB9B-4A54-A534-66D473F16A9E}"/>
                  </a:ext>
                </a:extLst>
              </p:cNvPr>
              <p:cNvCxnSpPr>
                <a:cxnSpLocks/>
                <a:stCxn id="362" idx="1"/>
                <a:endCxn id="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5" name="Gruppe 24">
              <a:extLst>
                <a:ext uri="{FF2B5EF4-FFF2-40B4-BE49-F238E27FC236}">
                  <a16:creationId xmlns:a16="http://schemas.microsoft.com/office/drawing/2014/main" id="{34052C9A-DAC0-4830-AE4C-8B4893A49835}"/>
                </a:ext>
              </a:extLst>
            </p:cNvPr>
            <p:cNvGrpSpPr/>
            <p:nvPr/>
          </p:nvGrpSpPr>
          <p:grpSpPr>
            <a:xfrm>
              <a:off x="2209008" y="5182532"/>
              <a:ext cx="110215" cy="202903"/>
              <a:chOff x="1758507" y="5170209"/>
              <a:chExt cx="156925" cy="285896"/>
            </a:xfrm>
          </p:grpSpPr>
          <p:sp>
            <p:nvSpPr>
              <p:cNvPr id="359" name="Rektangel 358">
                <a:extLst>
                  <a:ext uri="{FF2B5EF4-FFF2-40B4-BE49-F238E27FC236}">
                    <a16:creationId xmlns:a16="http://schemas.microsoft.com/office/drawing/2014/main" id="{18C8ACF2-9945-4EDD-B135-7BD3BA846EC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0" name="Lige forbindelse 359">
                <a:extLst>
                  <a:ext uri="{FF2B5EF4-FFF2-40B4-BE49-F238E27FC236}">
                    <a16:creationId xmlns:a16="http://schemas.microsoft.com/office/drawing/2014/main" id="{C0916117-582C-4283-88A3-B7B096BD7C13}"/>
                  </a:ext>
                </a:extLst>
              </p:cNvPr>
              <p:cNvCxnSpPr>
                <a:cxnSpLocks/>
                <a:stCxn id="359" idx="0"/>
                <a:endCxn id="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1" name="Lige forbindelse 360">
                <a:extLst>
                  <a:ext uri="{FF2B5EF4-FFF2-40B4-BE49-F238E27FC236}">
                    <a16:creationId xmlns:a16="http://schemas.microsoft.com/office/drawing/2014/main" id="{450B1C7B-AC48-4A9E-A967-6B8B461ECB52}"/>
                  </a:ext>
                </a:extLst>
              </p:cNvPr>
              <p:cNvCxnSpPr>
                <a:cxnSpLocks/>
                <a:stCxn id="359" idx="1"/>
                <a:endCxn id="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6" name="Gruppe 25">
              <a:extLst>
                <a:ext uri="{FF2B5EF4-FFF2-40B4-BE49-F238E27FC236}">
                  <a16:creationId xmlns:a16="http://schemas.microsoft.com/office/drawing/2014/main" id="{DD386B1B-157A-4500-86E2-387132DC2004}"/>
                </a:ext>
              </a:extLst>
            </p:cNvPr>
            <p:cNvGrpSpPr/>
            <p:nvPr/>
          </p:nvGrpSpPr>
          <p:grpSpPr>
            <a:xfrm>
              <a:off x="2399898" y="5182532"/>
              <a:ext cx="110215" cy="202903"/>
              <a:chOff x="1758507" y="5170209"/>
              <a:chExt cx="156925" cy="285896"/>
            </a:xfrm>
          </p:grpSpPr>
          <p:sp>
            <p:nvSpPr>
              <p:cNvPr id="356" name="Rektangel 355">
                <a:extLst>
                  <a:ext uri="{FF2B5EF4-FFF2-40B4-BE49-F238E27FC236}">
                    <a16:creationId xmlns:a16="http://schemas.microsoft.com/office/drawing/2014/main" id="{340AD860-0F55-463E-9647-3D4412E0A6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7" name="Lige forbindelse 356">
                <a:extLst>
                  <a:ext uri="{FF2B5EF4-FFF2-40B4-BE49-F238E27FC236}">
                    <a16:creationId xmlns:a16="http://schemas.microsoft.com/office/drawing/2014/main" id="{6BC5A970-5FEC-4197-BEFD-FF0F431AAF29}"/>
                  </a:ext>
                </a:extLst>
              </p:cNvPr>
              <p:cNvCxnSpPr>
                <a:cxnSpLocks/>
                <a:stCxn id="356" idx="0"/>
                <a:endCxn id="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8" name="Lige forbindelse 357">
                <a:extLst>
                  <a:ext uri="{FF2B5EF4-FFF2-40B4-BE49-F238E27FC236}">
                    <a16:creationId xmlns:a16="http://schemas.microsoft.com/office/drawing/2014/main" id="{E1EBA77C-BA77-48C1-BF13-1BCD802E4BCD}"/>
                  </a:ext>
                </a:extLst>
              </p:cNvPr>
              <p:cNvCxnSpPr>
                <a:cxnSpLocks/>
                <a:stCxn id="356" idx="1"/>
                <a:endCxn id="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7" name="Gruppe 26">
              <a:extLst>
                <a:ext uri="{FF2B5EF4-FFF2-40B4-BE49-F238E27FC236}">
                  <a16:creationId xmlns:a16="http://schemas.microsoft.com/office/drawing/2014/main" id="{DEA278B2-BA0C-40CD-A5AC-A5F2DFAD3A0F}"/>
                </a:ext>
              </a:extLst>
            </p:cNvPr>
            <p:cNvGrpSpPr/>
            <p:nvPr/>
          </p:nvGrpSpPr>
          <p:grpSpPr>
            <a:xfrm>
              <a:off x="2590789" y="5182532"/>
              <a:ext cx="110215" cy="202903"/>
              <a:chOff x="1758507" y="5170209"/>
              <a:chExt cx="156925" cy="285896"/>
            </a:xfrm>
          </p:grpSpPr>
          <p:sp>
            <p:nvSpPr>
              <p:cNvPr id="353" name="Rektangel 352">
                <a:extLst>
                  <a:ext uri="{FF2B5EF4-FFF2-40B4-BE49-F238E27FC236}">
                    <a16:creationId xmlns:a16="http://schemas.microsoft.com/office/drawing/2014/main" id="{7452BE6D-315E-4D21-9435-56C427210D0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4" name="Lige forbindelse 353">
                <a:extLst>
                  <a:ext uri="{FF2B5EF4-FFF2-40B4-BE49-F238E27FC236}">
                    <a16:creationId xmlns:a16="http://schemas.microsoft.com/office/drawing/2014/main" id="{87C8209A-CC92-47BE-9583-982FA0419DBF}"/>
                  </a:ext>
                </a:extLst>
              </p:cNvPr>
              <p:cNvCxnSpPr>
                <a:cxnSpLocks/>
                <a:stCxn id="353" idx="0"/>
                <a:endCxn id="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5" name="Lige forbindelse 354">
                <a:extLst>
                  <a:ext uri="{FF2B5EF4-FFF2-40B4-BE49-F238E27FC236}">
                    <a16:creationId xmlns:a16="http://schemas.microsoft.com/office/drawing/2014/main" id="{44C45C34-81D9-45E9-9057-DAAD938997C8}"/>
                  </a:ext>
                </a:extLst>
              </p:cNvPr>
              <p:cNvCxnSpPr>
                <a:cxnSpLocks/>
                <a:stCxn id="353" idx="1"/>
                <a:endCxn id="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8" name="Gruppe 27">
              <a:extLst>
                <a:ext uri="{FF2B5EF4-FFF2-40B4-BE49-F238E27FC236}">
                  <a16:creationId xmlns:a16="http://schemas.microsoft.com/office/drawing/2014/main" id="{F7B4A5F1-0498-4394-A1F0-EC4242030F58}"/>
                </a:ext>
              </a:extLst>
            </p:cNvPr>
            <p:cNvGrpSpPr/>
            <p:nvPr/>
          </p:nvGrpSpPr>
          <p:grpSpPr>
            <a:xfrm>
              <a:off x="2781680" y="5182532"/>
              <a:ext cx="110215" cy="202903"/>
              <a:chOff x="1758507" y="5170209"/>
              <a:chExt cx="156925" cy="285896"/>
            </a:xfrm>
          </p:grpSpPr>
          <p:sp>
            <p:nvSpPr>
              <p:cNvPr id="350" name="Rektangel 349">
                <a:extLst>
                  <a:ext uri="{FF2B5EF4-FFF2-40B4-BE49-F238E27FC236}">
                    <a16:creationId xmlns:a16="http://schemas.microsoft.com/office/drawing/2014/main" id="{71595D88-30F9-4773-8168-168ED009E29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1" name="Lige forbindelse 350">
                <a:extLst>
                  <a:ext uri="{FF2B5EF4-FFF2-40B4-BE49-F238E27FC236}">
                    <a16:creationId xmlns:a16="http://schemas.microsoft.com/office/drawing/2014/main" id="{4DCDD549-7737-401F-8C34-2D352E0EFDED}"/>
                  </a:ext>
                </a:extLst>
              </p:cNvPr>
              <p:cNvCxnSpPr>
                <a:cxnSpLocks/>
                <a:stCxn id="350" idx="0"/>
                <a:endCxn id="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2" name="Lige forbindelse 351">
                <a:extLst>
                  <a:ext uri="{FF2B5EF4-FFF2-40B4-BE49-F238E27FC236}">
                    <a16:creationId xmlns:a16="http://schemas.microsoft.com/office/drawing/2014/main" id="{40298584-D51E-4330-A886-D32EE362E67C}"/>
                  </a:ext>
                </a:extLst>
              </p:cNvPr>
              <p:cNvCxnSpPr>
                <a:cxnSpLocks/>
                <a:stCxn id="350" idx="1"/>
                <a:endCxn id="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9" name="Gruppe 28">
              <a:extLst>
                <a:ext uri="{FF2B5EF4-FFF2-40B4-BE49-F238E27FC236}">
                  <a16:creationId xmlns:a16="http://schemas.microsoft.com/office/drawing/2014/main" id="{89E72864-5707-4E08-B96D-A1D271C875CC}"/>
                </a:ext>
              </a:extLst>
            </p:cNvPr>
            <p:cNvGrpSpPr/>
            <p:nvPr/>
          </p:nvGrpSpPr>
          <p:grpSpPr>
            <a:xfrm>
              <a:off x="2972570" y="5182532"/>
              <a:ext cx="110215" cy="202903"/>
              <a:chOff x="1758507" y="5170209"/>
              <a:chExt cx="156925" cy="285896"/>
            </a:xfrm>
          </p:grpSpPr>
          <p:sp>
            <p:nvSpPr>
              <p:cNvPr id="347" name="Rektangel 346">
                <a:extLst>
                  <a:ext uri="{FF2B5EF4-FFF2-40B4-BE49-F238E27FC236}">
                    <a16:creationId xmlns:a16="http://schemas.microsoft.com/office/drawing/2014/main" id="{26D55DE0-2279-4263-8034-2E302BFDBEC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8" name="Lige forbindelse 347">
                <a:extLst>
                  <a:ext uri="{FF2B5EF4-FFF2-40B4-BE49-F238E27FC236}">
                    <a16:creationId xmlns:a16="http://schemas.microsoft.com/office/drawing/2014/main" id="{B03BA8CB-A626-4DD3-A6E8-435B54289973}"/>
                  </a:ext>
                </a:extLst>
              </p:cNvPr>
              <p:cNvCxnSpPr>
                <a:cxnSpLocks/>
                <a:stCxn id="347" idx="0"/>
                <a:endCxn id="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9" name="Lige forbindelse 348">
                <a:extLst>
                  <a:ext uri="{FF2B5EF4-FFF2-40B4-BE49-F238E27FC236}">
                    <a16:creationId xmlns:a16="http://schemas.microsoft.com/office/drawing/2014/main" id="{47A0257B-CCDB-442D-9817-357274CB7252}"/>
                  </a:ext>
                </a:extLst>
              </p:cNvPr>
              <p:cNvCxnSpPr>
                <a:cxnSpLocks/>
                <a:stCxn id="347" idx="1"/>
                <a:endCxn id="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0" name="Gruppe 29">
              <a:extLst>
                <a:ext uri="{FF2B5EF4-FFF2-40B4-BE49-F238E27FC236}">
                  <a16:creationId xmlns:a16="http://schemas.microsoft.com/office/drawing/2014/main" id="{27BB7E46-BF77-40B4-BD1E-4AB96845EBF8}"/>
                </a:ext>
              </a:extLst>
            </p:cNvPr>
            <p:cNvGrpSpPr/>
            <p:nvPr/>
          </p:nvGrpSpPr>
          <p:grpSpPr>
            <a:xfrm>
              <a:off x="3163460" y="5182532"/>
              <a:ext cx="110215" cy="202903"/>
              <a:chOff x="1758507" y="5170209"/>
              <a:chExt cx="156925" cy="285896"/>
            </a:xfrm>
          </p:grpSpPr>
          <p:sp>
            <p:nvSpPr>
              <p:cNvPr id="344" name="Rektangel 343">
                <a:extLst>
                  <a:ext uri="{FF2B5EF4-FFF2-40B4-BE49-F238E27FC236}">
                    <a16:creationId xmlns:a16="http://schemas.microsoft.com/office/drawing/2014/main" id="{4101CB3B-6D61-4854-9EAC-09B6CAAFEC4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5" name="Lige forbindelse 344">
                <a:extLst>
                  <a:ext uri="{FF2B5EF4-FFF2-40B4-BE49-F238E27FC236}">
                    <a16:creationId xmlns:a16="http://schemas.microsoft.com/office/drawing/2014/main" id="{C7DC30A0-ACAB-4886-B5F7-E4B63FA2348B}"/>
                  </a:ext>
                </a:extLst>
              </p:cNvPr>
              <p:cNvCxnSpPr>
                <a:cxnSpLocks/>
                <a:stCxn id="344" idx="0"/>
                <a:endCxn id="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6" name="Lige forbindelse 345">
                <a:extLst>
                  <a:ext uri="{FF2B5EF4-FFF2-40B4-BE49-F238E27FC236}">
                    <a16:creationId xmlns:a16="http://schemas.microsoft.com/office/drawing/2014/main" id="{3E7895AC-B8CA-41DA-B28C-36F950B6C6D1}"/>
                  </a:ext>
                </a:extLst>
              </p:cNvPr>
              <p:cNvCxnSpPr>
                <a:cxnSpLocks/>
                <a:stCxn id="344" idx="1"/>
                <a:endCxn id="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1" name="Gruppe 30">
              <a:extLst>
                <a:ext uri="{FF2B5EF4-FFF2-40B4-BE49-F238E27FC236}">
                  <a16:creationId xmlns:a16="http://schemas.microsoft.com/office/drawing/2014/main" id="{B72E3086-FDF9-4B6B-B8DC-02DF97AB6EB4}"/>
                </a:ext>
              </a:extLst>
            </p:cNvPr>
            <p:cNvGrpSpPr/>
            <p:nvPr/>
          </p:nvGrpSpPr>
          <p:grpSpPr>
            <a:xfrm>
              <a:off x="3354351" y="5182532"/>
              <a:ext cx="110215" cy="202903"/>
              <a:chOff x="1758507" y="5170209"/>
              <a:chExt cx="156925" cy="285896"/>
            </a:xfrm>
          </p:grpSpPr>
          <p:sp>
            <p:nvSpPr>
              <p:cNvPr id="341" name="Rektangel 340">
                <a:extLst>
                  <a:ext uri="{FF2B5EF4-FFF2-40B4-BE49-F238E27FC236}">
                    <a16:creationId xmlns:a16="http://schemas.microsoft.com/office/drawing/2014/main" id="{043F0571-FFD7-4A95-814F-05379A1414F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2" name="Lige forbindelse 341">
                <a:extLst>
                  <a:ext uri="{FF2B5EF4-FFF2-40B4-BE49-F238E27FC236}">
                    <a16:creationId xmlns:a16="http://schemas.microsoft.com/office/drawing/2014/main" id="{798705D2-55FB-46A1-BF4C-2F0B3514B1DE}"/>
                  </a:ext>
                </a:extLst>
              </p:cNvPr>
              <p:cNvCxnSpPr>
                <a:cxnSpLocks/>
                <a:stCxn id="341" idx="0"/>
                <a:endCxn id="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3" name="Lige forbindelse 342">
                <a:extLst>
                  <a:ext uri="{FF2B5EF4-FFF2-40B4-BE49-F238E27FC236}">
                    <a16:creationId xmlns:a16="http://schemas.microsoft.com/office/drawing/2014/main" id="{9DE443C9-4896-4E2F-B496-12896FCD932A}"/>
                  </a:ext>
                </a:extLst>
              </p:cNvPr>
              <p:cNvCxnSpPr>
                <a:cxnSpLocks/>
                <a:stCxn id="341" idx="1"/>
                <a:endCxn id="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2" name="Gruppe 31">
              <a:extLst>
                <a:ext uri="{FF2B5EF4-FFF2-40B4-BE49-F238E27FC236}">
                  <a16:creationId xmlns:a16="http://schemas.microsoft.com/office/drawing/2014/main" id="{9E1667C3-1806-4709-B0F6-0552BD4273F5}"/>
                </a:ext>
              </a:extLst>
            </p:cNvPr>
            <p:cNvGrpSpPr/>
            <p:nvPr/>
          </p:nvGrpSpPr>
          <p:grpSpPr>
            <a:xfrm>
              <a:off x="3545241" y="5182532"/>
              <a:ext cx="110215" cy="202903"/>
              <a:chOff x="1758507" y="5170209"/>
              <a:chExt cx="156925" cy="285896"/>
            </a:xfrm>
          </p:grpSpPr>
          <p:sp>
            <p:nvSpPr>
              <p:cNvPr id="338" name="Rektangel 337">
                <a:extLst>
                  <a:ext uri="{FF2B5EF4-FFF2-40B4-BE49-F238E27FC236}">
                    <a16:creationId xmlns:a16="http://schemas.microsoft.com/office/drawing/2014/main" id="{8E735C5D-1161-471C-B4D2-64676C695BB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9" name="Lige forbindelse 338">
                <a:extLst>
                  <a:ext uri="{FF2B5EF4-FFF2-40B4-BE49-F238E27FC236}">
                    <a16:creationId xmlns:a16="http://schemas.microsoft.com/office/drawing/2014/main" id="{C1D6FEB9-9AFE-44A5-A920-6DC9BB295765}"/>
                  </a:ext>
                </a:extLst>
              </p:cNvPr>
              <p:cNvCxnSpPr>
                <a:cxnSpLocks/>
                <a:stCxn id="338" idx="0"/>
                <a:endCxn id="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0" name="Lige forbindelse 339">
                <a:extLst>
                  <a:ext uri="{FF2B5EF4-FFF2-40B4-BE49-F238E27FC236}">
                    <a16:creationId xmlns:a16="http://schemas.microsoft.com/office/drawing/2014/main" id="{1043CDD5-6F67-4878-A0CB-78F7D5E66E94}"/>
                  </a:ext>
                </a:extLst>
              </p:cNvPr>
              <p:cNvCxnSpPr>
                <a:cxnSpLocks/>
                <a:stCxn id="338" idx="1"/>
                <a:endCxn id="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3" name="Gruppe 32">
              <a:extLst>
                <a:ext uri="{FF2B5EF4-FFF2-40B4-BE49-F238E27FC236}">
                  <a16:creationId xmlns:a16="http://schemas.microsoft.com/office/drawing/2014/main" id="{92888698-4617-4AC8-8F84-51C9E6B23DBB}"/>
                </a:ext>
              </a:extLst>
            </p:cNvPr>
            <p:cNvGrpSpPr/>
            <p:nvPr/>
          </p:nvGrpSpPr>
          <p:grpSpPr>
            <a:xfrm>
              <a:off x="3736132" y="5182532"/>
              <a:ext cx="110215" cy="202903"/>
              <a:chOff x="1758507" y="5170209"/>
              <a:chExt cx="156925" cy="285896"/>
            </a:xfrm>
          </p:grpSpPr>
          <p:sp>
            <p:nvSpPr>
              <p:cNvPr id="335" name="Rektangel 334">
                <a:extLst>
                  <a:ext uri="{FF2B5EF4-FFF2-40B4-BE49-F238E27FC236}">
                    <a16:creationId xmlns:a16="http://schemas.microsoft.com/office/drawing/2014/main" id="{43D56488-B384-456C-9C16-E85149581C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6" name="Lige forbindelse 335">
                <a:extLst>
                  <a:ext uri="{FF2B5EF4-FFF2-40B4-BE49-F238E27FC236}">
                    <a16:creationId xmlns:a16="http://schemas.microsoft.com/office/drawing/2014/main" id="{1E6E9A72-9002-40A9-9BD4-E5FF090050F3}"/>
                  </a:ext>
                </a:extLst>
              </p:cNvPr>
              <p:cNvCxnSpPr>
                <a:cxnSpLocks/>
                <a:stCxn id="335" idx="0"/>
                <a:endCxn id="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24E801FF-5E11-44D2-B78E-63DE180A97C6}"/>
                  </a:ext>
                </a:extLst>
              </p:cNvPr>
              <p:cNvCxnSpPr>
                <a:cxnSpLocks/>
                <a:stCxn id="335" idx="1"/>
                <a:endCxn id="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4" name="Gruppe 33">
              <a:extLst>
                <a:ext uri="{FF2B5EF4-FFF2-40B4-BE49-F238E27FC236}">
                  <a16:creationId xmlns:a16="http://schemas.microsoft.com/office/drawing/2014/main" id="{02B65C94-37B8-4F1D-8D07-8DE5FA57092E}"/>
                </a:ext>
              </a:extLst>
            </p:cNvPr>
            <p:cNvGrpSpPr/>
            <p:nvPr/>
          </p:nvGrpSpPr>
          <p:grpSpPr>
            <a:xfrm>
              <a:off x="3927023" y="5182532"/>
              <a:ext cx="110215" cy="202903"/>
              <a:chOff x="1758507" y="5170209"/>
              <a:chExt cx="156925" cy="285896"/>
            </a:xfrm>
          </p:grpSpPr>
          <p:sp>
            <p:nvSpPr>
              <p:cNvPr id="332" name="Rektangel 331">
                <a:extLst>
                  <a:ext uri="{FF2B5EF4-FFF2-40B4-BE49-F238E27FC236}">
                    <a16:creationId xmlns:a16="http://schemas.microsoft.com/office/drawing/2014/main" id="{2CB6556B-99A2-4BFF-9F1D-BE3B69D02F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3" name="Lige forbindelse 332">
                <a:extLst>
                  <a:ext uri="{FF2B5EF4-FFF2-40B4-BE49-F238E27FC236}">
                    <a16:creationId xmlns:a16="http://schemas.microsoft.com/office/drawing/2014/main" id="{8210045B-0124-47D1-AFFE-030F2BC19EFF}"/>
                  </a:ext>
                </a:extLst>
              </p:cNvPr>
              <p:cNvCxnSpPr>
                <a:cxnSpLocks/>
                <a:stCxn id="332" idx="0"/>
                <a:endCxn id="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4" name="Lige forbindelse 333">
                <a:extLst>
                  <a:ext uri="{FF2B5EF4-FFF2-40B4-BE49-F238E27FC236}">
                    <a16:creationId xmlns:a16="http://schemas.microsoft.com/office/drawing/2014/main" id="{B6BBE8B2-72BD-434A-8C9A-019DF51A038C}"/>
                  </a:ext>
                </a:extLst>
              </p:cNvPr>
              <p:cNvCxnSpPr>
                <a:cxnSpLocks/>
                <a:stCxn id="332" idx="1"/>
                <a:endCxn id="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5" name="Gruppe 34">
              <a:extLst>
                <a:ext uri="{FF2B5EF4-FFF2-40B4-BE49-F238E27FC236}">
                  <a16:creationId xmlns:a16="http://schemas.microsoft.com/office/drawing/2014/main" id="{549D7C92-4C4A-4429-9AA8-4EFBA674D6EB}"/>
                </a:ext>
              </a:extLst>
            </p:cNvPr>
            <p:cNvGrpSpPr/>
            <p:nvPr/>
          </p:nvGrpSpPr>
          <p:grpSpPr>
            <a:xfrm>
              <a:off x="4117913" y="5182532"/>
              <a:ext cx="110215" cy="202903"/>
              <a:chOff x="1758507" y="5170209"/>
              <a:chExt cx="156925" cy="285896"/>
            </a:xfrm>
          </p:grpSpPr>
          <p:sp>
            <p:nvSpPr>
              <p:cNvPr id="329" name="Rektangel 328">
                <a:extLst>
                  <a:ext uri="{FF2B5EF4-FFF2-40B4-BE49-F238E27FC236}">
                    <a16:creationId xmlns:a16="http://schemas.microsoft.com/office/drawing/2014/main" id="{FD456AEF-6438-4C9A-8D69-446943DD53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0" name="Lige forbindelse 329">
                <a:extLst>
                  <a:ext uri="{FF2B5EF4-FFF2-40B4-BE49-F238E27FC236}">
                    <a16:creationId xmlns:a16="http://schemas.microsoft.com/office/drawing/2014/main" id="{F4B374D2-0C29-4591-BF24-7919957DF20E}"/>
                  </a:ext>
                </a:extLst>
              </p:cNvPr>
              <p:cNvCxnSpPr>
                <a:cxnSpLocks/>
                <a:stCxn id="329" idx="0"/>
                <a:endCxn id="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1" name="Lige forbindelse 330">
                <a:extLst>
                  <a:ext uri="{FF2B5EF4-FFF2-40B4-BE49-F238E27FC236}">
                    <a16:creationId xmlns:a16="http://schemas.microsoft.com/office/drawing/2014/main" id="{2CDE1D74-B1BF-4E5D-84FD-C2442EC6470A}"/>
                  </a:ext>
                </a:extLst>
              </p:cNvPr>
              <p:cNvCxnSpPr>
                <a:cxnSpLocks/>
                <a:stCxn id="329" idx="1"/>
                <a:endCxn id="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6" name="Gruppe 35">
              <a:extLst>
                <a:ext uri="{FF2B5EF4-FFF2-40B4-BE49-F238E27FC236}">
                  <a16:creationId xmlns:a16="http://schemas.microsoft.com/office/drawing/2014/main" id="{65F959DB-AA56-43EA-9130-11142AA3AB4A}"/>
                </a:ext>
              </a:extLst>
            </p:cNvPr>
            <p:cNvGrpSpPr/>
            <p:nvPr/>
          </p:nvGrpSpPr>
          <p:grpSpPr>
            <a:xfrm>
              <a:off x="4308804" y="5182532"/>
              <a:ext cx="110215" cy="202903"/>
              <a:chOff x="1758507" y="5170209"/>
              <a:chExt cx="156925" cy="285896"/>
            </a:xfrm>
          </p:grpSpPr>
          <p:sp>
            <p:nvSpPr>
              <p:cNvPr id="326" name="Rektangel 325">
                <a:extLst>
                  <a:ext uri="{FF2B5EF4-FFF2-40B4-BE49-F238E27FC236}">
                    <a16:creationId xmlns:a16="http://schemas.microsoft.com/office/drawing/2014/main" id="{F9411F08-D600-4B48-A978-B872F3693A5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7" name="Lige forbindelse 326">
                <a:extLst>
                  <a:ext uri="{FF2B5EF4-FFF2-40B4-BE49-F238E27FC236}">
                    <a16:creationId xmlns:a16="http://schemas.microsoft.com/office/drawing/2014/main" id="{8F1680C4-98EA-4446-A9A8-67105A2070D7}"/>
                  </a:ext>
                </a:extLst>
              </p:cNvPr>
              <p:cNvCxnSpPr>
                <a:cxnSpLocks/>
                <a:stCxn id="326" idx="0"/>
                <a:endCxn id="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8" name="Lige forbindelse 327">
                <a:extLst>
                  <a:ext uri="{FF2B5EF4-FFF2-40B4-BE49-F238E27FC236}">
                    <a16:creationId xmlns:a16="http://schemas.microsoft.com/office/drawing/2014/main" id="{173A8A3C-1A17-4315-8FE3-3726197F367E}"/>
                  </a:ext>
                </a:extLst>
              </p:cNvPr>
              <p:cNvCxnSpPr>
                <a:cxnSpLocks/>
                <a:stCxn id="326" idx="1"/>
                <a:endCxn id="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7" name="Gruppe 36">
              <a:extLst>
                <a:ext uri="{FF2B5EF4-FFF2-40B4-BE49-F238E27FC236}">
                  <a16:creationId xmlns:a16="http://schemas.microsoft.com/office/drawing/2014/main" id="{5BC39412-C05A-4E3C-8BE4-8270071B78E9}"/>
                </a:ext>
              </a:extLst>
            </p:cNvPr>
            <p:cNvGrpSpPr/>
            <p:nvPr/>
          </p:nvGrpSpPr>
          <p:grpSpPr>
            <a:xfrm>
              <a:off x="4499694" y="5182532"/>
              <a:ext cx="110215" cy="202903"/>
              <a:chOff x="1758507" y="5170209"/>
              <a:chExt cx="156925" cy="285896"/>
            </a:xfrm>
          </p:grpSpPr>
          <p:sp>
            <p:nvSpPr>
              <p:cNvPr id="323" name="Rektangel 322">
                <a:extLst>
                  <a:ext uri="{FF2B5EF4-FFF2-40B4-BE49-F238E27FC236}">
                    <a16:creationId xmlns:a16="http://schemas.microsoft.com/office/drawing/2014/main" id="{8A2D31A4-45BC-4226-83EA-1450E31D529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4" name="Lige forbindelse 323">
                <a:extLst>
                  <a:ext uri="{FF2B5EF4-FFF2-40B4-BE49-F238E27FC236}">
                    <a16:creationId xmlns:a16="http://schemas.microsoft.com/office/drawing/2014/main" id="{B0637C6F-D96E-4A08-8C80-BE078091EB45}"/>
                  </a:ext>
                </a:extLst>
              </p:cNvPr>
              <p:cNvCxnSpPr>
                <a:cxnSpLocks/>
                <a:stCxn id="323" idx="0"/>
                <a:endCxn id="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5" name="Lige forbindelse 324">
                <a:extLst>
                  <a:ext uri="{FF2B5EF4-FFF2-40B4-BE49-F238E27FC236}">
                    <a16:creationId xmlns:a16="http://schemas.microsoft.com/office/drawing/2014/main" id="{1CD63FB6-F200-422D-96D3-849E4E94BC7F}"/>
                  </a:ext>
                </a:extLst>
              </p:cNvPr>
              <p:cNvCxnSpPr>
                <a:cxnSpLocks/>
                <a:stCxn id="323" idx="1"/>
                <a:endCxn id="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8" name="Gruppe 37">
              <a:extLst>
                <a:ext uri="{FF2B5EF4-FFF2-40B4-BE49-F238E27FC236}">
                  <a16:creationId xmlns:a16="http://schemas.microsoft.com/office/drawing/2014/main" id="{0692F69E-D318-40B9-98FF-D63192104227}"/>
                </a:ext>
              </a:extLst>
            </p:cNvPr>
            <p:cNvGrpSpPr/>
            <p:nvPr/>
          </p:nvGrpSpPr>
          <p:grpSpPr>
            <a:xfrm>
              <a:off x="4690585" y="5182532"/>
              <a:ext cx="110215" cy="202903"/>
              <a:chOff x="1758507" y="5170209"/>
              <a:chExt cx="156925" cy="285896"/>
            </a:xfrm>
          </p:grpSpPr>
          <p:sp>
            <p:nvSpPr>
              <p:cNvPr id="320" name="Rektangel 319">
                <a:extLst>
                  <a:ext uri="{FF2B5EF4-FFF2-40B4-BE49-F238E27FC236}">
                    <a16:creationId xmlns:a16="http://schemas.microsoft.com/office/drawing/2014/main" id="{64491446-3A45-4EA6-9D4D-802456E56B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1" name="Lige forbindelse 320">
                <a:extLst>
                  <a:ext uri="{FF2B5EF4-FFF2-40B4-BE49-F238E27FC236}">
                    <a16:creationId xmlns:a16="http://schemas.microsoft.com/office/drawing/2014/main" id="{9468B263-B658-4787-8FAA-70E631CE0754}"/>
                  </a:ext>
                </a:extLst>
              </p:cNvPr>
              <p:cNvCxnSpPr>
                <a:cxnSpLocks/>
                <a:stCxn id="320" idx="0"/>
                <a:endCxn id="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2" name="Lige forbindelse 321">
                <a:extLst>
                  <a:ext uri="{FF2B5EF4-FFF2-40B4-BE49-F238E27FC236}">
                    <a16:creationId xmlns:a16="http://schemas.microsoft.com/office/drawing/2014/main" id="{A92248BA-9919-4E56-9E73-BCC0B453FC06}"/>
                  </a:ext>
                </a:extLst>
              </p:cNvPr>
              <p:cNvCxnSpPr>
                <a:cxnSpLocks/>
                <a:stCxn id="320" idx="1"/>
                <a:endCxn id="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9" name="Gruppe 38">
              <a:extLst>
                <a:ext uri="{FF2B5EF4-FFF2-40B4-BE49-F238E27FC236}">
                  <a16:creationId xmlns:a16="http://schemas.microsoft.com/office/drawing/2014/main" id="{5C0F4682-F7FE-4F28-997C-E9783815D53B}"/>
                </a:ext>
              </a:extLst>
            </p:cNvPr>
            <p:cNvGrpSpPr/>
            <p:nvPr/>
          </p:nvGrpSpPr>
          <p:grpSpPr>
            <a:xfrm>
              <a:off x="4881475" y="5182532"/>
              <a:ext cx="110215" cy="202903"/>
              <a:chOff x="1758507" y="5170209"/>
              <a:chExt cx="156925" cy="285896"/>
            </a:xfrm>
          </p:grpSpPr>
          <p:sp>
            <p:nvSpPr>
              <p:cNvPr id="317" name="Rektangel 316">
                <a:extLst>
                  <a:ext uri="{FF2B5EF4-FFF2-40B4-BE49-F238E27FC236}">
                    <a16:creationId xmlns:a16="http://schemas.microsoft.com/office/drawing/2014/main" id="{88696E79-2F53-4065-ADC1-877E79BD616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8" name="Lige forbindelse 317">
                <a:extLst>
                  <a:ext uri="{FF2B5EF4-FFF2-40B4-BE49-F238E27FC236}">
                    <a16:creationId xmlns:a16="http://schemas.microsoft.com/office/drawing/2014/main" id="{E6BB927A-A1A1-4147-8525-09DB8EBC4B97}"/>
                  </a:ext>
                </a:extLst>
              </p:cNvPr>
              <p:cNvCxnSpPr>
                <a:cxnSpLocks/>
                <a:stCxn id="317" idx="0"/>
                <a:endCxn id="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9" name="Lige forbindelse 318">
                <a:extLst>
                  <a:ext uri="{FF2B5EF4-FFF2-40B4-BE49-F238E27FC236}">
                    <a16:creationId xmlns:a16="http://schemas.microsoft.com/office/drawing/2014/main" id="{3040DB55-E8F1-4CC0-87F5-EB7D1DAFF372}"/>
                  </a:ext>
                </a:extLst>
              </p:cNvPr>
              <p:cNvCxnSpPr>
                <a:cxnSpLocks/>
                <a:stCxn id="317" idx="1"/>
                <a:endCxn id="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0" name="Gruppe 39">
              <a:extLst>
                <a:ext uri="{FF2B5EF4-FFF2-40B4-BE49-F238E27FC236}">
                  <a16:creationId xmlns:a16="http://schemas.microsoft.com/office/drawing/2014/main" id="{30C5856D-7EB1-44F1-875C-5259A4C0CF65}"/>
                </a:ext>
              </a:extLst>
            </p:cNvPr>
            <p:cNvGrpSpPr/>
            <p:nvPr/>
          </p:nvGrpSpPr>
          <p:grpSpPr>
            <a:xfrm>
              <a:off x="5072366" y="5182532"/>
              <a:ext cx="110215" cy="202903"/>
              <a:chOff x="1758507" y="5170209"/>
              <a:chExt cx="156925" cy="285896"/>
            </a:xfrm>
          </p:grpSpPr>
          <p:sp>
            <p:nvSpPr>
              <p:cNvPr id="314" name="Rektangel 313">
                <a:extLst>
                  <a:ext uri="{FF2B5EF4-FFF2-40B4-BE49-F238E27FC236}">
                    <a16:creationId xmlns:a16="http://schemas.microsoft.com/office/drawing/2014/main" id="{0B09BC26-5FB0-4A99-B996-1BB232A35C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5" name="Lige forbindelse 314">
                <a:extLst>
                  <a:ext uri="{FF2B5EF4-FFF2-40B4-BE49-F238E27FC236}">
                    <a16:creationId xmlns:a16="http://schemas.microsoft.com/office/drawing/2014/main" id="{DDC6ADE4-559F-4C50-8193-6CE446D4712C}"/>
                  </a:ext>
                </a:extLst>
              </p:cNvPr>
              <p:cNvCxnSpPr>
                <a:cxnSpLocks/>
                <a:stCxn id="314" idx="0"/>
                <a:endCxn id="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6" name="Lige forbindelse 315">
                <a:extLst>
                  <a:ext uri="{FF2B5EF4-FFF2-40B4-BE49-F238E27FC236}">
                    <a16:creationId xmlns:a16="http://schemas.microsoft.com/office/drawing/2014/main" id="{5DA9B54D-A880-453D-83CF-54506191F589}"/>
                  </a:ext>
                </a:extLst>
              </p:cNvPr>
              <p:cNvCxnSpPr>
                <a:cxnSpLocks/>
                <a:stCxn id="314" idx="1"/>
                <a:endCxn id="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1" name="Gruppe 40">
              <a:extLst>
                <a:ext uri="{FF2B5EF4-FFF2-40B4-BE49-F238E27FC236}">
                  <a16:creationId xmlns:a16="http://schemas.microsoft.com/office/drawing/2014/main" id="{009C4A12-C9BB-451D-8BB0-13DB0991B5A4}"/>
                </a:ext>
              </a:extLst>
            </p:cNvPr>
            <p:cNvGrpSpPr/>
            <p:nvPr/>
          </p:nvGrpSpPr>
          <p:grpSpPr>
            <a:xfrm>
              <a:off x="5263257" y="5182532"/>
              <a:ext cx="110215" cy="202903"/>
              <a:chOff x="1758507" y="5170209"/>
              <a:chExt cx="156925" cy="285896"/>
            </a:xfrm>
          </p:grpSpPr>
          <p:sp>
            <p:nvSpPr>
              <p:cNvPr id="311" name="Rektangel 310">
                <a:extLst>
                  <a:ext uri="{FF2B5EF4-FFF2-40B4-BE49-F238E27FC236}">
                    <a16:creationId xmlns:a16="http://schemas.microsoft.com/office/drawing/2014/main" id="{75532B5E-3029-4B42-A066-2416AD8A3B9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2" name="Lige forbindelse 311">
                <a:extLst>
                  <a:ext uri="{FF2B5EF4-FFF2-40B4-BE49-F238E27FC236}">
                    <a16:creationId xmlns:a16="http://schemas.microsoft.com/office/drawing/2014/main" id="{9BCCDB01-1BFB-49CF-B51A-520C49BCB678}"/>
                  </a:ext>
                </a:extLst>
              </p:cNvPr>
              <p:cNvCxnSpPr>
                <a:cxnSpLocks/>
                <a:stCxn id="311" idx="0"/>
                <a:endCxn id="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3" name="Lige forbindelse 312">
                <a:extLst>
                  <a:ext uri="{FF2B5EF4-FFF2-40B4-BE49-F238E27FC236}">
                    <a16:creationId xmlns:a16="http://schemas.microsoft.com/office/drawing/2014/main" id="{D9BCA93A-AADE-414E-9278-908103251C31}"/>
                  </a:ext>
                </a:extLst>
              </p:cNvPr>
              <p:cNvCxnSpPr>
                <a:cxnSpLocks/>
                <a:stCxn id="311" idx="1"/>
                <a:endCxn id="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2" name="Gruppe 41">
              <a:extLst>
                <a:ext uri="{FF2B5EF4-FFF2-40B4-BE49-F238E27FC236}">
                  <a16:creationId xmlns:a16="http://schemas.microsoft.com/office/drawing/2014/main" id="{17F423A1-9A9F-4B15-9ADF-BB8CFC32677F}"/>
                </a:ext>
              </a:extLst>
            </p:cNvPr>
            <p:cNvGrpSpPr/>
            <p:nvPr/>
          </p:nvGrpSpPr>
          <p:grpSpPr>
            <a:xfrm>
              <a:off x="5454147" y="5182532"/>
              <a:ext cx="110215" cy="202903"/>
              <a:chOff x="1758507" y="5170209"/>
              <a:chExt cx="156925" cy="285896"/>
            </a:xfrm>
          </p:grpSpPr>
          <p:sp>
            <p:nvSpPr>
              <p:cNvPr id="308" name="Rektangel 307">
                <a:extLst>
                  <a:ext uri="{FF2B5EF4-FFF2-40B4-BE49-F238E27FC236}">
                    <a16:creationId xmlns:a16="http://schemas.microsoft.com/office/drawing/2014/main" id="{455B303B-E81B-4F77-AA14-AB08E38F55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9" name="Lige forbindelse 308">
                <a:extLst>
                  <a:ext uri="{FF2B5EF4-FFF2-40B4-BE49-F238E27FC236}">
                    <a16:creationId xmlns:a16="http://schemas.microsoft.com/office/drawing/2014/main" id="{8FCF1153-9A04-479D-8FB1-41C7337FBC89}"/>
                  </a:ext>
                </a:extLst>
              </p:cNvPr>
              <p:cNvCxnSpPr>
                <a:cxnSpLocks/>
                <a:stCxn id="308" idx="0"/>
                <a:endCxn id="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0" name="Lige forbindelse 309">
                <a:extLst>
                  <a:ext uri="{FF2B5EF4-FFF2-40B4-BE49-F238E27FC236}">
                    <a16:creationId xmlns:a16="http://schemas.microsoft.com/office/drawing/2014/main" id="{2177F88E-4E94-46A9-9600-ACB301F3AFCD}"/>
                  </a:ext>
                </a:extLst>
              </p:cNvPr>
              <p:cNvCxnSpPr>
                <a:cxnSpLocks/>
                <a:stCxn id="308" idx="1"/>
                <a:endCxn id="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3" name="Gruppe 42">
              <a:extLst>
                <a:ext uri="{FF2B5EF4-FFF2-40B4-BE49-F238E27FC236}">
                  <a16:creationId xmlns:a16="http://schemas.microsoft.com/office/drawing/2014/main" id="{E04E80EC-28D2-493F-8CEA-1434F2443A63}"/>
                </a:ext>
              </a:extLst>
            </p:cNvPr>
            <p:cNvGrpSpPr/>
            <p:nvPr/>
          </p:nvGrpSpPr>
          <p:grpSpPr>
            <a:xfrm>
              <a:off x="5645037" y="5182532"/>
              <a:ext cx="110215" cy="202903"/>
              <a:chOff x="1758507" y="5170209"/>
              <a:chExt cx="156925" cy="285896"/>
            </a:xfrm>
          </p:grpSpPr>
          <p:sp>
            <p:nvSpPr>
              <p:cNvPr id="305" name="Rektangel 304">
                <a:extLst>
                  <a:ext uri="{FF2B5EF4-FFF2-40B4-BE49-F238E27FC236}">
                    <a16:creationId xmlns:a16="http://schemas.microsoft.com/office/drawing/2014/main" id="{563AEF8B-181D-41EE-BEF9-CCE96B0D39A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6" name="Lige forbindelse 305">
                <a:extLst>
                  <a:ext uri="{FF2B5EF4-FFF2-40B4-BE49-F238E27FC236}">
                    <a16:creationId xmlns:a16="http://schemas.microsoft.com/office/drawing/2014/main" id="{2EA82724-CCA6-4B9B-90D5-B3A86F27609F}"/>
                  </a:ext>
                </a:extLst>
              </p:cNvPr>
              <p:cNvCxnSpPr>
                <a:cxnSpLocks/>
                <a:stCxn id="305" idx="0"/>
                <a:endCxn id="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7" name="Lige forbindelse 306">
                <a:extLst>
                  <a:ext uri="{FF2B5EF4-FFF2-40B4-BE49-F238E27FC236}">
                    <a16:creationId xmlns:a16="http://schemas.microsoft.com/office/drawing/2014/main" id="{10919813-B07B-4D1C-A15F-2257B94FB4D5}"/>
                  </a:ext>
                </a:extLst>
              </p:cNvPr>
              <p:cNvCxnSpPr>
                <a:cxnSpLocks/>
                <a:stCxn id="305" idx="1"/>
                <a:endCxn id="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4" name="Gruppe 43">
              <a:extLst>
                <a:ext uri="{FF2B5EF4-FFF2-40B4-BE49-F238E27FC236}">
                  <a16:creationId xmlns:a16="http://schemas.microsoft.com/office/drawing/2014/main" id="{59814042-E787-4600-9CEC-F5C5A4E7BA48}"/>
                </a:ext>
              </a:extLst>
            </p:cNvPr>
            <p:cNvGrpSpPr/>
            <p:nvPr/>
          </p:nvGrpSpPr>
          <p:grpSpPr>
            <a:xfrm>
              <a:off x="5835932" y="5182532"/>
              <a:ext cx="110215" cy="202903"/>
              <a:chOff x="1758507" y="5170209"/>
              <a:chExt cx="156925" cy="285896"/>
            </a:xfrm>
          </p:grpSpPr>
          <p:sp>
            <p:nvSpPr>
              <p:cNvPr id="302" name="Rektangel 301">
                <a:extLst>
                  <a:ext uri="{FF2B5EF4-FFF2-40B4-BE49-F238E27FC236}">
                    <a16:creationId xmlns:a16="http://schemas.microsoft.com/office/drawing/2014/main" id="{C0088F5E-A0FE-4136-973E-3105833926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3" name="Lige forbindelse 302">
                <a:extLst>
                  <a:ext uri="{FF2B5EF4-FFF2-40B4-BE49-F238E27FC236}">
                    <a16:creationId xmlns:a16="http://schemas.microsoft.com/office/drawing/2014/main" id="{DA4DE5A9-D235-4751-8DE7-9C7976308B96}"/>
                  </a:ext>
                </a:extLst>
              </p:cNvPr>
              <p:cNvCxnSpPr>
                <a:cxnSpLocks/>
                <a:stCxn id="302" idx="0"/>
                <a:endCxn id="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4" name="Lige forbindelse 303">
                <a:extLst>
                  <a:ext uri="{FF2B5EF4-FFF2-40B4-BE49-F238E27FC236}">
                    <a16:creationId xmlns:a16="http://schemas.microsoft.com/office/drawing/2014/main" id="{309316B6-D28F-460A-B24E-3CA508461FF2}"/>
                  </a:ext>
                </a:extLst>
              </p:cNvPr>
              <p:cNvCxnSpPr>
                <a:cxnSpLocks/>
                <a:stCxn id="302" idx="1"/>
                <a:endCxn id="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5" name="Gruppe 44">
              <a:extLst>
                <a:ext uri="{FF2B5EF4-FFF2-40B4-BE49-F238E27FC236}">
                  <a16:creationId xmlns:a16="http://schemas.microsoft.com/office/drawing/2014/main" id="{682E3209-52BB-4273-8C79-018343FB4BC3}"/>
                </a:ext>
              </a:extLst>
            </p:cNvPr>
            <p:cNvGrpSpPr/>
            <p:nvPr/>
          </p:nvGrpSpPr>
          <p:grpSpPr>
            <a:xfrm>
              <a:off x="1827227" y="5428729"/>
              <a:ext cx="110215" cy="202903"/>
              <a:chOff x="1758507" y="5170209"/>
              <a:chExt cx="156925" cy="285896"/>
            </a:xfrm>
          </p:grpSpPr>
          <p:sp>
            <p:nvSpPr>
              <p:cNvPr id="299" name="Rektangel 298">
                <a:extLst>
                  <a:ext uri="{FF2B5EF4-FFF2-40B4-BE49-F238E27FC236}">
                    <a16:creationId xmlns:a16="http://schemas.microsoft.com/office/drawing/2014/main" id="{A5032AAF-A0F0-42A1-946E-3DA60E802B6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0" name="Lige forbindelse 299">
                <a:extLst>
                  <a:ext uri="{FF2B5EF4-FFF2-40B4-BE49-F238E27FC236}">
                    <a16:creationId xmlns:a16="http://schemas.microsoft.com/office/drawing/2014/main" id="{EE8C95A7-0405-416B-BA71-648E9B791BCB}"/>
                  </a:ext>
                </a:extLst>
              </p:cNvPr>
              <p:cNvCxnSpPr>
                <a:cxnSpLocks/>
                <a:stCxn id="299" idx="0"/>
                <a:endCxn id="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1" name="Lige forbindelse 300">
                <a:extLst>
                  <a:ext uri="{FF2B5EF4-FFF2-40B4-BE49-F238E27FC236}">
                    <a16:creationId xmlns:a16="http://schemas.microsoft.com/office/drawing/2014/main" id="{8A8B0756-4C4E-4AFA-88FB-51656B293E89}"/>
                  </a:ext>
                </a:extLst>
              </p:cNvPr>
              <p:cNvCxnSpPr>
                <a:cxnSpLocks/>
                <a:stCxn id="299" idx="1"/>
                <a:endCxn id="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6" name="Gruppe 45">
              <a:extLst>
                <a:ext uri="{FF2B5EF4-FFF2-40B4-BE49-F238E27FC236}">
                  <a16:creationId xmlns:a16="http://schemas.microsoft.com/office/drawing/2014/main" id="{9A6CE329-D4F0-4C5D-A55B-48321556BF21}"/>
                </a:ext>
              </a:extLst>
            </p:cNvPr>
            <p:cNvGrpSpPr/>
            <p:nvPr/>
          </p:nvGrpSpPr>
          <p:grpSpPr>
            <a:xfrm>
              <a:off x="2018117" y="5428729"/>
              <a:ext cx="110215" cy="202903"/>
              <a:chOff x="1758507" y="5170209"/>
              <a:chExt cx="156925" cy="285896"/>
            </a:xfrm>
          </p:grpSpPr>
          <p:sp>
            <p:nvSpPr>
              <p:cNvPr id="296" name="Rektangel 295">
                <a:extLst>
                  <a:ext uri="{FF2B5EF4-FFF2-40B4-BE49-F238E27FC236}">
                    <a16:creationId xmlns:a16="http://schemas.microsoft.com/office/drawing/2014/main" id="{8F15B4D8-4A38-471C-B3E4-6AAB47FD7BE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7" name="Lige forbindelse 296">
                <a:extLst>
                  <a:ext uri="{FF2B5EF4-FFF2-40B4-BE49-F238E27FC236}">
                    <a16:creationId xmlns:a16="http://schemas.microsoft.com/office/drawing/2014/main" id="{E40D968A-A557-4486-9D71-C6C513DCE3DE}"/>
                  </a:ext>
                </a:extLst>
              </p:cNvPr>
              <p:cNvCxnSpPr>
                <a:cxnSpLocks/>
                <a:stCxn id="296" idx="0"/>
                <a:endCxn id="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8" name="Lige forbindelse 297">
                <a:extLst>
                  <a:ext uri="{FF2B5EF4-FFF2-40B4-BE49-F238E27FC236}">
                    <a16:creationId xmlns:a16="http://schemas.microsoft.com/office/drawing/2014/main" id="{1E1DF57A-D8A9-42EA-BC33-953DCE4F40DF}"/>
                  </a:ext>
                </a:extLst>
              </p:cNvPr>
              <p:cNvCxnSpPr>
                <a:cxnSpLocks/>
                <a:stCxn id="296" idx="1"/>
                <a:endCxn id="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7" name="Gruppe 46">
              <a:extLst>
                <a:ext uri="{FF2B5EF4-FFF2-40B4-BE49-F238E27FC236}">
                  <a16:creationId xmlns:a16="http://schemas.microsoft.com/office/drawing/2014/main" id="{301B4DF0-2B8D-45A7-9F3B-CB7723345E38}"/>
                </a:ext>
              </a:extLst>
            </p:cNvPr>
            <p:cNvGrpSpPr/>
            <p:nvPr/>
          </p:nvGrpSpPr>
          <p:grpSpPr>
            <a:xfrm>
              <a:off x="2209008" y="5428729"/>
              <a:ext cx="110215" cy="202903"/>
              <a:chOff x="1758507" y="5170209"/>
              <a:chExt cx="156925" cy="285896"/>
            </a:xfrm>
          </p:grpSpPr>
          <p:sp>
            <p:nvSpPr>
              <p:cNvPr id="293" name="Rektangel 292">
                <a:extLst>
                  <a:ext uri="{FF2B5EF4-FFF2-40B4-BE49-F238E27FC236}">
                    <a16:creationId xmlns:a16="http://schemas.microsoft.com/office/drawing/2014/main" id="{2A7351DF-B6E9-4B4E-8206-EFF2CD840C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4" name="Lige forbindelse 293">
                <a:extLst>
                  <a:ext uri="{FF2B5EF4-FFF2-40B4-BE49-F238E27FC236}">
                    <a16:creationId xmlns:a16="http://schemas.microsoft.com/office/drawing/2014/main" id="{B001B7A0-E157-4E67-9D07-BE3DFFCCC42E}"/>
                  </a:ext>
                </a:extLst>
              </p:cNvPr>
              <p:cNvCxnSpPr>
                <a:cxnSpLocks/>
                <a:stCxn id="293" idx="0"/>
                <a:endCxn id="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5" name="Lige forbindelse 294">
                <a:extLst>
                  <a:ext uri="{FF2B5EF4-FFF2-40B4-BE49-F238E27FC236}">
                    <a16:creationId xmlns:a16="http://schemas.microsoft.com/office/drawing/2014/main" id="{E56DEBD1-3754-4490-9EF1-8E4A4A5C4E3E}"/>
                  </a:ext>
                </a:extLst>
              </p:cNvPr>
              <p:cNvCxnSpPr>
                <a:cxnSpLocks/>
                <a:stCxn id="293" idx="1"/>
                <a:endCxn id="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8" name="Gruppe 47">
              <a:extLst>
                <a:ext uri="{FF2B5EF4-FFF2-40B4-BE49-F238E27FC236}">
                  <a16:creationId xmlns:a16="http://schemas.microsoft.com/office/drawing/2014/main" id="{CAFCB08F-E54A-4120-A0AC-79CB87D75CC5}"/>
                </a:ext>
              </a:extLst>
            </p:cNvPr>
            <p:cNvGrpSpPr/>
            <p:nvPr/>
          </p:nvGrpSpPr>
          <p:grpSpPr>
            <a:xfrm>
              <a:off x="2399898" y="5428729"/>
              <a:ext cx="110215" cy="202903"/>
              <a:chOff x="1758507" y="5170209"/>
              <a:chExt cx="156925" cy="285896"/>
            </a:xfrm>
          </p:grpSpPr>
          <p:sp>
            <p:nvSpPr>
              <p:cNvPr id="290" name="Rektangel 289">
                <a:extLst>
                  <a:ext uri="{FF2B5EF4-FFF2-40B4-BE49-F238E27FC236}">
                    <a16:creationId xmlns:a16="http://schemas.microsoft.com/office/drawing/2014/main" id="{BCE82CF6-8499-422F-864D-5528EB01BBE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1" name="Lige forbindelse 290">
                <a:extLst>
                  <a:ext uri="{FF2B5EF4-FFF2-40B4-BE49-F238E27FC236}">
                    <a16:creationId xmlns:a16="http://schemas.microsoft.com/office/drawing/2014/main" id="{E7A51565-8A44-488F-A651-F41BCD822D52}"/>
                  </a:ext>
                </a:extLst>
              </p:cNvPr>
              <p:cNvCxnSpPr>
                <a:cxnSpLocks/>
                <a:stCxn id="290" idx="0"/>
                <a:endCxn id="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2" name="Lige forbindelse 291">
                <a:extLst>
                  <a:ext uri="{FF2B5EF4-FFF2-40B4-BE49-F238E27FC236}">
                    <a16:creationId xmlns:a16="http://schemas.microsoft.com/office/drawing/2014/main" id="{DFDF75B5-C6F2-4D6D-BE09-56C880085694}"/>
                  </a:ext>
                </a:extLst>
              </p:cNvPr>
              <p:cNvCxnSpPr>
                <a:cxnSpLocks/>
                <a:stCxn id="290" idx="1"/>
                <a:endCxn id="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9" name="Gruppe 48">
              <a:extLst>
                <a:ext uri="{FF2B5EF4-FFF2-40B4-BE49-F238E27FC236}">
                  <a16:creationId xmlns:a16="http://schemas.microsoft.com/office/drawing/2014/main" id="{8616F704-C491-4EC1-A99C-C83FCEA135F5}"/>
                </a:ext>
              </a:extLst>
            </p:cNvPr>
            <p:cNvGrpSpPr/>
            <p:nvPr/>
          </p:nvGrpSpPr>
          <p:grpSpPr>
            <a:xfrm>
              <a:off x="2590789" y="5428729"/>
              <a:ext cx="110215" cy="202903"/>
              <a:chOff x="1758507" y="5170209"/>
              <a:chExt cx="156925" cy="285896"/>
            </a:xfrm>
          </p:grpSpPr>
          <p:sp>
            <p:nvSpPr>
              <p:cNvPr id="287" name="Rektangel 286">
                <a:extLst>
                  <a:ext uri="{FF2B5EF4-FFF2-40B4-BE49-F238E27FC236}">
                    <a16:creationId xmlns:a16="http://schemas.microsoft.com/office/drawing/2014/main" id="{B889F749-01E3-4C23-BC1F-19A2724AAF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8" name="Lige forbindelse 287">
                <a:extLst>
                  <a:ext uri="{FF2B5EF4-FFF2-40B4-BE49-F238E27FC236}">
                    <a16:creationId xmlns:a16="http://schemas.microsoft.com/office/drawing/2014/main" id="{0D724A3E-6F3F-40FD-93E1-9C827E054C0B}"/>
                  </a:ext>
                </a:extLst>
              </p:cNvPr>
              <p:cNvCxnSpPr>
                <a:cxnSpLocks/>
                <a:stCxn id="287" idx="0"/>
                <a:endCxn id="28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9" name="Lige forbindelse 288">
                <a:extLst>
                  <a:ext uri="{FF2B5EF4-FFF2-40B4-BE49-F238E27FC236}">
                    <a16:creationId xmlns:a16="http://schemas.microsoft.com/office/drawing/2014/main" id="{386ACCF6-0C2E-470C-93D5-F5593A91B2AE}"/>
                  </a:ext>
                </a:extLst>
              </p:cNvPr>
              <p:cNvCxnSpPr>
                <a:cxnSpLocks/>
                <a:stCxn id="287" idx="1"/>
                <a:endCxn id="28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0" name="Gruppe 49">
              <a:extLst>
                <a:ext uri="{FF2B5EF4-FFF2-40B4-BE49-F238E27FC236}">
                  <a16:creationId xmlns:a16="http://schemas.microsoft.com/office/drawing/2014/main" id="{B6409CB9-7800-4DAE-A3D7-3E6CD68062B9}"/>
                </a:ext>
              </a:extLst>
            </p:cNvPr>
            <p:cNvGrpSpPr/>
            <p:nvPr/>
          </p:nvGrpSpPr>
          <p:grpSpPr>
            <a:xfrm>
              <a:off x="2781680" y="5428729"/>
              <a:ext cx="110215" cy="202903"/>
              <a:chOff x="1758507" y="5170209"/>
              <a:chExt cx="156925" cy="285896"/>
            </a:xfrm>
          </p:grpSpPr>
          <p:sp>
            <p:nvSpPr>
              <p:cNvPr id="284" name="Rektangel 283">
                <a:extLst>
                  <a:ext uri="{FF2B5EF4-FFF2-40B4-BE49-F238E27FC236}">
                    <a16:creationId xmlns:a16="http://schemas.microsoft.com/office/drawing/2014/main" id="{8801A58F-930B-4576-BBBA-0B2FC1D1AE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5" name="Lige forbindelse 284">
                <a:extLst>
                  <a:ext uri="{FF2B5EF4-FFF2-40B4-BE49-F238E27FC236}">
                    <a16:creationId xmlns:a16="http://schemas.microsoft.com/office/drawing/2014/main" id="{F2B4BA4E-323A-49BB-8CB5-0AE696B2E776}"/>
                  </a:ext>
                </a:extLst>
              </p:cNvPr>
              <p:cNvCxnSpPr>
                <a:cxnSpLocks/>
                <a:stCxn id="284" idx="0"/>
                <a:endCxn id="28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6" name="Lige forbindelse 285">
                <a:extLst>
                  <a:ext uri="{FF2B5EF4-FFF2-40B4-BE49-F238E27FC236}">
                    <a16:creationId xmlns:a16="http://schemas.microsoft.com/office/drawing/2014/main" id="{DC18E852-84FA-4E1E-844C-8CD6F32BF111}"/>
                  </a:ext>
                </a:extLst>
              </p:cNvPr>
              <p:cNvCxnSpPr>
                <a:cxnSpLocks/>
                <a:stCxn id="284" idx="1"/>
                <a:endCxn id="28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1" name="Gruppe 50">
              <a:extLst>
                <a:ext uri="{FF2B5EF4-FFF2-40B4-BE49-F238E27FC236}">
                  <a16:creationId xmlns:a16="http://schemas.microsoft.com/office/drawing/2014/main" id="{90755FBE-7E3B-4A02-A07B-D2C535492C7A}"/>
                </a:ext>
              </a:extLst>
            </p:cNvPr>
            <p:cNvGrpSpPr/>
            <p:nvPr/>
          </p:nvGrpSpPr>
          <p:grpSpPr>
            <a:xfrm>
              <a:off x="2972570" y="5428729"/>
              <a:ext cx="110215" cy="202903"/>
              <a:chOff x="1758507" y="5170209"/>
              <a:chExt cx="156925" cy="285896"/>
            </a:xfrm>
          </p:grpSpPr>
          <p:sp>
            <p:nvSpPr>
              <p:cNvPr id="281" name="Rektangel 280">
                <a:extLst>
                  <a:ext uri="{FF2B5EF4-FFF2-40B4-BE49-F238E27FC236}">
                    <a16:creationId xmlns:a16="http://schemas.microsoft.com/office/drawing/2014/main" id="{8C42747F-239A-4D30-AEC6-9885894DA17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2" name="Lige forbindelse 281">
                <a:extLst>
                  <a:ext uri="{FF2B5EF4-FFF2-40B4-BE49-F238E27FC236}">
                    <a16:creationId xmlns:a16="http://schemas.microsoft.com/office/drawing/2014/main" id="{88AB354A-477A-4962-BC2E-CEE1DEB34B4E}"/>
                  </a:ext>
                </a:extLst>
              </p:cNvPr>
              <p:cNvCxnSpPr>
                <a:cxnSpLocks/>
                <a:stCxn id="281" idx="0"/>
                <a:endCxn id="28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3" name="Lige forbindelse 282">
                <a:extLst>
                  <a:ext uri="{FF2B5EF4-FFF2-40B4-BE49-F238E27FC236}">
                    <a16:creationId xmlns:a16="http://schemas.microsoft.com/office/drawing/2014/main" id="{28A5562F-7502-4F68-8F1F-4AF8079B2136}"/>
                  </a:ext>
                </a:extLst>
              </p:cNvPr>
              <p:cNvCxnSpPr>
                <a:cxnSpLocks/>
                <a:stCxn id="281" idx="1"/>
                <a:endCxn id="28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2" name="Gruppe 51">
              <a:extLst>
                <a:ext uri="{FF2B5EF4-FFF2-40B4-BE49-F238E27FC236}">
                  <a16:creationId xmlns:a16="http://schemas.microsoft.com/office/drawing/2014/main" id="{31B2478F-4A20-4A8E-B9D7-70D9CE848D87}"/>
                </a:ext>
              </a:extLst>
            </p:cNvPr>
            <p:cNvGrpSpPr/>
            <p:nvPr/>
          </p:nvGrpSpPr>
          <p:grpSpPr>
            <a:xfrm>
              <a:off x="3163460" y="5428729"/>
              <a:ext cx="110215" cy="202903"/>
              <a:chOff x="1758507" y="5170209"/>
              <a:chExt cx="156925" cy="285896"/>
            </a:xfrm>
          </p:grpSpPr>
          <p:sp>
            <p:nvSpPr>
              <p:cNvPr id="278" name="Rektangel 277">
                <a:extLst>
                  <a:ext uri="{FF2B5EF4-FFF2-40B4-BE49-F238E27FC236}">
                    <a16:creationId xmlns:a16="http://schemas.microsoft.com/office/drawing/2014/main" id="{9AA4FAF0-FFFB-4F19-9779-A57CF65C583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9" name="Lige forbindelse 278">
                <a:extLst>
                  <a:ext uri="{FF2B5EF4-FFF2-40B4-BE49-F238E27FC236}">
                    <a16:creationId xmlns:a16="http://schemas.microsoft.com/office/drawing/2014/main" id="{E54953B6-73C9-419C-8151-305CE8C95EA3}"/>
                  </a:ext>
                </a:extLst>
              </p:cNvPr>
              <p:cNvCxnSpPr>
                <a:cxnSpLocks/>
                <a:stCxn id="278" idx="0"/>
                <a:endCxn id="27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0" name="Lige forbindelse 279">
                <a:extLst>
                  <a:ext uri="{FF2B5EF4-FFF2-40B4-BE49-F238E27FC236}">
                    <a16:creationId xmlns:a16="http://schemas.microsoft.com/office/drawing/2014/main" id="{6F739215-E3B9-4643-A932-9DC29A6E3B1A}"/>
                  </a:ext>
                </a:extLst>
              </p:cNvPr>
              <p:cNvCxnSpPr>
                <a:cxnSpLocks/>
                <a:stCxn id="278" idx="1"/>
                <a:endCxn id="27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3" name="Gruppe 52">
              <a:extLst>
                <a:ext uri="{FF2B5EF4-FFF2-40B4-BE49-F238E27FC236}">
                  <a16:creationId xmlns:a16="http://schemas.microsoft.com/office/drawing/2014/main" id="{316E171A-7C8C-49FC-9785-8AF9C9FD8F9A}"/>
                </a:ext>
              </a:extLst>
            </p:cNvPr>
            <p:cNvGrpSpPr/>
            <p:nvPr/>
          </p:nvGrpSpPr>
          <p:grpSpPr>
            <a:xfrm>
              <a:off x="3354351" y="5428729"/>
              <a:ext cx="110215" cy="202903"/>
              <a:chOff x="1758507" y="5170209"/>
              <a:chExt cx="156925" cy="285896"/>
            </a:xfrm>
          </p:grpSpPr>
          <p:sp>
            <p:nvSpPr>
              <p:cNvPr id="275" name="Rektangel 274">
                <a:extLst>
                  <a:ext uri="{FF2B5EF4-FFF2-40B4-BE49-F238E27FC236}">
                    <a16:creationId xmlns:a16="http://schemas.microsoft.com/office/drawing/2014/main" id="{B89FAB74-DFDC-45DA-A449-D8F50D4214A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6" name="Lige forbindelse 275">
                <a:extLst>
                  <a:ext uri="{FF2B5EF4-FFF2-40B4-BE49-F238E27FC236}">
                    <a16:creationId xmlns:a16="http://schemas.microsoft.com/office/drawing/2014/main" id="{85FA33B7-8A13-49A4-AA4B-A1B626CBF141}"/>
                  </a:ext>
                </a:extLst>
              </p:cNvPr>
              <p:cNvCxnSpPr>
                <a:cxnSpLocks/>
                <a:stCxn id="275" idx="0"/>
                <a:endCxn id="27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7" name="Lige forbindelse 276">
                <a:extLst>
                  <a:ext uri="{FF2B5EF4-FFF2-40B4-BE49-F238E27FC236}">
                    <a16:creationId xmlns:a16="http://schemas.microsoft.com/office/drawing/2014/main" id="{B7009856-B685-40B4-A590-90AF34778D91}"/>
                  </a:ext>
                </a:extLst>
              </p:cNvPr>
              <p:cNvCxnSpPr>
                <a:cxnSpLocks/>
                <a:stCxn id="275" idx="1"/>
                <a:endCxn id="27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4" name="Gruppe 53">
              <a:extLst>
                <a:ext uri="{FF2B5EF4-FFF2-40B4-BE49-F238E27FC236}">
                  <a16:creationId xmlns:a16="http://schemas.microsoft.com/office/drawing/2014/main" id="{607483BC-E15A-4593-9805-647ACB7A0912}"/>
                </a:ext>
              </a:extLst>
            </p:cNvPr>
            <p:cNvGrpSpPr/>
            <p:nvPr/>
          </p:nvGrpSpPr>
          <p:grpSpPr>
            <a:xfrm>
              <a:off x="3545241" y="5428729"/>
              <a:ext cx="110215" cy="202903"/>
              <a:chOff x="1758507" y="5170209"/>
              <a:chExt cx="156925" cy="285896"/>
            </a:xfrm>
          </p:grpSpPr>
          <p:sp>
            <p:nvSpPr>
              <p:cNvPr id="272" name="Rektangel 271">
                <a:extLst>
                  <a:ext uri="{FF2B5EF4-FFF2-40B4-BE49-F238E27FC236}">
                    <a16:creationId xmlns:a16="http://schemas.microsoft.com/office/drawing/2014/main" id="{080041B2-E1E4-483A-ACF8-3D3CDA57BAC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3" name="Lige forbindelse 272">
                <a:extLst>
                  <a:ext uri="{FF2B5EF4-FFF2-40B4-BE49-F238E27FC236}">
                    <a16:creationId xmlns:a16="http://schemas.microsoft.com/office/drawing/2014/main" id="{B52C2E6C-2D63-4629-8C37-FDFE28795681}"/>
                  </a:ext>
                </a:extLst>
              </p:cNvPr>
              <p:cNvCxnSpPr>
                <a:cxnSpLocks/>
                <a:stCxn id="272" idx="0"/>
                <a:endCxn id="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4" name="Lige forbindelse 273">
                <a:extLst>
                  <a:ext uri="{FF2B5EF4-FFF2-40B4-BE49-F238E27FC236}">
                    <a16:creationId xmlns:a16="http://schemas.microsoft.com/office/drawing/2014/main" id="{00523520-3BFB-41E1-A2D0-D2AECA37BBE9}"/>
                  </a:ext>
                </a:extLst>
              </p:cNvPr>
              <p:cNvCxnSpPr>
                <a:cxnSpLocks/>
                <a:stCxn id="272" idx="1"/>
                <a:endCxn id="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5" name="Gruppe 54">
              <a:extLst>
                <a:ext uri="{FF2B5EF4-FFF2-40B4-BE49-F238E27FC236}">
                  <a16:creationId xmlns:a16="http://schemas.microsoft.com/office/drawing/2014/main" id="{37C04FA3-A8E6-4477-B3CE-BB2FFDA8229E}"/>
                </a:ext>
              </a:extLst>
            </p:cNvPr>
            <p:cNvGrpSpPr/>
            <p:nvPr/>
          </p:nvGrpSpPr>
          <p:grpSpPr>
            <a:xfrm>
              <a:off x="3736132" y="5428729"/>
              <a:ext cx="110215" cy="202903"/>
              <a:chOff x="1758507" y="5170209"/>
              <a:chExt cx="156925" cy="285896"/>
            </a:xfrm>
          </p:grpSpPr>
          <p:sp>
            <p:nvSpPr>
              <p:cNvPr id="269" name="Rektangel 268">
                <a:extLst>
                  <a:ext uri="{FF2B5EF4-FFF2-40B4-BE49-F238E27FC236}">
                    <a16:creationId xmlns:a16="http://schemas.microsoft.com/office/drawing/2014/main" id="{F4D79E62-BB38-419A-BED7-01262F7A19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0" name="Lige forbindelse 269">
                <a:extLst>
                  <a:ext uri="{FF2B5EF4-FFF2-40B4-BE49-F238E27FC236}">
                    <a16:creationId xmlns:a16="http://schemas.microsoft.com/office/drawing/2014/main" id="{3C6168A2-4768-4B84-A69F-30EE32BE58BF}"/>
                  </a:ext>
                </a:extLst>
              </p:cNvPr>
              <p:cNvCxnSpPr>
                <a:cxnSpLocks/>
                <a:stCxn id="269" idx="0"/>
                <a:endCxn id="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1" name="Lige forbindelse 270">
                <a:extLst>
                  <a:ext uri="{FF2B5EF4-FFF2-40B4-BE49-F238E27FC236}">
                    <a16:creationId xmlns:a16="http://schemas.microsoft.com/office/drawing/2014/main" id="{2455A280-CF7B-4AFD-9F6E-FB4F2E8E56C1}"/>
                  </a:ext>
                </a:extLst>
              </p:cNvPr>
              <p:cNvCxnSpPr>
                <a:cxnSpLocks/>
                <a:stCxn id="269" idx="1"/>
                <a:endCxn id="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6" name="Gruppe 55">
              <a:extLst>
                <a:ext uri="{FF2B5EF4-FFF2-40B4-BE49-F238E27FC236}">
                  <a16:creationId xmlns:a16="http://schemas.microsoft.com/office/drawing/2014/main" id="{4E9EBFB8-2D81-408A-B065-611161BC5D2E}"/>
                </a:ext>
              </a:extLst>
            </p:cNvPr>
            <p:cNvGrpSpPr/>
            <p:nvPr/>
          </p:nvGrpSpPr>
          <p:grpSpPr>
            <a:xfrm>
              <a:off x="3927023" y="5428729"/>
              <a:ext cx="110215" cy="202903"/>
              <a:chOff x="1758507" y="5170209"/>
              <a:chExt cx="156925" cy="285896"/>
            </a:xfrm>
          </p:grpSpPr>
          <p:sp>
            <p:nvSpPr>
              <p:cNvPr id="266" name="Rektangel 265">
                <a:extLst>
                  <a:ext uri="{FF2B5EF4-FFF2-40B4-BE49-F238E27FC236}">
                    <a16:creationId xmlns:a16="http://schemas.microsoft.com/office/drawing/2014/main" id="{68D7DA9E-4CDF-4DC0-B947-9735ABF1FB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7" name="Lige forbindelse 266">
                <a:extLst>
                  <a:ext uri="{FF2B5EF4-FFF2-40B4-BE49-F238E27FC236}">
                    <a16:creationId xmlns:a16="http://schemas.microsoft.com/office/drawing/2014/main" id="{2FB22E4E-1E8A-47F4-959E-D1A1BC931720}"/>
                  </a:ext>
                </a:extLst>
              </p:cNvPr>
              <p:cNvCxnSpPr>
                <a:cxnSpLocks/>
                <a:stCxn id="266" idx="0"/>
                <a:endCxn id="26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8" name="Lige forbindelse 267">
                <a:extLst>
                  <a:ext uri="{FF2B5EF4-FFF2-40B4-BE49-F238E27FC236}">
                    <a16:creationId xmlns:a16="http://schemas.microsoft.com/office/drawing/2014/main" id="{AEE204B7-9A75-4FC4-A9AC-7159B5115EED}"/>
                  </a:ext>
                </a:extLst>
              </p:cNvPr>
              <p:cNvCxnSpPr>
                <a:cxnSpLocks/>
                <a:stCxn id="266" idx="1"/>
                <a:endCxn id="26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7" name="Gruppe 56">
              <a:extLst>
                <a:ext uri="{FF2B5EF4-FFF2-40B4-BE49-F238E27FC236}">
                  <a16:creationId xmlns:a16="http://schemas.microsoft.com/office/drawing/2014/main" id="{009F6641-E049-4EDB-8D68-0148EDFBAFA9}"/>
                </a:ext>
              </a:extLst>
            </p:cNvPr>
            <p:cNvGrpSpPr/>
            <p:nvPr/>
          </p:nvGrpSpPr>
          <p:grpSpPr>
            <a:xfrm>
              <a:off x="4117913" y="5428729"/>
              <a:ext cx="110215" cy="202903"/>
              <a:chOff x="1758507" y="5170209"/>
              <a:chExt cx="156925" cy="285896"/>
            </a:xfrm>
          </p:grpSpPr>
          <p:sp>
            <p:nvSpPr>
              <p:cNvPr id="263" name="Rektangel 262">
                <a:extLst>
                  <a:ext uri="{FF2B5EF4-FFF2-40B4-BE49-F238E27FC236}">
                    <a16:creationId xmlns:a16="http://schemas.microsoft.com/office/drawing/2014/main" id="{44D94932-69CE-4E1A-88DD-1315638D93B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4" name="Lige forbindelse 263">
                <a:extLst>
                  <a:ext uri="{FF2B5EF4-FFF2-40B4-BE49-F238E27FC236}">
                    <a16:creationId xmlns:a16="http://schemas.microsoft.com/office/drawing/2014/main" id="{41ECF9EE-DB08-4947-A27E-44743062AA67}"/>
                  </a:ext>
                </a:extLst>
              </p:cNvPr>
              <p:cNvCxnSpPr>
                <a:cxnSpLocks/>
                <a:stCxn id="263" idx="0"/>
                <a:endCxn id="26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5" name="Lige forbindelse 264">
                <a:extLst>
                  <a:ext uri="{FF2B5EF4-FFF2-40B4-BE49-F238E27FC236}">
                    <a16:creationId xmlns:a16="http://schemas.microsoft.com/office/drawing/2014/main" id="{1EDC328A-8E3E-46F3-8F1C-ECFD318A4293}"/>
                  </a:ext>
                </a:extLst>
              </p:cNvPr>
              <p:cNvCxnSpPr>
                <a:cxnSpLocks/>
                <a:stCxn id="263" idx="1"/>
                <a:endCxn id="26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8" name="Gruppe 57">
              <a:extLst>
                <a:ext uri="{FF2B5EF4-FFF2-40B4-BE49-F238E27FC236}">
                  <a16:creationId xmlns:a16="http://schemas.microsoft.com/office/drawing/2014/main" id="{408147F0-B603-415D-AB0F-55EE5BF9175C}"/>
                </a:ext>
              </a:extLst>
            </p:cNvPr>
            <p:cNvGrpSpPr/>
            <p:nvPr/>
          </p:nvGrpSpPr>
          <p:grpSpPr>
            <a:xfrm>
              <a:off x="4308804" y="5428729"/>
              <a:ext cx="110215" cy="202903"/>
              <a:chOff x="1758507" y="5170209"/>
              <a:chExt cx="156925" cy="285896"/>
            </a:xfrm>
          </p:grpSpPr>
          <p:sp>
            <p:nvSpPr>
              <p:cNvPr id="260" name="Rektangel 259">
                <a:extLst>
                  <a:ext uri="{FF2B5EF4-FFF2-40B4-BE49-F238E27FC236}">
                    <a16:creationId xmlns:a16="http://schemas.microsoft.com/office/drawing/2014/main" id="{F702CC43-BBBC-44E7-B673-C538BAA7C6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1" name="Lige forbindelse 260">
                <a:extLst>
                  <a:ext uri="{FF2B5EF4-FFF2-40B4-BE49-F238E27FC236}">
                    <a16:creationId xmlns:a16="http://schemas.microsoft.com/office/drawing/2014/main" id="{0E124B89-4291-496A-986C-4DD61DA7BE31}"/>
                  </a:ext>
                </a:extLst>
              </p:cNvPr>
              <p:cNvCxnSpPr>
                <a:cxnSpLocks/>
                <a:stCxn id="260" idx="0"/>
                <a:endCxn id="26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2" name="Lige forbindelse 261">
                <a:extLst>
                  <a:ext uri="{FF2B5EF4-FFF2-40B4-BE49-F238E27FC236}">
                    <a16:creationId xmlns:a16="http://schemas.microsoft.com/office/drawing/2014/main" id="{C2AB6B66-1157-441E-BE54-4A1BBAAEB5E7}"/>
                  </a:ext>
                </a:extLst>
              </p:cNvPr>
              <p:cNvCxnSpPr>
                <a:cxnSpLocks/>
                <a:stCxn id="260" idx="1"/>
                <a:endCxn id="26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9" name="Gruppe 58">
              <a:extLst>
                <a:ext uri="{FF2B5EF4-FFF2-40B4-BE49-F238E27FC236}">
                  <a16:creationId xmlns:a16="http://schemas.microsoft.com/office/drawing/2014/main" id="{A253DD68-0A97-4F52-A2D8-D2EF4D65DB9D}"/>
                </a:ext>
              </a:extLst>
            </p:cNvPr>
            <p:cNvGrpSpPr/>
            <p:nvPr/>
          </p:nvGrpSpPr>
          <p:grpSpPr>
            <a:xfrm>
              <a:off x="4499694" y="5428729"/>
              <a:ext cx="110215" cy="202903"/>
              <a:chOff x="1758507" y="5170209"/>
              <a:chExt cx="156925" cy="285896"/>
            </a:xfrm>
          </p:grpSpPr>
          <p:sp>
            <p:nvSpPr>
              <p:cNvPr id="257" name="Rektangel 256">
                <a:extLst>
                  <a:ext uri="{FF2B5EF4-FFF2-40B4-BE49-F238E27FC236}">
                    <a16:creationId xmlns:a16="http://schemas.microsoft.com/office/drawing/2014/main" id="{014FCC86-CA4B-4F6A-A89D-585FCC7937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8" name="Lige forbindelse 257">
                <a:extLst>
                  <a:ext uri="{FF2B5EF4-FFF2-40B4-BE49-F238E27FC236}">
                    <a16:creationId xmlns:a16="http://schemas.microsoft.com/office/drawing/2014/main" id="{1BE36404-A093-4B87-AD47-32678D3EF3F1}"/>
                  </a:ext>
                </a:extLst>
              </p:cNvPr>
              <p:cNvCxnSpPr>
                <a:cxnSpLocks/>
                <a:stCxn id="257" idx="0"/>
                <a:endCxn id="25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9" name="Lige forbindelse 258">
                <a:extLst>
                  <a:ext uri="{FF2B5EF4-FFF2-40B4-BE49-F238E27FC236}">
                    <a16:creationId xmlns:a16="http://schemas.microsoft.com/office/drawing/2014/main" id="{01669C7B-38B7-4674-AE48-9AF5E5240BFA}"/>
                  </a:ext>
                </a:extLst>
              </p:cNvPr>
              <p:cNvCxnSpPr>
                <a:cxnSpLocks/>
                <a:stCxn id="257" idx="1"/>
                <a:endCxn id="25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0" name="Gruppe 59">
              <a:extLst>
                <a:ext uri="{FF2B5EF4-FFF2-40B4-BE49-F238E27FC236}">
                  <a16:creationId xmlns:a16="http://schemas.microsoft.com/office/drawing/2014/main" id="{949EA370-43C0-47DC-93C2-DFFFB5C617D7}"/>
                </a:ext>
              </a:extLst>
            </p:cNvPr>
            <p:cNvGrpSpPr/>
            <p:nvPr/>
          </p:nvGrpSpPr>
          <p:grpSpPr>
            <a:xfrm>
              <a:off x="4690585" y="5428729"/>
              <a:ext cx="110215" cy="202903"/>
              <a:chOff x="1758507" y="5170209"/>
              <a:chExt cx="156925" cy="285896"/>
            </a:xfrm>
          </p:grpSpPr>
          <p:sp>
            <p:nvSpPr>
              <p:cNvPr id="254" name="Rektangel 253">
                <a:extLst>
                  <a:ext uri="{FF2B5EF4-FFF2-40B4-BE49-F238E27FC236}">
                    <a16:creationId xmlns:a16="http://schemas.microsoft.com/office/drawing/2014/main" id="{748C2C8A-A0FB-469C-A1D6-55F15F5739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5" name="Lige forbindelse 254">
                <a:extLst>
                  <a:ext uri="{FF2B5EF4-FFF2-40B4-BE49-F238E27FC236}">
                    <a16:creationId xmlns:a16="http://schemas.microsoft.com/office/drawing/2014/main" id="{261D87D5-1FB0-4C9A-AEDB-04031D648D89}"/>
                  </a:ext>
                </a:extLst>
              </p:cNvPr>
              <p:cNvCxnSpPr>
                <a:cxnSpLocks/>
                <a:stCxn id="254" idx="0"/>
                <a:endCxn id="25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6" name="Lige forbindelse 255">
                <a:extLst>
                  <a:ext uri="{FF2B5EF4-FFF2-40B4-BE49-F238E27FC236}">
                    <a16:creationId xmlns:a16="http://schemas.microsoft.com/office/drawing/2014/main" id="{7E784230-A1C3-4F8A-9293-7382FED03F13}"/>
                  </a:ext>
                </a:extLst>
              </p:cNvPr>
              <p:cNvCxnSpPr>
                <a:cxnSpLocks/>
                <a:stCxn id="254" idx="1"/>
                <a:endCxn id="25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1" name="Gruppe 60">
              <a:extLst>
                <a:ext uri="{FF2B5EF4-FFF2-40B4-BE49-F238E27FC236}">
                  <a16:creationId xmlns:a16="http://schemas.microsoft.com/office/drawing/2014/main" id="{8570B52D-BCB6-4D9E-9590-DF7379301175}"/>
                </a:ext>
              </a:extLst>
            </p:cNvPr>
            <p:cNvGrpSpPr/>
            <p:nvPr/>
          </p:nvGrpSpPr>
          <p:grpSpPr>
            <a:xfrm>
              <a:off x="4881475" y="5428729"/>
              <a:ext cx="110215" cy="202903"/>
              <a:chOff x="1758507" y="5170209"/>
              <a:chExt cx="156925" cy="285896"/>
            </a:xfrm>
          </p:grpSpPr>
          <p:sp>
            <p:nvSpPr>
              <p:cNvPr id="251" name="Rektangel 250">
                <a:extLst>
                  <a:ext uri="{FF2B5EF4-FFF2-40B4-BE49-F238E27FC236}">
                    <a16:creationId xmlns:a16="http://schemas.microsoft.com/office/drawing/2014/main" id="{7205E8A9-1570-4323-A7FA-211F7E5D3F4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2" name="Lige forbindelse 251">
                <a:extLst>
                  <a:ext uri="{FF2B5EF4-FFF2-40B4-BE49-F238E27FC236}">
                    <a16:creationId xmlns:a16="http://schemas.microsoft.com/office/drawing/2014/main" id="{39081F67-6FF9-40C8-9779-9CDA215C5AFF}"/>
                  </a:ext>
                </a:extLst>
              </p:cNvPr>
              <p:cNvCxnSpPr>
                <a:cxnSpLocks/>
                <a:stCxn id="251" idx="0"/>
                <a:endCxn id="25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3" name="Lige forbindelse 252">
                <a:extLst>
                  <a:ext uri="{FF2B5EF4-FFF2-40B4-BE49-F238E27FC236}">
                    <a16:creationId xmlns:a16="http://schemas.microsoft.com/office/drawing/2014/main" id="{E4037E75-5EE3-4B41-8A44-3561DA1F6C64}"/>
                  </a:ext>
                </a:extLst>
              </p:cNvPr>
              <p:cNvCxnSpPr>
                <a:cxnSpLocks/>
                <a:stCxn id="251" idx="1"/>
                <a:endCxn id="25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2" name="Gruppe 61">
              <a:extLst>
                <a:ext uri="{FF2B5EF4-FFF2-40B4-BE49-F238E27FC236}">
                  <a16:creationId xmlns:a16="http://schemas.microsoft.com/office/drawing/2014/main" id="{BA45D308-1B4E-47C8-BABD-CF4C7E00A4EA}"/>
                </a:ext>
              </a:extLst>
            </p:cNvPr>
            <p:cNvGrpSpPr/>
            <p:nvPr/>
          </p:nvGrpSpPr>
          <p:grpSpPr>
            <a:xfrm>
              <a:off x="5072366" y="5428729"/>
              <a:ext cx="110215" cy="202903"/>
              <a:chOff x="1758507" y="5170209"/>
              <a:chExt cx="156925" cy="285896"/>
            </a:xfrm>
          </p:grpSpPr>
          <p:sp>
            <p:nvSpPr>
              <p:cNvPr id="248" name="Rektangel 247">
                <a:extLst>
                  <a:ext uri="{FF2B5EF4-FFF2-40B4-BE49-F238E27FC236}">
                    <a16:creationId xmlns:a16="http://schemas.microsoft.com/office/drawing/2014/main" id="{2CE4E9A1-D324-4C9E-AE3F-D757F88E51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9" name="Lige forbindelse 248">
                <a:extLst>
                  <a:ext uri="{FF2B5EF4-FFF2-40B4-BE49-F238E27FC236}">
                    <a16:creationId xmlns:a16="http://schemas.microsoft.com/office/drawing/2014/main" id="{5EB45B06-87BC-470E-A072-92979FB90DC5}"/>
                  </a:ext>
                </a:extLst>
              </p:cNvPr>
              <p:cNvCxnSpPr>
                <a:cxnSpLocks/>
                <a:stCxn id="248" idx="0"/>
                <a:endCxn id="24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0" name="Lige forbindelse 249">
                <a:extLst>
                  <a:ext uri="{FF2B5EF4-FFF2-40B4-BE49-F238E27FC236}">
                    <a16:creationId xmlns:a16="http://schemas.microsoft.com/office/drawing/2014/main" id="{E4956A4D-40CE-4574-8DD2-2589B00AF601}"/>
                  </a:ext>
                </a:extLst>
              </p:cNvPr>
              <p:cNvCxnSpPr>
                <a:cxnSpLocks/>
                <a:stCxn id="248" idx="1"/>
                <a:endCxn id="24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3" name="Gruppe 62">
              <a:extLst>
                <a:ext uri="{FF2B5EF4-FFF2-40B4-BE49-F238E27FC236}">
                  <a16:creationId xmlns:a16="http://schemas.microsoft.com/office/drawing/2014/main" id="{A4E68C0A-2F7A-4FDC-9586-218ED8BE1A98}"/>
                </a:ext>
              </a:extLst>
            </p:cNvPr>
            <p:cNvGrpSpPr/>
            <p:nvPr/>
          </p:nvGrpSpPr>
          <p:grpSpPr>
            <a:xfrm>
              <a:off x="5263257" y="5428729"/>
              <a:ext cx="110215" cy="202903"/>
              <a:chOff x="1758507" y="5170209"/>
              <a:chExt cx="156925" cy="285896"/>
            </a:xfrm>
          </p:grpSpPr>
          <p:sp>
            <p:nvSpPr>
              <p:cNvPr id="245" name="Rektangel 244">
                <a:extLst>
                  <a:ext uri="{FF2B5EF4-FFF2-40B4-BE49-F238E27FC236}">
                    <a16:creationId xmlns:a16="http://schemas.microsoft.com/office/drawing/2014/main" id="{345A319C-9333-4E36-9B23-E9DC6451C24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6" name="Lige forbindelse 245">
                <a:extLst>
                  <a:ext uri="{FF2B5EF4-FFF2-40B4-BE49-F238E27FC236}">
                    <a16:creationId xmlns:a16="http://schemas.microsoft.com/office/drawing/2014/main" id="{ADAFBD09-90DB-45BE-AAB7-25F98A63B874}"/>
                  </a:ext>
                </a:extLst>
              </p:cNvPr>
              <p:cNvCxnSpPr>
                <a:cxnSpLocks/>
                <a:stCxn id="245" idx="0"/>
                <a:endCxn id="24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7" name="Lige forbindelse 246">
                <a:extLst>
                  <a:ext uri="{FF2B5EF4-FFF2-40B4-BE49-F238E27FC236}">
                    <a16:creationId xmlns:a16="http://schemas.microsoft.com/office/drawing/2014/main" id="{41A7EBF9-92B9-4471-AEF6-3893341E30A7}"/>
                  </a:ext>
                </a:extLst>
              </p:cNvPr>
              <p:cNvCxnSpPr>
                <a:cxnSpLocks/>
                <a:stCxn id="245" idx="1"/>
                <a:endCxn id="24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4" name="Gruppe 63">
              <a:extLst>
                <a:ext uri="{FF2B5EF4-FFF2-40B4-BE49-F238E27FC236}">
                  <a16:creationId xmlns:a16="http://schemas.microsoft.com/office/drawing/2014/main" id="{9AC142FE-9CFC-40FA-B9E7-01C1C42CD982}"/>
                </a:ext>
              </a:extLst>
            </p:cNvPr>
            <p:cNvGrpSpPr/>
            <p:nvPr/>
          </p:nvGrpSpPr>
          <p:grpSpPr>
            <a:xfrm>
              <a:off x="5454147" y="5428729"/>
              <a:ext cx="110215" cy="202903"/>
              <a:chOff x="1758507" y="5170209"/>
              <a:chExt cx="156925" cy="285896"/>
            </a:xfrm>
          </p:grpSpPr>
          <p:sp>
            <p:nvSpPr>
              <p:cNvPr id="242" name="Rektangel 241">
                <a:extLst>
                  <a:ext uri="{FF2B5EF4-FFF2-40B4-BE49-F238E27FC236}">
                    <a16:creationId xmlns:a16="http://schemas.microsoft.com/office/drawing/2014/main" id="{AD94D359-FD71-4423-88E3-2269115F010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3" name="Lige forbindelse 242">
                <a:extLst>
                  <a:ext uri="{FF2B5EF4-FFF2-40B4-BE49-F238E27FC236}">
                    <a16:creationId xmlns:a16="http://schemas.microsoft.com/office/drawing/2014/main" id="{94206346-9F42-48C5-9279-598ACFC9471B}"/>
                  </a:ext>
                </a:extLst>
              </p:cNvPr>
              <p:cNvCxnSpPr>
                <a:cxnSpLocks/>
                <a:stCxn id="242" idx="0"/>
                <a:endCxn id="24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4" name="Lige forbindelse 243">
                <a:extLst>
                  <a:ext uri="{FF2B5EF4-FFF2-40B4-BE49-F238E27FC236}">
                    <a16:creationId xmlns:a16="http://schemas.microsoft.com/office/drawing/2014/main" id="{864EC479-7A69-4316-A19D-F4F30FB4D41B}"/>
                  </a:ext>
                </a:extLst>
              </p:cNvPr>
              <p:cNvCxnSpPr>
                <a:cxnSpLocks/>
                <a:stCxn id="242" idx="1"/>
                <a:endCxn id="24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5" name="Gruppe 64">
              <a:extLst>
                <a:ext uri="{FF2B5EF4-FFF2-40B4-BE49-F238E27FC236}">
                  <a16:creationId xmlns:a16="http://schemas.microsoft.com/office/drawing/2014/main" id="{58003A3F-35A8-48B4-8343-08DE85D44F11}"/>
                </a:ext>
              </a:extLst>
            </p:cNvPr>
            <p:cNvGrpSpPr/>
            <p:nvPr/>
          </p:nvGrpSpPr>
          <p:grpSpPr>
            <a:xfrm>
              <a:off x="5645037" y="5428729"/>
              <a:ext cx="110215" cy="202903"/>
              <a:chOff x="1758507" y="5170209"/>
              <a:chExt cx="156925" cy="285896"/>
            </a:xfrm>
          </p:grpSpPr>
          <p:sp>
            <p:nvSpPr>
              <p:cNvPr id="239" name="Rektangel 238">
                <a:extLst>
                  <a:ext uri="{FF2B5EF4-FFF2-40B4-BE49-F238E27FC236}">
                    <a16:creationId xmlns:a16="http://schemas.microsoft.com/office/drawing/2014/main" id="{FFC01AD3-F909-4A0D-8433-CF201BD829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0" name="Lige forbindelse 239">
                <a:extLst>
                  <a:ext uri="{FF2B5EF4-FFF2-40B4-BE49-F238E27FC236}">
                    <a16:creationId xmlns:a16="http://schemas.microsoft.com/office/drawing/2014/main" id="{5DDA54AE-8860-4F29-B866-ACC9A9D88A12}"/>
                  </a:ext>
                </a:extLst>
              </p:cNvPr>
              <p:cNvCxnSpPr>
                <a:cxnSpLocks/>
                <a:stCxn id="239" idx="0"/>
                <a:endCxn id="23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1" name="Lige forbindelse 240">
                <a:extLst>
                  <a:ext uri="{FF2B5EF4-FFF2-40B4-BE49-F238E27FC236}">
                    <a16:creationId xmlns:a16="http://schemas.microsoft.com/office/drawing/2014/main" id="{92FFC034-AAB3-4F48-A512-DD557891944F}"/>
                  </a:ext>
                </a:extLst>
              </p:cNvPr>
              <p:cNvCxnSpPr>
                <a:cxnSpLocks/>
                <a:stCxn id="239" idx="1"/>
                <a:endCxn id="23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6" name="Gruppe 65">
              <a:extLst>
                <a:ext uri="{FF2B5EF4-FFF2-40B4-BE49-F238E27FC236}">
                  <a16:creationId xmlns:a16="http://schemas.microsoft.com/office/drawing/2014/main" id="{548D451D-47B8-4F4F-9321-85671EB81E99}"/>
                </a:ext>
              </a:extLst>
            </p:cNvPr>
            <p:cNvGrpSpPr/>
            <p:nvPr/>
          </p:nvGrpSpPr>
          <p:grpSpPr>
            <a:xfrm>
              <a:off x="5835932" y="5428729"/>
              <a:ext cx="110215" cy="202903"/>
              <a:chOff x="1758507" y="5170209"/>
              <a:chExt cx="156925" cy="285896"/>
            </a:xfrm>
          </p:grpSpPr>
          <p:sp>
            <p:nvSpPr>
              <p:cNvPr id="236" name="Rektangel 235">
                <a:extLst>
                  <a:ext uri="{FF2B5EF4-FFF2-40B4-BE49-F238E27FC236}">
                    <a16:creationId xmlns:a16="http://schemas.microsoft.com/office/drawing/2014/main" id="{848D2872-24CF-4B26-87D4-511FA38B48E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7" name="Lige forbindelse 236">
                <a:extLst>
                  <a:ext uri="{FF2B5EF4-FFF2-40B4-BE49-F238E27FC236}">
                    <a16:creationId xmlns:a16="http://schemas.microsoft.com/office/drawing/2014/main" id="{AC52277D-A432-4CB7-99E9-F060D60E7D15}"/>
                  </a:ext>
                </a:extLst>
              </p:cNvPr>
              <p:cNvCxnSpPr>
                <a:cxnSpLocks/>
                <a:stCxn id="236" idx="0"/>
                <a:endCxn id="23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8" name="Lige forbindelse 237">
                <a:extLst>
                  <a:ext uri="{FF2B5EF4-FFF2-40B4-BE49-F238E27FC236}">
                    <a16:creationId xmlns:a16="http://schemas.microsoft.com/office/drawing/2014/main" id="{0B5F142C-CA63-412B-8F9A-151B278C3220}"/>
                  </a:ext>
                </a:extLst>
              </p:cNvPr>
              <p:cNvCxnSpPr>
                <a:cxnSpLocks/>
                <a:stCxn id="236" idx="1"/>
                <a:endCxn id="23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7" name="Gruppe 66">
              <a:extLst>
                <a:ext uri="{FF2B5EF4-FFF2-40B4-BE49-F238E27FC236}">
                  <a16:creationId xmlns:a16="http://schemas.microsoft.com/office/drawing/2014/main" id="{6B7E7A60-CAA1-4A33-AC4E-F28B59E6B980}"/>
                </a:ext>
              </a:extLst>
            </p:cNvPr>
            <p:cNvGrpSpPr/>
            <p:nvPr/>
          </p:nvGrpSpPr>
          <p:grpSpPr>
            <a:xfrm>
              <a:off x="1827227" y="5698878"/>
              <a:ext cx="110215" cy="202903"/>
              <a:chOff x="1758507" y="5170209"/>
              <a:chExt cx="156925" cy="285896"/>
            </a:xfrm>
          </p:grpSpPr>
          <p:sp>
            <p:nvSpPr>
              <p:cNvPr id="233" name="Rektangel 232">
                <a:extLst>
                  <a:ext uri="{FF2B5EF4-FFF2-40B4-BE49-F238E27FC236}">
                    <a16:creationId xmlns:a16="http://schemas.microsoft.com/office/drawing/2014/main" id="{520885DB-8674-4EEC-987E-0CE1B420985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4" name="Lige forbindelse 233">
                <a:extLst>
                  <a:ext uri="{FF2B5EF4-FFF2-40B4-BE49-F238E27FC236}">
                    <a16:creationId xmlns:a16="http://schemas.microsoft.com/office/drawing/2014/main" id="{A7F83B17-E4DB-4C57-9AEE-A76AEF37F1B6}"/>
                  </a:ext>
                </a:extLst>
              </p:cNvPr>
              <p:cNvCxnSpPr>
                <a:cxnSpLocks/>
                <a:stCxn id="233" idx="0"/>
                <a:endCxn id="23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5" name="Lige forbindelse 234">
                <a:extLst>
                  <a:ext uri="{FF2B5EF4-FFF2-40B4-BE49-F238E27FC236}">
                    <a16:creationId xmlns:a16="http://schemas.microsoft.com/office/drawing/2014/main" id="{949D4EC0-A1C5-4801-82A0-CBE44E561EB3}"/>
                  </a:ext>
                </a:extLst>
              </p:cNvPr>
              <p:cNvCxnSpPr>
                <a:cxnSpLocks/>
                <a:stCxn id="233" idx="1"/>
                <a:endCxn id="23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8" name="Gruppe 67">
              <a:extLst>
                <a:ext uri="{FF2B5EF4-FFF2-40B4-BE49-F238E27FC236}">
                  <a16:creationId xmlns:a16="http://schemas.microsoft.com/office/drawing/2014/main" id="{25926869-98BA-431E-987C-20E545763F0F}"/>
                </a:ext>
              </a:extLst>
            </p:cNvPr>
            <p:cNvGrpSpPr/>
            <p:nvPr/>
          </p:nvGrpSpPr>
          <p:grpSpPr>
            <a:xfrm>
              <a:off x="2018117" y="5698878"/>
              <a:ext cx="110215" cy="202903"/>
              <a:chOff x="1758507" y="5170209"/>
              <a:chExt cx="156925" cy="285896"/>
            </a:xfrm>
          </p:grpSpPr>
          <p:sp>
            <p:nvSpPr>
              <p:cNvPr id="230" name="Rektangel 229">
                <a:extLst>
                  <a:ext uri="{FF2B5EF4-FFF2-40B4-BE49-F238E27FC236}">
                    <a16:creationId xmlns:a16="http://schemas.microsoft.com/office/drawing/2014/main" id="{F8F41CD7-7D2D-41C8-8479-4D93ED3C51B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1" name="Lige forbindelse 230">
                <a:extLst>
                  <a:ext uri="{FF2B5EF4-FFF2-40B4-BE49-F238E27FC236}">
                    <a16:creationId xmlns:a16="http://schemas.microsoft.com/office/drawing/2014/main" id="{B2E49C0A-B36C-4C71-AEB4-B48F33E19F21}"/>
                  </a:ext>
                </a:extLst>
              </p:cNvPr>
              <p:cNvCxnSpPr>
                <a:cxnSpLocks/>
                <a:stCxn id="230" idx="0"/>
                <a:endCxn id="23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2" name="Lige forbindelse 231">
                <a:extLst>
                  <a:ext uri="{FF2B5EF4-FFF2-40B4-BE49-F238E27FC236}">
                    <a16:creationId xmlns:a16="http://schemas.microsoft.com/office/drawing/2014/main" id="{6F74CC4C-9BC7-486B-8232-BC4861E2338B}"/>
                  </a:ext>
                </a:extLst>
              </p:cNvPr>
              <p:cNvCxnSpPr>
                <a:cxnSpLocks/>
                <a:stCxn id="230" idx="1"/>
                <a:endCxn id="23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9" name="Gruppe 68">
              <a:extLst>
                <a:ext uri="{FF2B5EF4-FFF2-40B4-BE49-F238E27FC236}">
                  <a16:creationId xmlns:a16="http://schemas.microsoft.com/office/drawing/2014/main" id="{5C558299-98CC-43BD-8A9C-9896693852C7}"/>
                </a:ext>
              </a:extLst>
            </p:cNvPr>
            <p:cNvGrpSpPr/>
            <p:nvPr/>
          </p:nvGrpSpPr>
          <p:grpSpPr>
            <a:xfrm>
              <a:off x="2209008" y="5698878"/>
              <a:ext cx="110215" cy="202903"/>
              <a:chOff x="1758507" y="5170209"/>
              <a:chExt cx="156925" cy="285896"/>
            </a:xfrm>
          </p:grpSpPr>
          <p:sp>
            <p:nvSpPr>
              <p:cNvPr id="227" name="Rektangel 226">
                <a:extLst>
                  <a:ext uri="{FF2B5EF4-FFF2-40B4-BE49-F238E27FC236}">
                    <a16:creationId xmlns:a16="http://schemas.microsoft.com/office/drawing/2014/main" id="{4DB948B8-A056-4DC4-A5FB-309634CC8B2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8" name="Lige forbindelse 227">
                <a:extLst>
                  <a:ext uri="{FF2B5EF4-FFF2-40B4-BE49-F238E27FC236}">
                    <a16:creationId xmlns:a16="http://schemas.microsoft.com/office/drawing/2014/main" id="{E72309AB-7D46-42E9-A172-B38199B43AA6}"/>
                  </a:ext>
                </a:extLst>
              </p:cNvPr>
              <p:cNvCxnSpPr>
                <a:cxnSpLocks/>
                <a:stCxn id="227" idx="0"/>
                <a:endCxn id="22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9" name="Lige forbindelse 228">
                <a:extLst>
                  <a:ext uri="{FF2B5EF4-FFF2-40B4-BE49-F238E27FC236}">
                    <a16:creationId xmlns:a16="http://schemas.microsoft.com/office/drawing/2014/main" id="{39CC01BB-A581-4135-B621-ECBDCFC005E2}"/>
                  </a:ext>
                </a:extLst>
              </p:cNvPr>
              <p:cNvCxnSpPr>
                <a:cxnSpLocks/>
                <a:stCxn id="227" idx="1"/>
                <a:endCxn id="22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0" name="Gruppe 69">
              <a:extLst>
                <a:ext uri="{FF2B5EF4-FFF2-40B4-BE49-F238E27FC236}">
                  <a16:creationId xmlns:a16="http://schemas.microsoft.com/office/drawing/2014/main" id="{79412398-57CE-469D-B84A-188680BBE108}"/>
                </a:ext>
              </a:extLst>
            </p:cNvPr>
            <p:cNvGrpSpPr/>
            <p:nvPr/>
          </p:nvGrpSpPr>
          <p:grpSpPr>
            <a:xfrm>
              <a:off x="2399898" y="5698878"/>
              <a:ext cx="110215" cy="202903"/>
              <a:chOff x="1758507" y="5170209"/>
              <a:chExt cx="156925" cy="285896"/>
            </a:xfrm>
          </p:grpSpPr>
          <p:sp>
            <p:nvSpPr>
              <p:cNvPr id="224" name="Rektangel 223">
                <a:extLst>
                  <a:ext uri="{FF2B5EF4-FFF2-40B4-BE49-F238E27FC236}">
                    <a16:creationId xmlns:a16="http://schemas.microsoft.com/office/drawing/2014/main" id="{309443EA-C0B4-4123-9EEA-8B2ED976E92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5" name="Lige forbindelse 224">
                <a:extLst>
                  <a:ext uri="{FF2B5EF4-FFF2-40B4-BE49-F238E27FC236}">
                    <a16:creationId xmlns:a16="http://schemas.microsoft.com/office/drawing/2014/main" id="{19890AEB-0739-4024-85CC-4A19D52E7D7F}"/>
                  </a:ext>
                </a:extLst>
              </p:cNvPr>
              <p:cNvCxnSpPr>
                <a:cxnSpLocks/>
                <a:stCxn id="224" idx="0"/>
                <a:endCxn id="22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6" name="Lige forbindelse 225">
                <a:extLst>
                  <a:ext uri="{FF2B5EF4-FFF2-40B4-BE49-F238E27FC236}">
                    <a16:creationId xmlns:a16="http://schemas.microsoft.com/office/drawing/2014/main" id="{8D3B93F0-732B-4222-A3C3-294891B6FCCD}"/>
                  </a:ext>
                </a:extLst>
              </p:cNvPr>
              <p:cNvCxnSpPr>
                <a:cxnSpLocks/>
                <a:stCxn id="224" idx="1"/>
                <a:endCxn id="22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1" name="Gruppe 70">
              <a:extLst>
                <a:ext uri="{FF2B5EF4-FFF2-40B4-BE49-F238E27FC236}">
                  <a16:creationId xmlns:a16="http://schemas.microsoft.com/office/drawing/2014/main" id="{DE7AF65A-3BC3-4EC6-931C-B0266189F3FF}"/>
                </a:ext>
              </a:extLst>
            </p:cNvPr>
            <p:cNvGrpSpPr/>
            <p:nvPr/>
          </p:nvGrpSpPr>
          <p:grpSpPr>
            <a:xfrm>
              <a:off x="2590789" y="5698878"/>
              <a:ext cx="110215" cy="202903"/>
              <a:chOff x="1758507" y="5170209"/>
              <a:chExt cx="156925" cy="285896"/>
            </a:xfrm>
          </p:grpSpPr>
          <p:sp>
            <p:nvSpPr>
              <p:cNvPr id="221" name="Rektangel 220">
                <a:extLst>
                  <a:ext uri="{FF2B5EF4-FFF2-40B4-BE49-F238E27FC236}">
                    <a16:creationId xmlns:a16="http://schemas.microsoft.com/office/drawing/2014/main" id="{10580FAA-4526-479F-988C-204E105A95D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2" name="Lige forbindelse 221">
                <a:extLst>
                  <a:ext uri="{FF2B5EF4-FFF2-40B4-BE49-F238E27FC236}">
                    <a16:creationId xmlns:a16="http://schemas.microsoft.com/office/drawing/2014/main" id="{6AE6BE58-F489-4036-B675-3D263E45B0D9}"/>
                  </a:ext>
                </a:extLst>
              </p:cNvPr>
              <p:cNvCxnSpPr>
                <a:cxnSpLocks/>
                <a:stCxn id="221" idx="0"/>
                <a:endCxn id="22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3" name="Lige forbindelse 222">
                <a:extLst>
                  <a:ext uri="{FF2B5EF4-FFF2-40B4-BE49-F238E27FC236}">
                    <a16:creationId xmlns:a16="http://schemas.microsoft.com/office/drawing/2014/main" id="{9A6C6B0D-4262-4F06-AD5B-22CAE485CBAC}"/>
                  </a:ext>
                </a:extLst>
              </p:cNvPr>
              <p:cNvCxnSpPr>
                <a:cxnSpLocks/>
                <a:stCxn id="221" idx="1"/>
                <a:endCxn id="22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2" name="Gruppe 71">
              <a:extLst>
                <a:ext uri="{FF2B5EF4-FFF2-40B4-BE49-F238E27FC236}">
                  <a16:creationId xmlns:a16="http://schemas.microsoft.com/office/drawing/2014/main" id="{CEDA5E5E-9182-451C-BCBE-3D8B4E967AA5}"/>
                </a:ext>
              </a:extLst>
            </p:cNvPr>
            <p:cNvGrpSpPr/>
            <p:nvPr/>
          </p:nvGrpSpPr>
          <p:grpSpPr>
            <a:xfrm>
              <a:off x="2781680" y="5698878"/>
              <a:ext cx="110215" cy="202903"/>
              <a:chOff x="1758507" y="5170209"/>
              <a:chExt cx="156925" cy="285896"/>
            </a:xfrm>
          </p:grpSpPr>
          <p:sp>
            <p:nvSpPr>
              <p:cNvPr id="218" name="Rektangel 217">
                <a:extLst>
                  <a:ext uri="{FF2B5EF4-FFF2-40B4-BE49-F238E27FC236}">
                    <a16:creationId xmlns:a16="http://schemas.microsoft.com/office/drawing/2014/main" id="{9739ACA7-4F05-4978-A2A0-9850F7E676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9" name="Lige forbindelse 218">
                <a:extLst>
                  <a:ext uri="{FF2B5EF4-FFF2-40B4-BE49-F238E27FC236}">
                    <a16:creationId xmlns:a16="http://schemas.microsoft.com/office/drawing/2014/main" id="{B550D343-8C90-4E41-8929-7B8C925EC9E7}"/>
                  </a:ext>
                </a:extLst>
              </p:cNvPr>
              <p:cNvCxnSpPr>
                <a:cxnSpLocks/>
                <a:stCxn id="218" idx="0"/>
                <a:endCxn id="21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0" name="Lige forbindelse 219">
                <a:extLst>
                  <a:ext uri="{FF2B5EF4-FFF2-40B4-BE49-F238E27FC236}">
                    <a16:creationId xmlns:a16="http://schemas.microsoft.com/office/drawing/2014/main" id="{64E25249-4F1D-4E96-9E7D-69E11836C448}"/>
                  </a:ext>
                </a:extLst>
              </p:cNvPr>
              <p:cNvCxnSpPr>
                <a:cxnSpLocks/>
                <a:stCxn id="218" idx="1"/>
                <a:endCxn id="21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73" name="Rektangel 72">
              <a:extLst>
                <a:ext uri="{FF2B5EF4-FFF2-40B4-BE49-F238E27FC236}">
                  <a16:creationId xmlns:a16="http://schemas.microsoft.com/office/drawing/2014/main" id="{0B2E2B22-17B5-481D-9BF8-3F6422144569}"/>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74" name="Lige forbindelse 73">
              <a:extLst>
                <a:ext uri="{FF2B5EF4-FFF2-40B4-BE49-F238E27FC236}">
                  <a16:creationId xmlns:a16="http://schemas.microsoft.com/office/drawing/2014/main" id="{CBF87E4A-ABFE-42F3-BE41-6FEA17704D6E}"/>
                </a:ext>
              </a:extLst>
            </p:cNvPr>
            <p:cNvCxnSpPr>
              <a:cxnSpLocks/>
              <a:stCxn id="73" idx="0"/>
              <a:endCxn id="73"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75" name="Lige forbindelse 74">
              <a:extLst>
                <a:ext uri="{FF2B5EF4-FFF2-40B4-BE49-F238E27FC236}">
                  <a16:creationId xmlns:a16="http://schemas.microsoft.com/office/drawing/2014/main" id="{C903F28F-2203-438E-A996-0358E1DD5B06}"/>
                </a:ext>
              </a:extLst>
            </p:cNvPr>
            <p:cNvCxnSpPr>
              <a:cxnSpLocks/>
              <a:stCxn id="73" idx="1"/>
              <a:endCxn id="73"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76" name="Gruppe 75">
              <a:extLst>
                <a:ext uri="{FF2B5EF4-FFF2-40B4-BE49-F238E27FC236}">
                  <a16:creationId xmlns:a16="http://schemas.microsoft.com/office/drawing/2014/main" id="{9E6BA7C0-626D-48F3-A8B1-64DF0D6C52E5}"/>
                </a:ext>
              </a:extLst>
            </p:cNvPr>
            <p:cNvGrpSpPr/>
            <p:nvPr/>
          </p:nvGrpSpPr>
          <p:grpSpPr>
            <a:xfrm>
              <a:off x="4690585" y="5698878"/>
              <a:ext cx="110215" cy="202903"/>
              <a:chOff x="1758507" y="5170209"/>
              <a:chExt cx="156925" cy="285896"/>
            </a:xfrm>
          </p:grpSpPr>
          <p:sp>
            <p:nvSpPr>
              <p:cNvPr id="215" name="Rektangel 214">
                <a:extLst>
                  <a:ext uri="{FF2B5EF4-FFF2-40B4-BE49-F238E27FC236}">
                    <a16:creationId xmlns:a16="http://schemas.microsoft.com/office/drawing/2014/main" id="{20C6301B-7336-436C-B033-7D10BAE60C2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6" name="Lige forbindelse 215">
                <a:extLst>
                  <a:ext uri="{FF2B5EF4-FFF2-40B4-BE49-F238E27FC236}">
                    <a16:creationId xmlns:a16="http://schemas.microsoft.com/office/drawing/2014/main" id="{F1266211-A620-4E99-B957-EF4133756C75}"/>
                  </a:ext>
                </a:extLst>
              </p:cNvPr>
              <p:cNvCxnSpPr>
                <a:cxnSpLocks/>
                <a:stCxn id="215" idx="0"/>
                <a:endCxn id="21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7" name="Lige forbindelse 216">
                <a:extLst>
                  <a:ext uri="{FF2B5EF4-FFF2-40B4-BE49-F238E27FC236}">
                    <a16:creationId xmlns:a16="http://schemas.microsoft.com/office/drawing/2014/main" id="{956AFA8F-6FB6-4A4D-8842-A075D68611D1}"/>
                  </a:ext>
                </a:extLst>
              </p:cNvPr>
              <p:cNvCxnSpPr>
                <a:cxnSpLocks/>
                <a:stCxn id="215" idx="1"/>
                <a:endCxn id="21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7" name="Gruppe 76">
              <a:extLst>
                <a:ext uri="{FF2B5EF4-FFF2-40B4-BE49-F238E27FC236}">
                  <a16:creationId xmlns:a16="http://schemas.microsoft.com/office/drawing/2014/main" id="{E7D7446E-7491-4E23-B13E-FB13EDBB74C5}"/>
                </a:ext>
              </a:extLst>
            </p:cNvPr>
            <p:cNvGrpSpPr/>
            <p:nvPr/>
          </p:nvGrpSpPr>
          <p:grpSpPr>
            <a:xfrm>
              <a:off x="4881475" y="5698878"/>
              <a:ext cx="110215" cy="202903"/>
              <a:chOff x="1758507" y="5170209"/>
              <a:chExt cx="156925" cy="285896"/>
            </a:xfrm>
          </p:grpSpPr>
          <p:sp>
            <p:nvSpPr>
              <p:cNvPr id="212" name="Rektangel 211">
                <a:extLst>
                  <a:ext uri="{FF2B5EF4-FFF2-40B4-BE49-F238E27FC236}">
                    <a16:creationId xmlns:a16="http://schemas.microsoft.com/office/drawing/2014/main" id="{D149B102-273A-46CB-9147-BD5EEDD235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3" name="Lige forbindelse 212">
                <a:extLst>
                  <a:ext uri="{FF2B5EF4-FFF2-40B4-BE49-F238E27FC236}">
                    <a16:creationId xmlns:a16="http://schemas.microsoft.com/office/drawing/2014/main" id="{22A1D108-5D15-4493-9624-123DDC202308}"/>
                  </a:ext>
                </a:extLst>
              </p:cNvPr>
              <p:cNvCxnSpPr>
                <a:cxnSpLocks/>
                <a:stCxn id="212" idx="0"/>
                <a:endCxn id="21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4" name="Lige forbindelse 213">
                <a:extLst>
                  <a:ext uri="{FF2B5EF4-FFF2-40B4-BE49-F238E27FC236}">
                    <a16:creationId xmlns:a16="http://schemas.microsoft.com/office/drawing/2014/main" id="{C5B04482-50EE-4C41-B745-588760FD8799}"/>
                  </a:ext>
                </a:extLst>
              </p:cNvPr>
              <p:cNvCxnSpPr>
                <a:cxnSpLocks/>
                <a:stCxn id="212" idx="1"/>
                <a:endCxn id="21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80" name="Rektangel 79">
              <a:extLst>
                <a:ext uri="{FF2B5EF4-FFF2-40B4-BE49-F238E27FC236}">
                  <a16:creationId xmlns:a16="http://schemas.microsoft.com/office/drawing/2014/main" id="{3872869B-0B1E-49AB-A660-2D58E2A7CF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81" name="Gruppe 80">
              <a:extLst>
                <a:ext uri="{FF2B5EF4-FFF2-40B4-BE49-F238E27FC236}">
                  <a16:creationId xmlns:a16="http://schemas.microsoft.com/office/drawing/2014/main" id="{DA0B7959-AE0E-4464-98D8-5FA5A0CD5628}"/>
                </a:ext>
              </a:extLst>
            </p:cNvPr>
            <p:cNvGrpSpPr/>
            <p:nvPr/>
          </p:nvGrpSpPr>
          <p:grpSpPr>
            <a:xfrm>
              <a:off x="2895359" y="5971178"/>
              <a:ext cx="1982809" cy="63914"/>
              <a:chOff x="1209635" y="3152432"/>
              <a:chExt cx="9240230" cy="585788"/>
            </a:xfrm>
            <a:solidFill>
              <a:srgbClr val="D5D2C5"/>
            </a:solidFill>
          </p:grpSpPr>
          <p:sp>
            <p:nvSpPr>
              <p:cNvPr id="209" name="Retvinklet trekant 208">
                <a:extLst>
                  <a:ext uri="{FF2B5EF4-FFF2-40B4-BE49-F238E27FC236}">
                    <a16:creationId xmlns:a16="http://schemas.microsoft.com/office/drawing/2014/main" id="{036034FC-F371-4901-BD28-232A3E488629}"/>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0" name="Rektangel 209">
                <a:extLst>
                  <a:ext uri="{FF2B5EF4-FFF2-40B4-BE49-F238E27FC236}">
                    <a16:creationId xmlns:a16="http://schemas.microsoft.com/office/drawing/2014/main" id="{89FB11F0-4F75-44A2-A591-332D159696D0}"/>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1" name="Retvinklet trekant 210">
                <a:extLst>
                  <a:ext uri="{FF2B5EF4-FFF2-40B4-BE49-F238E27FC236}">
                    <a16:creationId xmlns:a16="http://schemas.microsoft.com/office/drawing/2014/main" id="{D878E3E8-2F51-4692-B422-9ED26B8CD75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82" name="Rektangel 81">
              <a:extLst>
                <a:ext uri="{FF2B5EF4-FFF2-40B4-BE49-F238E27FC236}">
                  <a16:creationId xmlns:a16="http://schemas.microsoft.com/office/drawing/2014/main" id="{00237A9A-19A6-47A1-9BAF-7704BF86A794}"/>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3" name="Rektangel 82">
              <a:extLst>
                <a:ext uri="{FF2B5EF4-FFF2-40B4-BE49-F238E27FC236}">
                  <a16:creationId xmlns:a16="http://schemas.microsoft.com/office/drawing/2014/main" id="{B1F3A220-CFF5-4780-AD1A-EA0ABEA414E6}"/>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4" name="Rektangel 83">
              <a:extLst>
                <a:ext uri="{FF2B5EF4-FFF2-40B4-BE49-F238E27FC236}">
                  <a16:creationId xmlns:a16="http://schemas.microsoft.com/office/drawing/2014/main" id="{BB1BEC76-ADA3-4A0E-AD14-3240524C8E73}"/>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5" name="Rektangel 84">
              <a:extLst>
                <a:ext uri="{FF2B5EF4-FFF2-40B4-BE49-F238E27FC236}">
                  <a16:creationId xmlns:a16="http://schemas.microsoft.com/office/drawing/2014/main" id="{F7D454BA-DA6A-4A91-B37D-E8E5E8AD030B}"/>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6" name="Rektangel 85">
              <a:extLst>
                <a:ext uri="{FF2B5EF4-FFF2-40B4-BE49-F238E27FC236}">
                  <a16:creationId xmlns:a16="http://schemas.microsoft.com/office/drawing/2014/main" id="{3902FF6F-B417-4D9A-8121-FBC7EDF2D97C}"/>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7" name="Rektangel 86">
              <a:extLst>
                <a:ext uri="{FF2B5EF4-FFF2-40B4-BE49-F238E27FC236}">
                  <a16:creationId xmlns:a16="http://schemas.microsoft.com/office/drawing/2014/main" id="{75E7B848-F53F-4B95-A260-BA58FF3D76F2}"/>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88" name="Lige forbindelse 87">
              <a:extLst>
                <a:ext uri="{FF2B5EF4-FFF2-40B4-BE49-F238E27FC236}">
                  <a16:creationId xmlns:a16="http://schemas.microsoft.com/office/drawing/2014/main" id="{3E484C43-02F7-40DE-B331-2D1050608A0F}"/>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89" name="Lige forbindelse 88">
              <a:extLst>
                <a:ext uri="{FF2B5EF4-FFF2-40B4-BE49-F238E27FC236}">
                  <a16:creationId xmlns:a16="http://schemas.microsoft.com/office/drawing/2014/main" id="{A5C62528-B7B2-4C08-B0B6-65DDC4159FF8}"/>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0" name="Lige forbindelse 89">
              <a:extLst>
                <a:ext uri="{FF2B5EF4-FFF2-40B4-BE49-F238E27FC236}">
                  <a16:creationId xmlns:a16="http://schemas.microsoft.com/office/drawing/2014/main" id="{A2864983-1F34-4086-AE99-1625555D2FC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1" name="Lige forbindelse 90">
              <a:extLst>
                <a:ext uri="{FF2B5EF4-FFF2-40B4-BE49-F238E27FC236}">
                  <a16:creationId xmlns:a16="http://schemas.microsoft.com/office/drawing/2014/main" id="{67123DCF-EB9F-47AE-BC69-0C3040B82562}"/>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2" name="Lige forbindelse 91">
              <a:extLst>
                <a:ext uri="{FF2B5EF4-FFF2-40B4-BE49-F238E27FC236}">
                  <a16:creationId xmlns:a16="http://schemas.microsoft.com/office/drawing/2014/main" id="{068379CF-7907-4333-AC74-C742365759D3}"/>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3" name="Lige forbindelse 92">
              <a:extLst>
                <a:ext uri="{FF2B5EF4-FFF2-40B4-BE49-F238E27FC236}">
                  <a16:creationId xmlns:a16="http://schemas.microsoft.com/office/drawing/2014/main" id="{5545A3DB-8F82-4680-AC64-CEBC2A118E88}"/>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94" name="Rektangel 93">
              <a:extLst>
                <a:ext uri="{FF2B5EF4-FFF2-40B4-BE49-F238E27FC236}">
                  <a16:creationId xmlns:a16="http://schemas.microsoft.com/office/drawing/2014/main" id="{8E317866-F936-48F8-A960-85514C5D63C9}"/>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5" name="Rektangel 94">
              <a:extLst>
                <a:ext uri="{FF2B5EF4-FFF2-40B4-BE49-F238E27FC236}">
                  <a16:creationId xmlns:a16="http://schemas.microsoft.com/office/drawing/2014/main" id="{7F750902-5C86-429A-8D4D-89879B7F46D3}"/>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6" name="Rektangel 95">
              <a:extLst>
                <a:ext uri="{FF2B5EF4-FFF2-40B4-BE49-F238E27FC236}">
                  <a16:creationId xmlns:a16="http://schemas.microsoft.com/office/drawing/2014/main" id="{68515BE6-412F-4A5F-87D3-727BED81E359}"/>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7" name="Rektangel 96">
              <a:extLst>
                <a:ext uri="{FF2B5EF4-FFF2-40B4-BE49-F238E27FC236}">
                  <a16:creationId xmlns:a16="http://schemas.microsoft.com/office/drawing/2014/main" id="{F88C5883-19F4-4B3A-9497-D1A3BA2723FE}"/>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8" name="Rektangel 97">
              <a:extLst>
                <a:ext uri="{FF2B5EF4-FFF2-40B4-BE49-F238E27FC236}">
                  <a16:creationId xmlns:a16="http://schemas.microsoft.com/office/drawing/2014/main" id="{F42E0502-98DB-4729-B3E4-3F0CFE41554E}"/>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 name="Rektangel 98">
              <a:extLst>
                <a:ext uri="{FF2B5EF4-FFF2-40B4-BE49-F238E27FC236}">
                  <a16:creationId xmlns:a16="http://schemas.microsoft.com/office/drawing/2014/main" id="{B6269E00-F7E5-4A54-B224-1FE4DC6AFA99}"/>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 name="Rektangel 99">
              <a:extLst>
                <a:ext uri="{FF2B5EF4-FFF2-40B4-BE49-F238E27FC236}">
                  <a16:creationId xmlns:a16="http://schemas.microsoft.com/office/drawing/2014/main" id="{E1D22BC0-5624-45A6-99E5-D2C7A347507B}"/>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 name="Rektangel 100">
              <a:extLst>
                <a:ext uri="{FF2B5EF4-FFF2-40B4-BE49-F238E27FC236}">
                  <a16:creationId xmlns:a16="http://schemas.microsoft.com/office/drawing/2014/main" id="{CC9A17F8-3C2F-4675-ACC3-2C6EC842BBDA}"/>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 name="Rektangel 101">
              <a:extLst>
                <a:ext uri="{FF2B5EF4-FFF2-40B4-BE49-F238E27FC236}">
                  <a16:creationId xmlns:a16="http://schemas.microsoft.com/office/drawing/2014/main" id="{BE903F92-0FBC-477C-880C-BE799DB34C0B}"/>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 name="Rektangel 102">
              <a:extLst>
                <a:ext uri="{FF2B5EF4-FFF2-40B4-BE49-F238E27FC236}">
                  <a16:creationId xmlns:a16="http://schemas.microsoft.com/office/drawing/2014/main" id="{098B225E-2147-4561-9455-F07A5DCAD454}"/>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 name="Rektangel 103">
              <a:extLst>
                <a:ext uri="{FF2B5EF4-FFF2-40B4-BE49-F238E27FC236}">
                  <a16:creationId xmlns:a16="http://schemas.microsoft.com/office/drawing/2014/main" id="{0408BD35-2591-4100-8D5F-5146CFEFC0B5}"/>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 name="Rektangel 104">
              <a:extLst>
                <a:ext uri="{FF2B5EF4-FFF2-40B4-BE49-F238E27FC236}">
                  <a16:creationId xmlns:a16="http://schemas.microsoft.com/office/drawing/2014/main" id="{1C276A9F-09C1-46F3-BF17-A64489A2B6C6}"/>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 name="Rektangel 105">
              <a:extLst>
                <a:ext uri="{FF2B5EF4-FFF2-40B4-BE49-F238E27FC236}">
                  <a16:creationId xmlns:a16="http://schemas.microsoft.com/office/drawing/2014/main" id="{C107F72B-CB0B-432C-89BD-564CB58D8B10}"/>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 name="Gruppe 106">
              <a:extLst>
                <a:ext uri="{FF2B5EF4-FFF2-40B4-BE49-F238E27FC236}">
                  <a16:creationId xmlns:a16="http://schemas.microsoft.com/office/drawing/2014/main" id="{E68D58C2-5BDF-4A2E-B028-AF3000FA2E9B}"/>
                </a:ext>
              </a:extLst>
            </p:cNvPr>
            <p:cNvGrpSpPr/>
            <p:nvPr/>
          </p:nvGrpSpPr>
          <p:grpSpPr>
            <a:xfrm>
              <a:off x="3076887" y="5908189"/>
              <a:ext cx="1620672" cy="63914"/>
              <a:chOff x="1209635" y="3152432"/>
              <a:chExt cx="9240230" cy="585788"/>
            </a:xfrm>
            <a:solidFill>
              <a:srgbClr val="C3C0B1"/>
            </a:solidFill>
          </p:grpSpPr>
          <p:sp>
            <p:nvSpPr>
              <p:cNvPr id="206" name="Retvinklet trekant 205">
                <a:extLst>
                  <a:ext uri="{FF2B5EF4-FFF2-40B4-BE49-F238E27FC236}">
                    <a16:creationId xmlns:a16="http://schemas.microsoft.com/office/drawing/2014/main" id="{36896126-6DB5-4D1D-8CB7-498615DD05AF}"/>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7" name="Rektangel 206">
                <a:extLst>
                  <a:ext uri="{FF2B5EF4-FFF2-40B4-BE49-F238E27FC236}">
                    <a16:creationId xmlns:a16="http://schemas.microsoft.com/office/drawing/2014/main" id="{C7EF0B0D-6615-4F98-B3C2-6F789A79D76C}"/>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8" name="Retvinklet trekant 207">
                <a:extLst>
                  <a:ext uri="{FF2B5EF4-FFF2-40B4-BE49-F238E27FC236}">
                    <a16:creationId xmlns:a16="http://schemas.microsoft.com/office/drawing/2014/main" id="{3F53A30D-9ED1-4CC5-AACB-1FC22C54FEA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8" name="Rektangel 107">
              <a:extLst>
                <a:ext uri="{FF2B5EF4-FFF2-40B4-BE49-F238E27FC236}">
                  <a16:creationId xmlns:a16="http://schemas.microsoft.com/office/drawing/2014/main" id="{4CDB21AE-4CB9-4521-9D1B-28EE8F3BEAF8}"/>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 name="Parallelogram 108">
              <a:extLst>
                <a:ext uri="{FF2B5EF4-FFF2-40B4-BE49-F238E27FC236}">
                  <a16:creationId xmlns:a16="http://schemas.microsoft.com/office/drawing/2014/main" id="{71E9FA46-B5AD-49C0-B724-6BFBE2B343A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 name="Parallelogram 109">
              <a:extLst>
                <a:ext uri="{FF2B5EF4-FFF2-40B4-BE49-F238E27FC236}">
                  <a16:creationId xmlns:a16="http://schemas.microsoft.com/office/drawing/2014/main" id="{CD40062A-7623-45B0-83C0-0E4C27D5E39D}"/>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 name="Rektangel 110">
              <a:extLst>
                <a:ext uri="{FF2B5EF4-FFF2-40B4-BE49-F238E27FC236}">
                  <a16:creationId xmlns:a16="http://schemas.microsoft.com/office/drawing/2014/main" id="{23C7CFBF-12CE-42CB-B458-597DB13A9751}"/>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 name="Parallelogram 111">
              <a:extLst>
                <a:ext uri="{FF2B5EF4-FFF2-40B4-BE49-F238E27FC236}">
                  <a16:creationId xmlns:a16="http://schemas.microsoft.com/office/drawing/2014/main" id="{F891D6B5-7D9D-409F-9D3E-6006B0AF1B39}"/>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3" name="Parallelogram 112">
              <a:extLst>
                <a:ext uri="{FF2B5EF4-FFF2-40B4-BE49-F238E27FC236}">
                  <a16:creationId xmlns:a16="http://schemas.microsoft.com/office/drawing/2014/main" id="{EC5E423A-03D0-4337-B049-C406D5235482}"/>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4" name="Parallelogram 113">
              <a:extLst>
                <a:ext uri="{FF2B5EF4-FFF2-40B4-BE49-F238E27FC236}">
                  <a16:creationId xmlns:a16="http://schemas.microsoft.com/office/drawing/2014/main" id="{8288655E-616E-49E4-88AA-5A3F97B10CC2}"/>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5" name="Parallelogram 114">
              <a:extLst>
                <a:ext uri="{FF2B5EF4-FFF2-40B4-BE49-F238E27FC236}">
                  <a16:creationId xmlns:a16="http://schemas.microsoft.com/office/drawing/2014/main" id="{647B616A-25C7-4749-B1F4-236C537E8C47}"/>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6" name="Parallelogram 115">
              <a:extLst>
                <a:ext uri="{FF2B5EF4-FFF2-40B4-BE49-F238E27FC236}">
                  <a16:creationId xmlns:a16="http://schemas.microsoft.com/office/drawing/2014/main" id="{A7CDF52C-3938-4B47-AA52-6F52425EC318}"/>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 name="Parallelogram 116">
              <a:extLst>
                <a:ext uri="{FF2B5EF4-FFF2-40B4-BE49-F238E27FC236}">
                  <a16:creationId xmlns:a16="http://schemas.microsoft.com/office/drawing/2014/main" id="{AD459CB2-52C2-40D7-B43E-57485E584690}"/>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8" name="Gruppe 117">
              <a:extLst>
                <a:ext uri="{FF2B5EF4-FFF2-40B4-BE49-F238E27FC236}">
                  <a16:creationId xmlns:a16="http://schemas.microsoft.com/office/drawing/2014/main" id="{7BB5A623-3AA3-4E63-97FC-EEF2C9EDC8EC}"/>
                </a:ext>
              </a:extLst>
            </p:cNvPr>
            <p:cNvGrpSpPr/>
            <p:nvPr/>
          </p:nvGrpSpPr>
          <p:grpSpPr>
            <a:xfrm flipH="1">
              <a:off x="5838296" y="3182733"/>
              <a:ext cx="173906" cy="295709"/>
              <a:chOff x="7286243" y="2703579"/>
              <a:chExt cx="197012" cy="333123"/>
            </a:xfrm>
          </p:grpSpPr>
          <p:sp>
            <p:nvSpPr>
              <p:cNvPr id="200" name="Parallelogram 199">
                <a:extLst>
                  <a:ext uri="{FF2B5EF4-FFF2-40B4-BE49-F238E27FC236}">
                    <a16:creationId xmlns:a16="http://schemas.microsoft.com/office/drawing/2014/main" id="{868AF180-79A2-4810-A252-C38983C5229A}"/>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1" name="Parallelogram 200">
                <a:extLst>
                  <a:ext uri="{FF2B5EF4-FFF2-40B4-BE49-F238E27FC236}">
                    <a16:creationId xmlns:a16="http://schemas.microsoft.com/office/drawing/2014/main" id="{4E4925F7-BD74-42DF-B2ED-F38CC549B8B7}"/>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2" name="Parallelogram 201">
                <a:extLst>
                  <a:ext uri="{FF2B5EF4-FFF2-40B4-BE49-F238E27FC236}">
                    <a16:creationId xmlns:a16="http://schemas.microsoft.com/office/drawing/2014/main" id="{FCBB5664-023A-44F1-BDE2-CA5A0FBA5ECC}"/>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3" name="Parallelogram 202">
                <a:extLst>
                  <a:ext uri="{FF2B5EF4-FFF2-40B4-BE49-F238E27FC236}">
                    <a16:creationId xmlns:a16="http://schemas.microsoft.com/office/drawing/2014/main" id="{C8C083B6-629E-40FA-B6DA-22B8172F9F1C}"/>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Parallelogram 203">
                <a:extLst>
                  <a:ext uri="{FF2B5EF4-FFF2-40B4-BE49-F238E27FC236}">
                    <a16:creationId xmlns:a16="http://schemas.microsoft.com/office/drawing/2014/main" id="{4B2E6C51-D874-4D0B-86AC-8A5B8D2168E8}"/>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5" name="Parallelogram 204">
                <a:extLst>
                  <a:ext uri="{FF2B5EF4-FFF2-40B4-BE49-F238E27FC236}">
                    <a16:creationId xmlns:a16="http://schemas.microsoft.com/office/drawing/2014/main" id="{D0EF0891-F367-43C0-8890-065B50CF453B}"/>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9" name="Rektangel 118">
              <a:extLst>
                <a:ext uri="{FF2B5EF4-FFF2-40B4-BE49-F238E27FC236}">
                  <a16:creationId xmlns:a16="http://schemas.microsoft.com/office/drawing/2014/main" id="{602D5AD5-6B86-4DD4-A959-CF393697E92D}"/>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0" name="Rektangel 119">
              <a:extLst>
                <a:ext uri="{FF2B5EF4-FFF2-40B4-BE49-F238E27FC236}">
                  <a16:creationId xmlns:a16="http://schemas.microsoft.com/office/drawing/2014/main" id="{86324B1A-7F81-481B-833B-29CBE5092DB9}"/>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 name="Rektangel 120">
              <a:extLst>
                <a:ext uri="{FF2B5EF4-FFF2-40B4-BE49-F238E27FC236}">
                  <a16:creationId xmlns:a16="http://schemas.microsoft.com/office/drawing/2014/main" id="{113AA0AC-7786-49D9-9F63-C90A92C18ADB}"/>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 name="Rektangel 121">
              <a:extLst>
                <a:ext uri="{FF2B5EF4-FFF2-40B4-BE49-F238E27FC236}">
                  <a16:creationId xmlns:a16="http://schemas.microsoft.com/office/drawing/2014/main" id="{FF60CAE8-C253-4790-B2A3-493171A00BF8}"/>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3" name="Rektangel 122">
              <a:extLst>
                <a:ext uri="{FF2B5EF4-FFF2-40B4-BE49-F238E27FC236}">
                  <a16:creationId xmlns:a16="http://schemas.microsoft.com/office/drawing/2014/main" id="{45961BAC-03FB-4A94-960C-C118112631FB}"/>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32E98A2F-AA69-41F0-A329-A4DF6167ADAC}"/>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5" name="Rektangel 124">
              <a:extLst>
                <a:ext uri="{FF2B5EF4-FFF2-40B4-BE49-F238E27FC236}">
                  <a16:creationId xmlns:a16="http://schemas.microsoft.com/office/drawing/2014/main" id="{3DD70109-EACD-4319-8CC5-BA631E2034B8}"/>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6" name="Rektangel 125">
              <a:extLst>
                <a:ext uri="{FF2B5EF4-FFF2-40B4-BE49-F238E27FC236}">
                  <a16:creationId xmlns:a16="http://schemas.microsoft.com/office/drawing/2014/main" id="{6E681FB1-5E1A-4368-A90D-9A321E5A3DC9}"/>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 name="Rektangel 126">
              <a:extLst>
                <a:ext uri="{FF2B5EF4-FFF2-40B4-BE49-F238E27FC236}">
                  <a16:creationId xmlns:a16="http://schemas.microsoft.com/office/drawing/2014/main" id="{E8151C4F-998E-4660-A638-4E6FFF33E8BC}"/>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8" name="Rektangel 127">
              <a:extLst>
                <a:ext uri="{FF2B5EF4-FFF2-40B4-BE49-F238E27FC236}">
                  <a16:creationId xmlns:a16="http://schemas.microsoft.com/office/drawing/2014/main" id="{0929167E-B96F-4FF3-A79B-201D102AD18E}"/>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8AB8683A-3E4B-4D0C-8B24-27662454E06F}"/>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0" name="Rektangel 129">
              <a:extLst>
                <a:ext uri="{FF2B5EF4-FFF2-40B4-BE49-F238E27FC236}">
                  <a16:creationId xmlns:a16="http://schemas.microsoft.com/office/drawing/2014/main" id="{09596001-3CA5-4973-8D31-4E0331169763}"/>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1" name="Rektangel 130">
              <a:extLst>
                <a:ext uri="{FF2B5EF4-FFF2-40B4-BE49-F238E27FC236}">
                  <a16:creationId xmlns:a16="http://schemas.microsoft.com/office/drawing/2014/main" id="{422B8AA9-E809-47AE-8372-DAA3B422B5A0}"/>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4D8162BA-37CB-410D-A0D7-3F3B0E6B31C9}"/>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52B32E93-051B-4D7F-AFDC-F26584717848}"/>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29E675B3-D4F4-4A6E-B2A1-4D3A46354E05}"/>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74B50A29-2D75-42ED-8248-22F40C748C39}"/>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6" name="Rektangel 135">
              <a:extLst>
                <a:ext uri="{FF2B5EF4-FFF2-40B4-BE49-F238E27FC236}">
                  <a16:creationId xmlns:a16="http://schemas.microsoft.com/office/drawing/2014/main" id="{CDA77F4E-BFE4-47A0-95F7-F57CA848D98C}"/>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7" name="Rektangel 136">
              <a:extLst>
                <a:ext uri="{FF2B5EF4-FFF2-40B4-BE49-F238E27FC236}">
                  <a16:creationId xmlns:a16="http://schemas.microsoft.com/office/drawing/2014/main" id="{42EB7114-E2FD-4BEF-A56C-9F069AE590C2}"/>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8" name="Rektangel 137">
              <a:extLst>
                <a:ext uri="{FF2B5EF4-FFF2-40B4-BE49-F238E27FC236}">
                  <a16:creationId xmlns:a16="http://schemas.microsoft.com/office/drawing/2014/main" id="{485E27FA-874D-4920-9427-5E7980873D2F}"/>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9" name="Rektangel 138">
              <a:extLst>
                <a:ext uri="{FF2B5EF4-FFF2-40B4-BE49-F238E27FC236}">
                  <a16:creationId xmlns:a16="http://schemas.microsoft.com/office/drawing/2014/main" id="{A50BE175-1980-4A00-98C2-F3D2C2551986}"/>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0" name="Rektangel 139">
              <a:extLst>
                <a:ext uri="{FF2B5EF4-FFF2-40B4-BE49-F238E27FC236}">
                  <a16:creationId xmlns:a16="http://schemas.microsoft.com/office/drawing/2014/main" id="{57F1DEE3-7C18-4461-8071-33EAD7BE6ED6}"/>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1" name="Gruppe 140">
              <a:extLst>
                <a:ext uri="{FF2B5EF4-FFF2-40B4-BE49-F238E27FC236}">
                  <a16:creationId xmlns:a16="http://schemas.microsoft.com/office/drawing/2014/main" id="{8D2E5048-FCC3-41BB-8250-66A802451D77}"/>
                </a:ext>
              </a:extLst>
            </p:cNvPr>
            <p:cNvGrpSpPr/>
            <p:nvPr/>
          </p:nvGrpSpPr>
          <p:grpSpPr>
            <a:xfrm>
              <a:off x="5186504" y="5766771"/>
              <a:ext cx="801793" cy="53671"/>
              <a:chOff x="1209635" y="3152432"/>
              <a:chExt cx="9240230" cy="585788"/>
            </a:xfrm>
          </p:grpSpPr>
          <p:sp>
            <p:nvSpPr>
              <p:cNvPr id="197" name="Retvinklet trekant 196">
                <a:extLst>
                  <a:ext uri="{FF2B5EF4-FFF2-40B4-BE49-F238E27FC236}">
                    <a16:creationId xmlns:a16="http://schemas.microsoft.com/office/drawing/2014/main" id="{BE271E4E-4827-42F8-B2BC-6889C32CB07A}"/>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8" name="Rektangel 197">
                <a:extLst>
                  <a:ext uri="{FF2B5EF4-FFF2-40B4-BE49-F238E27FC236}">
                    <a16:creationId xmlns:a16="http://schemas.microsoft.com/office/drawing/2014/main" id="{EB6872E7-D894-4A77-BCAB-A033D0134E26}"/>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9" name="Retvinklet trekant 198">
                <a:extLst>
                  <a:ext uri="{FF2B5EF4-FFF2-40B4-BE49-F238E27FC236}">
                    <a16:creationId xmlns:a16="http://schemas.microsoft.com/office/drawing/2014/main" id="{BC0DBBC1-A76F-499C-8632-AE51F57A8589}"/>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2" name="Gruppe 141">
              <a:extLst>
                <a:ext uri="{FF2B5EF4-FFF2-40B4-BE49-F238E27FC236}">
                  <a16:creationId xmlns:a16="http://schemas.microsoft.com/office/drawing/2014/main" id="{596376F0-2D38-4EA3-ACC9-97D0FFEACC07}"/>
                </a:ext>
              </a:extLst>
            </p:cNvPr>
            <p:cNvGrpSpPr/>
            <p:nvPr/>
          </p:nvGrpSpPr>
          <p:grpSpPr>
            <a:xfrm>
              <a:off x="5835932" y="4454540"/>
              <a:ext cx="110215" cy="202903"/>
              <a:chOff x="1758507" y="5170209"/>
              <a:chExt cx="156925" cy="285896"/>
            </a:xfrm>
          </p:grpSpPr>
          <p:sp>
            <p:nvSpPr>
              <p:cNvPr id="194" name="Rektangel 193">
                <a:extLst>
                  <a:ext uri="{FF2B5EF4-FFF2-40B4-BE49-F238E27FC236}">
                    <a16:creationId xmlns:a16="http://schemas.microsoft.com/office/drawing/2014/main" id="{04EBB067-FD5A-4CE8-BAFD-6E5EDDC7B1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5" name="Lige forbindelse 194">
                <a:extLst>
                  <a:ext uri="{FF2B5EF4-FFF2-40B4-BE49-F238E27FC236}">
                    <a16:creationId xmlns:a16="http://schemas.microsoft.com/office/drawing/2014/main" id="{5858AE48-A497-4572-83FE-FDA99DE6E2C5}"/>
                  </a:ext>
                </a:extLst>
              </p:cNvPr>
              <p:cNvCxnSpPr>
                <a:cxnSpLocks/>
                <a:stCxn id="194" idx="0"/>
                <a:endCxn id="19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6" name="Lige forbindelse 195">
                <a:extLst>
                  <a:ext uri="{FF2B5EF4-FFF2-40B4-BE49-F238E27FC236}">
                    <a16:creationId xmlns:a16="http://schemas.microsoft.com/office/drawing/2014/main" id="{14F3C45F-70D1-4B43-B989-445928981992}"/>
                  </a:ext>
                </a:extLst>
              </p:cNvPr>
              <p:cNvCxnSpPr>
                <a:cxnSpLocks/>
                <a:stCxn id="194" idx="1"/>
                <a:endCxn id="19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3" name="Gruppe 142">
              <a:extLst>
                <a:ext uri="{FF2B5EF4-FFF2-40B4-BE49-F238E27FC236}">
                  <a16:creationId xmlns:a16="http://schemas.microsoft.com/office/drawing/2014/main" id="{A3448145-FF0F-4320-8956-C6D10984C338}"/>
                </a:ext>
              </a:extLst>
            </p:cNvPr>
            <p:cNvGrpSpPr/>
            <p:nvPr/>
          </p:nvGrpSpPr>
          <p:grpSpPr>
            <a:xfrm>
              <a:off x="5454147" y="3745047"/>
              <a:ext cx="110215" cy="202903"/>
              <a:chOff x="1758507" y="5170209"/>
              <a:chExt cx="156925" cy="285896"/>
            </a:xfrm>
          </p:grpSpPr>
          <p:sp>
            <p:nvSpPr>
              <p:cNvPr id="191" name="Rektangel 190">
                <a:extLst>
                  <a:ext uri="{FF2B5EF4-FFF2-40B4-BE49-F238E27FC236}">
                    <a16:creationId xmlns:a16="http://schemas.microsoft.com/office/drawing/2014/main" id="{50A65369-7247-421D-B24A-DDC3621BA94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2" name="Lige forbindelse 191">
                <a:extLst>
                  <a:ext uri="{FF2B5EF4-FFF2-40B4-BE49-F238E27FC236}">
                    <a16:creationId xmlns:a16="http://schemas.microsoft.com/office/drawing/2014/main" id="{6B49FA1A-6A2B-4DBB-8A1E-FCDB758709F6}"/>
                  </a:ext>
                </a:extLst>
              </p:cNvPr>
              <p:cNvCxnSpPr>
                <a:cxnSpLocks/>
                <a:stCxn id="191" idx="0"/>
                <a:endCxn id="19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3" name="Lige forbindelse 192">
                <a:extLst>
                  <a:ext uri="{FF2B5EF4-FFF2-40B4-BE49-F238E27FC236}">
                    <a16:creationId xmlns:a16="http://schemas.microsoft.com/office/drawing/2014/main" id="{480BD208-0EEB-4431-AF48-471A3EB42021}"/>
                  </a:ext>
                </a:extLst>
              </p:cNvPr>
              <p:cNvCxnSpPr>
                <a:cxnSpLocks/>
                <a:stCxn id="191" idx="1"/>
                <a:endCxn id="19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4" name="Gruppe 143">
              <a:extLst>
                <a:ext uri="{FF2B5EF4-FFF2-40B4-BE49-F238E27FC236}">
                  <a16:creationId xmlns:a16="http://schemas.microsoft.com/office/drawing/2014/main" id="{85177B18-5E6C-4D6F-8DA0-DBF5BB0CC26D}"/>
                </a:ext>
              </a:extLst>
            </p:cNvPr>
            <p:cNvGrpSpPr/>
            <p:nvPr/>
          </p:nvGrpSpPr>
          <p:grpSpPr>
            <a:xfrm>
              <a:off x="5369458" y="3940570"/>
              <a:ext cx="635558" cy="437035"/>
              <a:chOff x="6776638" y="3675567"/>
              <a:chExt cx="720000" cy="492329"/>
            </a:xfrm>
          </p:grpSpPr>
          <p:grpSp>
            <p:nvGrpSpPr>
              <p:cNvPr id="180" name="Gruppe 179">
                <a:extLst>
                  <a:ext uri="{FF2B5EF4-FFF2-40B4-BE49-F238E27FC236}">
                    <a16:creationId xmlns:a16="http://schemas.microsoft.com/office/drawing/2014/main" id="{C6CB4D29-5512-45AB-8AE7-54A2B24FFDAB}"/>
                  </a:ext>
                </a:extLst>
              </p:cNvPr>
              <p:cNvGrpSpPr/>
              <p:nvPr/>
            </p:nvGrpSpPr>
            <p:grpSpPr>
              <a:xfrm>
                <a:off x="7053110" y="3917891"/>
                <a:ext cx="168029" cy="213816"/>
                <a:chOff x="4852454" y="2916519"/>
                <a:chExt cx="278597" cy="366599"/>
              </a:xfrm>
            </p:grpSpPr>
            <p:sp>
              <p:nvSpPr>
                <p:cNvPr id="189" name="Rektangel 188">
                  <a:extLst>
                    <a:ext uri="{FF2B5EF4-FFF2-40B4-BE49-F238E27FC236}">
                      <a16:creationId xmlns:a16="http://schemas.microsoft.com/office/drawing/2014/main" id="{690EF926-8E4E-4C94-81BA-B39126A21538}"/>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Rektangel: afrundede hjørner 189">
                  <a:extLst>
                    <a:ext uri="{FF2B5EF4-FFF2-40B4-BE49-F238E27FC236}">
                      <a16:creationId xmlns:a16="http://schemas.microsoft.com/office/drawing/2014/main" id="{1C76BCB5-DD3C-48FD-81DC-501F4BA3F9A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1" name="Rektangel 180">
                <a:extLst>
                  <a:ext uri="{FF2B5EF4-FFF2-40B4-BE49-F238E27FC236}">
                    <a16:creationId xmlns:a16="http://schemas.microsoft.com/office/drawing/2014/main" id="{0483E261-BDD8-44FB-939D-BDD77A12A50C}"/>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2" name="Rektangel 181">
                <a:extLst>
                  <a:ext uri="{FF2B5EF4-FFF2-40B4-BE49-F238E27FC236}">
                    <a16:creationId xmlns:a16="http://schemas.microsoft.com/office/drawing/2014/main" id="{B7AB85DD-0B94-4719-B8E1-FF84C9725650}"/>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3" name="Rektangel 182">
                <a:extLst>
                  <a:ext uri="{FF2B5EF4-FFF2-40B4-BE49-F238E27FC236}">
                    <a16:creationId xmlns:a16="http://schemas.microsoft.com/office/drawing/2014/main" id="{0433F364-EE0A-41B1-910B-4285E6AB8EFD}"/>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4" name="Rektangel 183">
                <a:extLst>
                  <a:ext uri="{FF2B5EF4-FFF2-40B4-BE49-F238E27FC236}">
                    <a16:creationId xmlns:a16="http://schemas.microsoft.com/office/drawing/2014/main" id="{5CDA2FC1-7ECD-4A66-8992-D7191F6B98ED}"/>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5" name="Rektangel 184">
                <a:extLst>
                  <a:ext uri="{FF2B5EF4-FFF2-40B4-BE49-F238E27FC236}">
                    <a16:creationId xmlns:a16="http://schemas.microsoft.com/office/drawing/2014/main" id="{5FC233F3-5F8F-4777-A426-F5690D25C95E}"/>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6" name="Rektangel 185">
                <a:extLst>
                  <a:ext uri="{FF2B5EF4-FFF2-40B4-BE49-F238E27FC236}">
                    <a16:creationId xmlns:a16="http://schemas.microsoft.com/office/drawing/2014/main" id="{822C826F-8FED-47E2-93A6-1C14547E4FD6}"/>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7" name="Rektangel 186">
                <a:extLst>
                  <a:ext uri="{FF2B5EF4-FFF2-40B4-BE49-F238E27FC236}">
                    <a16:creationId xmlns:a16="http://schemas.microsoft.com/office/drawing/2014/main" id="{FBBB47B7-FD89-4844-AC73-A651287E6E50}"/>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8" name="Ellipse 187">
                <a:extLst>
                  <a:ext uri="{FF2B5EF4-FFF2-40B4-BE49-F238E27FC236}">
                    <a16:creationId xmlns:a16="http://schemas.microsoft.com/office/drawing/2014/main" id="{60E693F6-19A1-4633-AD83-6F6F08114A3D}"/>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5" name="Gruppe 144">
              <a:extLst>
                <a:ext uri="{FF2B5EF4-FFF2-40B4-BE49-F238E27FC236}">
                  <a16:creationId xmlns:a16="http://schemas.microsoft.com/office/drawing/2014/main" id="{FAED5B3F-8003-4409-9170-7DF78B6424A2}"/>
                </a:ext>
              </a:extLst>
            </p:cNvPr>
            <p:cNvGrpSpPr/>
            <p:nvPr/>
          </p:nvGrpSpPr>
          <p:grpSpPr>
            <a:xfrm>
              <a:off x="712082" y="5057418"/>
              <a:ext cx="1167307" cy="975758"/>
              <a:chOff x="1501738" y="4933721"/>
              <a:chExt cx="1322399" cy="1099213"/>
            </a:xfrm>
          </p:grpSpPr>
          <p:grpSp>
            <p:nvGrpSpPr>
              <p:cNvPr id="172" name="Gruppe 171">
                <a:extLst>
                  <a:ext uri="{FF2B5EF4-FFF2-40B4-BE49-F238E27FC236}">
                    <a16:creationId xmlns:a16="http://schemas.microsoft.com/office/drawing/2014/main" id="{111E8D71-F817-44D6-9C1D-191C7304314D}"/>
                  </a:ext>
                </a:extLst>
              </p:cNvPr>
              <p:cNvGrpSpPr/>
              <p:nvPr/>
            </p:nvGrpSpPr>
            <p:grpSpPr>
              <a:xfrm>
                <a:off x="2145228" y="5613320"/>
                <a:ext cx="165543" cy="419614"/>
                <a:chOff x="4852454" y="2916519"/>
                <a:chExt cx="278597" cy="366599"/>
              </a:xfrm>
            </p:grpSpPr>
            <p:sp>
              <p:nvSpPr>
                <p:cNvPr id="178" name="Rektangel 177">
                  <a:extLst>
                    <a:ext uri="{FF2B5EF4-FFF2-40B4-BE49-F238E27FC236}">
                      <a16:creationId xmlns:a16="http://schemas.microsoft.com/office/drawing/2014/main" id="{B8AFAFE2-DB25-4CD0-B456-D5BBCB39B7EE}"/>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Rektangel: afrundede hjørner 178">
                  <a:extLst>
                    <a:ext uri="{FF2B5EF4-FFF2-40B4-BE49-F238E27FC236}">
                      <a16:creationId xmlns:a16="http://schemas.microsoft.com/office/drawing/2014/main" id="{CD844FBB-3353-489A-8EDC-24B7A72EC89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3" name="Ellipse 172">
                <a:extLst>
                  <a:ext uri="{FF2B5EF4-FFF2-40B4-BE49-F238E27FC236}">
                    <a16:creationId xmlns:a16="http://schemas.microsoft.com/office/drawing/2014/main" id="{D03D8823-20D2-4737-9209-AD33B0A585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4" name="Ellipse 173">
                <a:extLst>
                  <a:ext uri="{FF2B5EF4-FFF2-40B4-BE49-F238E27FC236}">
                    <a16:creationId xmlns:a16="http://schemas.microsoft.com/office/drawing/2014/main" id="{E49D68FA-965B-468E-8A31-ED2458CB1CFD}"/>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5" name="Ellipse 174">
                <a:extLst>
                  <a:ext uri="{FF2B5EF4-FFF2-40B4-BE49-F238E27FC236}">
                    <a16:creationId xmlns:a16="http://schemas.microsoft.com/office/drawing/2014/main" id="{44B1EABF-B18F-40F9-8F2F-8107C776C934}"/>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6" name="Ellipse 175">
                <a:extLst>
                  <a:ext uri="{FF2B5EF4-FFF2-40B4-BE49-F238E27FC236}">
                    <a16:creationId xmlns:a16="http://schemas.microsoft.com/office/drawing/2014/main" id="{464E1F01-9AB4-4B9B-B379-88CEFDCC3C9B}"/>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7" name="Ellipse 176">
                <a:extLst>
                  <a:ext uri="{FF2B5EF4-FFF2-40B4-BE49-F238E27FC236}">
                    <a16:creationId xmlns:a16="http://schemas.microsoft.com/office/drawing/2014/main" id="{131760AE-5ABA-4180-A58E-590E4BC68C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6" name="Gruppe 145">
              <a:extLst>
                <a:ext uri="{FF2B5EF4-FFF2-40B4-BE49-F238E27FC236}">
                  <a16:creationId xmlns:a16="http://schemas.microsoft.com/office/drawing/2014/main" id="{B1C0BE65-3403-46C3-946B-607FBB2997DB}"/>
                </a:ext>
              </a:extLst>
            </p:cNvPr>
            <p:cNvGrpSpPr/>
            <p:nvPr/>
          </p:nvGrpSpPr>
          <p:grpSpPr>
            <a:xfrm flipH="1">
              <a:off x="5755173" y="5057418"/>
              <a:ext cx="1032122" cy="975758"/>
              <a:chOff x="1610213" y="4933721"/>
              <a:chExt cx="1169253" cy="1099213"/>
            </a:xfrm>
          </p:grpSpPr>
          <p:grpSp>
            <p:nvGrpSpPr>
              <p:cNvPr id="164" name="Gruppe 163">
                <a:extLst>
                  <a:ext uri="{FF2B5EF4-FFF2-40B4-BE49-F238E27FC236}">
                    <a16:creationId xmlns:a16="http://schemas.microsoft.com/office/drawing/2014/main" id="{99A420E6-34AA-48FC-9927-7AF957A63B33}"/>
                  </a:ext>
                </a:extLst>
              </p:cNvPr>
              <p:cNvGrpSpPr/>
              <p:nvPr/>
            </p:nvGrpSpPr>
            <p:grpSpPr>
              <a:xfrm>
                <a:off x="2145228" y="5613320"/>
                <a:ext cx="165543" cy="419614"/>
                <a:chOff x="4852454" y="2916519"/>
                <a:chExt cx="278597" cy="366599"/>
              </a:xfrm>
            </p:grpSpPr>
            <p:sp>
              <p:nvSpPr>
                <p:cNvPr id="170" name="Rektangel 169">
                  <a:extLst>
                    <a:ext uri="{FF2B5EF4-FFF2-40B4-BE49-F238E27FC236}">
                      <a16:creationId xmlns:a16="http://schemas.microsoft.com/office/drawing/2014/main" id="{DA016C5C-B198-4525-AA9E-D78B08C1E03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1" name="Rektangel: afrundede hjørner 170">
                  <a:extLst>
                    <a:ext uri="{FF2B5EF4-FFF2-40B4-BE49-F238E27FC236}">
                      <a16:creationId xmlns:a16="http://schemas.microsoft.com/office/drawing/2014/main" id="{10A841C0-B85D-4404-A7CD-00C7FCE9FC5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Ellipse 164">
                <a:extLst>
                  <a:ext uri="{FF2B5EF4-FFF2-40B4-BE49-F238E27FC236}">
                    <a16:creationId xmlns:a16="http://schemas.microsoft.com/office/drawing/2014/main" id="{8E24071E-8529-448E-9172-7BB114A254CF}"/>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6" name="Ellipse 165">
                <a:extLst>
                  <a:ext uri="{FF2B5EF4-FFF2-40B4-BE49-F238E27FC236}">
                    <a16:creationId xmlns:a16="http://schemas.microsoft.com/office/drawing/2014/main" id="{DE62949D-E411-42F2-820A-145BD03EB61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7" name="Ellipse 166">
                <a:extLst>
                  <a:ext uri="{FF2B5EF4-FFF2-40B4-BE49-F238E27FC236}">
                    <a16:creationId xmlns:a16="http://schemas.microsoft.com/office/drawing/2014/main" id="{C2B32690-FDF5-489D-A263-1F92698A2354}"/>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8" name="Ellipse 167">
                <a:extLst>
                  <a:ext uri="{FF2B5EF4-FFF2-40B4-BE49-F238E27FC236}">
                    <a16:creationId xmlns:a16="http://schemas.microsoft.com/office/drawing/2014/main" id="{04ECD115-AB36-4B6D-A02E-930C80A41417}"/>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9" name="Ellipse 168">
                <a:extLst>
                  <a:ext uri="{FF2B5EF4-FFF2-40B4-BE49-F238E27FC236}">
                    <a16:creationId xmlns:a16="http://schemas.microsoft.com/office/drawing/2014/main" id="{39EE2EDA-9870-479C-B06E-51055C61B372}"/>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 name="Rektangel 146">
              <a:extLst>
                <a:ext uri="{FF2B5EF4-FFF2-40B4-BE49-F238E27FC236}">
                  <a16:creationId xmlns:a16="http://schemas.microsoft.com/office/drawing/2014/main" id="{BCAAEF0F-C32B-4F48-91FA-B449C2DFFDE8}"/>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 name="Rektangel 147">
              <a:extLst>
                <a:ext uri="{FF2B5EF4-FFF2-40B4-BE49-F238E27FC236}">
                  <a16:creationId xmlns:a16="http://schemas.microsoft.com/office/drawing/2014/main" id="{3B8D0766-FAB3-4C51-89B7-01073DAD33E5}"/>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 name="Ellipse 148">
              <a:extLst>
                <a:ext uri="{FF2B5EF4-FFF2-40B4-BE49-F238E27FC236}">
                  <a16:creationId xmlns:a16="http://schemas.microsoft.com/office/drawing/2014/main" id="{22DF7275-8392-4902-9E0D-39CACFDD0C6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 name="Heksagon 149">
              <a:extLst>
                <a:ext uri="{FF2B5EF4-FFF2-40B4-BE49-F238E27FC236}">
                  <a16:creationId xmlns:a16="http://schemas.microsoft.com/office/drawing/2014/main" id="{728DE976-C40B-4661-9EF6-6411BFE5238F}"/>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1" name="Grafik 150" descr="Ringelyd">
              <a:extLst>
                <a:ext uri="{FF2B5EF4-FFF2-40B4-BE49-F238E27FC236}">
                  <a16:creationId xmlns:a16="http://schemas.microsoft.com/office/drawing/2014/main" id="{9706CE64-B29E-4A17-8707-024B488F73B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52" name="Rektangel 151">
              <a:extLst>
                <a:ext uri="{FF2B5EF4-FFF2-40B4-BE49-F238E27FC236}">
                  <a16:creationId xmlns:a16="http://schemas.microsoft.com/office/drawing/2014/main" id="{8C63612E-0EE9-4B19-9F95-9C65637D304C}"/>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 name="Rektangel 152">
              <a:extLst>
                <a:ext uri="{FF2B5EF4-FFF2-40B4-BE49-F238E27FC236}">
                  <a16:creationId xmlns:a16="http://schemas.microsoft.com/office/drawing/2014/main" id="{F75AE1EC-4D45-4AC6-8C18-F3BE9E007902}"/>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 name="Rektangel 153">
              <a:extLst>
                <a:ext uri="{FF2B5EF4-FFF2-40B4-BE49-F238E27FC236}">
                  <a16:creationId xmlns:a16="http://schemas.microsoft.com/office/drawing/2014/main" id="{2B41A3BA-47C3-4CF8-9945-63100F06EB65}"/>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 name="Rektangel 154">
              <a:extLst>
                <a:ext uri="{FF2B5EF4-FFF2-40B4-BE49-F238E27FC236}">
                  <a16:creationId xmlns:a16="http://schemas.microsoft.com/office/drawing/2014/main" id="{42C193EA-6FEC-4CE2-9D3E-F1FDAD6F5874}"/>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6" name="Rektangel: øverste hjørner afklippet 155">
              <a:extLst>
                <a:ext uri="{FF2B5EF4-FFF2-40B4-BE49-F238E27FC236}">
                  <a16:creationId xmlns:a16="http://schemas.microsoft.com/office/drawing/2014/main" id="{2A8E9387-FFB2-4CAF-86CA-9E5122C4AD0D}"/>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7" name="Retvinklet trekant 156">
              <a:extLst>
                <a:ext uri="{FF2B5EF4-FFF2-40B4-BE49-F238E27FC236}">
                  <a16:creationId xmlns:a16="http://schemas.microsoft.com/office/drawing/2014/main" id="{9A284725-A64A-4558-A02E-F9DC6416C325}"/>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8" name="Retvinklet trekant 157">
              <a:extLst>
                <a:ext uri="{FF2B5EF4-FFF2-40B4-BE49-F238E27FC236}">
                  <a16:creationId xmlns:a16="http://schemas.microsoft.com/office/drawing/2014/main" id="{C5C8DD70-CDFC-4480-9A6D-F825C35CE4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9" name="Ellipse 158">
              <a:extLst>
                <a:ext uri="{FF2B5EF4-FFF2-40B4-BE49-F238E27FC236}">
                  <a16:creationId xmlns:a16="http://schemas.microsoft.com/office/drawing/2014/main" id="{E078AA53-43B3-4F41-A565-8C932C239DC8}"/>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0" name="Rektangel 159">
              <a:extLst>
                <a:ext uri="{FF2B5EF4-FFF2-40B4-BE49-F238E27FC236}">
                  <a16:creationId xmlns:a16="http://schemas.microsoft.com/office/drawing/2014/main" id="{CEE1567E-D6C1-469B-AD3A-08D8EC17F332}"/>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1" name="Rektangel 160">
              <a:extLst>
                <a:ext uri="{FF2B5EF4-FFF2-40B4-BE49-F238E27FC236}">
                  <a16:creationId xmlns:a16="http://schemas.microsoft.com/office/drawing/2014/main" id="{595B5B60-D7B2-48B0-AA7C-FF0BD61D8455}"/>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2" name="Rektangel 161">
              <a:extLst>
                <a:ext uri="{FF2B5EF4-FFF2-40B4-BE49-F238E27FC236}">
                  <a16:creationId xmlns:a16="http://schemas.microsoft.com/office/drawing/2014/main" id="{0C9CD93A-78D8-47CA-AD1A-D6774ED75842}"/>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3" name="Rektangel 162">
              <a:extLst>
                <a:ext uri="{FF2B5EF4-FFF2-40B4-BE49-F238E27FC236}">
                  <a16:creationId xmlns:a16="http://schemas.microsoft.com/office/drawing/2014/main" id="{53374892-E148-42EA-A894-C96186644786}"/>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 name="Pladsholder til tekst 2">
            <a:extLst>
              <a:ext uri="{FF2B5EF4-FFF2-40B4-BE49-F238E27FC236}">
                <a16:creationId xmlns:a16="http://schemas.microsoft.com/office/drawing/2014/main" id="{17BA97FD-0759-40B5-B7C4-F9AE62B5283A}"/>
              </a:ext>
            </a:extLst>
          </p:cNvPr>
          <p:cNvSpPr>
            <a:spLocks noGrp="1"/>
          </p:cNvSpPr>
          <p:nvPr>
            <p:ph type="body" sz="quarter" idx="12"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grpSp>
        <p:nvGrpSpPr>
          <p:cNvPr id="402" name="Gruppe 401">
            <a:extLst>
              <a:ext uri="{FF2B5EF4-FFF2-40B4-BE49-F238E27FC236}">
                <a16:creationId xmlns:a16="http://schemas.microsoft.com/office/drawing/2014/main" id="{BBCD4F5C-CE7E-4168-A21E-C023293FE903}"/>
              </a:ext>
            </a:extLst>
          </p:cNvPr>
          <p:cNvGrpSpPr/>
          <p:nvPr userDrawn="1"/>
        </p:nvGrpSpPr>
        <p:grpSpPr>
          <a:xfrm>
            <a:off x="6270980" y="1977069"/>
            <a:ext cx="2046398" cy="794493"/>
            <a:chOff x="6270980" y="1977069"/>
            <a:chExt cx="2046398" cy="794493"/>
          </a:xfrm>
        </p:grpSpPr>
        <p:sp>
          <p:nvSpPr>
            <p:cNvPr id="403" name="Ellipse 402">
              <a:extLst>
                <a:ext uri="{FF2B5EF4-FFF2-40B4-BE49-F238E27FC236}">
                  <a16:creationId xmlns:a16="http://schemas.microsoft.com/office/drawing/2014/main" id="{549A09DB-0CAB-40AC-9466-AB0D31C62650}"/>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Ellipse 403">
              <a:extLst>
                <a:ext uri="{FF2B5EF4-FFF2-40B4-BE49-F238E27FC236}">
                  <a16:creationId xmlns:a16="http://schemas.microsoft.com/office/drawing/2014/main" id="{76660E34-E935-42CA-A4E0-98198D2AF10E}"/>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Ellipse 404">
              <a:extLst>
                <a:ext uri="{FF2B5EF4-FFF2-40B4-BE49-F238E27FC236}">
                  <a16:creationId xmlns:a16="http://schemas.microsoft.com/office/drawing/2014/main" id="{C6B804D5-93C9-4B96-91CE-CB049CD80C51}"/>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2BE294E7-7F92-4AEC-BD2C-AC06B8CFAB0E}"/>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E881BD8C-4992-428B-9BE0-DA6B564DFC2A}"/>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661A7E59-9B48-4EEA-AB1B-ED5E9A7989E2}"/>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Tree>
    <p:extLst>
      <p:ext uri="{BB962C8B-B14F-4D97-AF65-F5344CB8AC3E}">
        <p14:creationId xmlns:p14="http://schemas.microsoft.com/office/powerpoint/2010/main" val="25390442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Rådhus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397" name="Gruppe 396">
            <a:extLst>
              <a:ext uri="{FF2B5EF4-FFF2-40B4-BE49-F238E27FC236}">
                <a16:creationId xmlns:a16="http://schemas.microsoft.com/office/drawing/2014/main" id="{87DD6165-4E1E-4413-B3C2-597A1B64D0C8}"/>
              </a:ext>
            </a:extLst>
          </p:cNvPr>
          <p:cNvGrpSpPr>
            <a:grpSpLocks noChangeAspect="1"/>
          </p:cNvGrpSpPr>
          <p:nvPr userDrawn="1"/>
        </p:nvGrpSpPr>
        <p:grpSpPr>
          <a:xfrm flipH="1">
            <a:off x="9330607" y="2347657"/>
            <a:ext cx="1892210" cy="693435"/>
            <a:chOff x="7698172" y="1860827"/>
            <a:chExt cx="2046398" cy="794493"/>
          </a:xfrm>
        </p:grpSpPr>
        <p:sp>
          <p:nvSpPr>
            <p:cNvPr id="398" name="Ellipse 397">
              <a:extLst>
                <a:ext uri="{FF2B5EF4-FFF2-40B4-BE49-F238E27FC236}">
                  <a16:creationId xmlns:a16="http://schemas.microsoft.com/office/drawing/2014/main" id="{98C07B42-AE6A-4837-BCA4-8CC0CA99C07A}"/>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9" name="Ellipse 398">
              <a:extLst>
                <a:ext uri="{FF2B5EF4-FFF2-40B4-BE49-F238E27FC236}">
                  <a16:creationId xmlns:a16="http://schemas.microsoft.com/office/drawing/2014/main" id="{1593D651-8EA5-4F32-A99B-CC593B73D6B5}"/>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0" name="Ellipse 399">
              <a:extLst>
                <a:ext uri="{FF2B5EF4-FFF2-40B4-BE49-F238E27FC236}">
                  <a16:creationId xmlns:a16="http://schemas.microsoft.com/office/drawing/2014/main" id="{ADB31D50-A5DF-4BFC-A62E-531D52ED79EF}"/>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1" name="Ellipse 400">
              <a:extLst>
                <a:ext uri="{FF2B5EF4-FFF2-40B4-BE49-F238E27FC236}">
                  <a16:creationId xmlns:a16="http://schemas.microsoft.com/office/drawing/2014/main" id="{D4208CE4-871D-4E6B-9E4E-05E6613264EB}"/>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2" name="Ellipse 401">
              <a:extLst>
                <a:ext uri="{FF2B5EF4-FFF2-40B4-BE49-F238E27FC236}">
                  <a16:creationId xmlns:a16="http://schemas.microsoft.com/office/drawing/2014/main" id="{B96C0578-97A7-420F-8816-4E9798EDA332}"/>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3" name="Ellipse 402">
              <a:extLst>
                <a:ext uri="{FF2B5EF4-FFF2-40B4-BE49-F238E27FC236}">
                  <a16:creationId xmlns:a16="http://schemas.microsoft.com/office/drawing/2014/main" id="{6E38495F-8EBB-453F-A8E1-7EE8B88D5809}"/>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8" name="Gruppe 7">
            <a:extLst>
              <a:ext uri="{FF2B5EF4-FFF2-40B4-BE49-F238E27FC236}">
                <a16:creationId xmlns:a16="http://schemas.microsoft.com/office/drawing/2014/main" id="{209FB825-220A-48FA-A6D1-E9A6C5AEF9C1}"/>
              </a:ext>
            </a:extLst>
          </p:cNvPr>
          <p:cNvGrpSpPr/>
          <p:nvPr userDrawn="1"/>
        </p:nvGrpSpPr>
        <p:grpSpPr>
          <a:xfrm>
            <a:off x="6443096" y="2874413"/>
            <a:ext cx="4767787" cy="2971852"/>
            <a:chOff x="712082" y="2111604"/>
            <a:chExt cx="6075213" cy="3923488"/>
          </a:xfrm>
        </p:grpSpPr>
        <p:sp>
          <p:nvSpPr>
            <p:cNvPr id="9" name="Rektangel: afrundede hjørner 8">
              <a:extLst>
                <a:ext uri="{FF2B5EF4-FFF2-40B4-BE49-F238E27FC236}">
                  <a16:creationId xmlns:a16="http://schemas.microsoft.com/office/drawing/2014/main" id="{D12915CE-017F-4839-9114-B988E231832D}"/>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afrundede hjørner 9">
              <a:extLst>
                <a:ext uri="{FF2B5EF4-FFF2-40B4-BE49-F238E27FC236}">
                  <a16:creationId xmlns:a16="http://schemas.microsoft.com/office/drawing/2014/main" id="{3B7CC597-79A8-4ECC-A362-62EE66962B07}"/>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Rektangel: afrundede hjørner 10">
              <a:extLst>
                <a:ext uri="{FF2B5EF4-FFF2-40B4-BE49-F238E27FC236}">
                  <a16:creationId xmlns:a16="http://schemas.microsoft.com/office/drawing/2014/main" id="{75E23005-5306-4743-A369-75D0D8F3AA4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3" name="Gruppe 12">
              <a:extLst>
                <a:ext uri="{FF2B5EF4-FFF2-40B4-BE49-F238E27FC236}">
                  <a16:creationId xmlns:a16="http://schemas.microsoft.com/office/drawing/2014/main" id="{1FD8A96C-FFB6-4902-A26D-1A5FDA42DFEF}"/>
                </a:ext>
              </a:extLst>
            </p:cNvPr>
            <p:cNvGrpSpPr/>
            <p:nvPr/>
          </p:nvGrpSpPr>
          <p:grpSpPr>
            <a:xfrm>
              <a:off x="2852905" y="4409245"/>
              <a:ext cx="1032122" cy="975758"/>
              <a:chOff x="1610213" y="4933721"/>
              <a:chExt cx="1169253" cy="1099213"/>
            </a:xfrm>
          </p:grpSpPr>
          <p:grpSp>
            <p:nvGrpSpPr>
              <p:cNvPr id="387" name="Gruppe 386">
                <a:extLst>
                  <a:ext uri="{FF2B5EF4-FFF2-40B4-BE49-F238E27FC236}">
                    <a16:creationId xmlns:a16="http://schemas.microsoft.com/office/drawing/2014/main" id="{4BE69B33-6A0F-461B-AD97-8BAC60632EB8}"/>
                  </a:ext>
                </a:extLst>
              </p:cNvPr>
              <p:cNvGrpSpPr/>
              <p:nvPr/>
            </p:nvGrpSpPr>
            <p:grpSpPr>
              <a:xfrm>
                <a:off x="2145228" y="5613320"/>
                <a:ext cx="165543" cy="419614"/>
                <a:chOff x="4852454" y="2916519"/>
                <a:chExt cx="278597" cy="366599"/>
              </a:xfrm>
            </p:grpSpPr>
            <p:sp>
              <p:nvSpPr>
                <p:cNvPr id="393" name="Rektangel 392">
                  <a:extLst>
                    <a:ext uri="{FF2B5EF4-FFF2-40B4-BE49-F238E27FC236}">
                      <a16:creationId xmlns:a16="http://schemas.microsoft.com/office/drawing/2014/main" id="{EA8A4F5E-C08D-4F3E-83CC-7160CCC2B9EC}"/>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4" name="Rektangel: afrundede hjørner 393">
                  <a:extLst>
                    <a:ext uri="{FF2B5EF4-FFF2-40B4-BE49-F238E27FC236}">
                      <a16:creationId xmlns:a16="http://schemas.microsoft.com/office/drawing/2014/main" id="{616B30AF-441E-405F-B45D-63D1D6DE67F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8" name="Ellipse 387">
                <a:extLst>
                  <a:ext uri="{FF2B5EF4-FFF2-40B4-BE49-F238E27FC236}">
                    <a16:creationId xmlns:a16="http://schemas.microsoft.com/office/drawing/2014/main" id="{CBFEC183-09F6-4E44-8714-84DB92B2F03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9" name="Ellipse 388">
                <a:extLst>
                  <a:ext uri="{FF2B5EF4-FFF2-40B4-BE49-F238E27FC236}">
                    <a16:creationId xmlns:a16="http://schemas.microsoft.com/office/drawing/2014/main" id="{414CDBAA-F375-4AB1-853D-6F674C111FAB}"/>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0" name="Ellipse 389">
                <a:extLst>
                  <a:ext uri="{FF2B5EF4-FFF2-40B4-BE49-F238E27FC236}">
                    <a16:creationId xmlns:a16="http://schemas.microsoft.com/office/drawing/2014/main" id="{49A05CC0-2FA9-485A-B9C3-066E0A087D2A}"/>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1" name="Ellipse 390">
                <a:extLst>
                  <a:ext uri="{FF2B5EF4-FFF2-40B4-BE49-F238E27FC236}">
                    <a16:creationId xmlns:a16="http://schemas.microsoft.com/office/drawing/2014/main" id="{5CBC264F-1743-4DA0-9514-A049FBDA5B69}"/>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2" name="Ellipse 391">
                <a:extLst>
                  <a:ext uri="{FF2B5EF4-FFF2-40B4-BE49-F238E27FC236}">
                    <a16:creationId xmlns:a16="http://schemas.microsoft.com/office/drawing/2014/main" id="{E0F5E750-A5E6-4319-B73B-ECDB8BFED00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 name="Gruppe 13">
              <a:extLst>
                <a:ext uri="{FF2B5EF4-FFF2-40B4-BE49-F238E27FC236}">
                  <a16:creationId xmlns:a16="http://schemas.microsoft.com/office/drawing/2014/main" id="{76CB85A7-D23B-402F-872F-4B4CC09D3C39}"/>
                </a:ext>
              </a:extLst>
            </p:cNvPr>
            <p:cNvGrpSpPr/>
            <p:nvPr/>
          </p:nvGrpSpPr>
          <p:grpSpPr>
            <a:xfrm flipH="1">
              <a:off x="4708158" y="4232264"/>
              <a:ext cx="1032122" cy="975758"/>
              <a:chOff x="1610213" y="4933721"/>
              <a:chExt cx="1169253" cy="1099213"/>
            </a:xfrm>
          </p:grpSpPr>
          <p:grpSp>
            <p:nvGrpSpPr>
              <p:cNvPr id="379" name="Gruppe 378">
                <a:extLst>
                  <a:ext uri="{FF2B5EF4-FFF2-40B4-BE49-F238E27FC236}">
                    <a16:creationId xmlns:a16="http://schemas.microsoft.com/office/drawing/2014/main" id="{CD71C443-C53E-4435-A672-34EBE422BBEC}"/>
                  </a:ext>
                </a:extLst>
              </p:cNvPr>
              <p:cNvGrpSpPr/>
              <p:nvPr/>
            </p:nvGrpSpPr>
            <p:grpSpPr>
              <a:xfrm>
                <a:off x="2145228" y="5613320"/>
                <a:ext cx="165543" cy="419614"/>
                <a:chOff x="4852454" y="2916519"/>
                <a:chExt cx="278597" cy="366599"/>
              </a:xfrm>
            </p:grpSpPr>
            <p:sp>
              <p:nvSpPr>
                <p:cNvPr id="385" name="Rektangel 384">
                  <a:extLst>
                    <a:ext uri="{FF2B5EF4-FFF2-40B4-BE49-F238E27FC236}">
                      <a16:creationId xmlns:a16="http://schemas.microsoft.com/office/drawing/2014/main" id="{5D850C96-F3F9-4F41-858A-1DB87CF271D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6" name="Rektangel: afrundede hjørner 385">
                  <a:extLst>
                    <a:ext uri="{FF2B5EF4-FFF2-40B4-BE49-F238E27FC236}">
                      <a16:creationId xmlns:a16="http://schemas.microsoft.com/office/drawing/2014/main" id="{4A429EE3-7A63-41AC-8AB9-68379B66C2B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0" name="Ellipse 379">
                <a:extLst>
                  <a:ext uri="{FF2B5EF4-FFF2-40B4-BE49-F238E27FC236}">
                    <a16:creationId xmlns:a16="http://schemas.microsoft.com/office/drawing/2014/main" id="{EC9227BD-3396-4B5F-8F18-04B480FA0A1A}"/>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0C49A90A-535D-4ED6-947D-1BFC15A21AA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2" name="Ellipse 381">
                <a:extLst>
                  <a:ext uri="{FF2B5EF4-FFF2-40B4-BE49-F238E27FC236}">
                    <a16:creationId xmlns:a16="http://schemas.microsoft.com/office/drawing/2014/main" id="{818C8BDE-F9E2-43FA-897D-84FF4EF3EA9E}"/>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3" name="Ellipse 382">
                <a:extLst>
                  <a:ext uri="{FF2B5EF4-FFF2-40B4-BE49-F238E27FC236}">
                    <a16:creationId xmlns:a16="http://schemas.microsoft.com/office/drawing/2014/main" id="{6B41002B-B795-4B5E-B00C-F986EA1BD58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4" name="Ellipse 383">
                <a:extLst>
                  <a:ext uri="{FF2B5EF4-FFF2-40B4-BE49-F238E27FC236}">
                    <a16:creationId xmlns:a16="http://schemas.microsoft.com/office/drawing/2014/main" id="{CA459810-9B4D-42AA-86B4-EFEA010AC3DA}"/>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5" name="Gruppe 14">
              <a:extLst>
                <a:ext uri="{FF2B5EF4-FFF2-40B4-BE49-F238E27FC236}">
                  <a16:creationId xmlns:a16="http://schemas.microsoft.com/office/drawing/2014/main" id="{06B4B2F8-BBD8-4854-8738-0ED5CF3ECA6F}"/>
                </a:ext>
              </a:extLst>
            </p:cNvPr>
            <p:cNvGrpSpPr/>
            <p:nvPr/>
          </p:nvGrpSpPr>
          <p:grpSpPr>
            <a:xfrm>
              <a:off x="1654814" y="4240269"/>
              <a:ext cx="1167307" cy="975758"/>
              <a:chOff x="1501738" y="4933721"/>
              <a:chExt cx="1322399" cy="1099213"/>
            </a:xfrm>
          </p:grpSpPr>
          <p:grpSp>
            <p:nvGrpSpPr>
              <p:cNvPr id="371" name="Gruppe 370">
                <a:extLst>
                  <a:ext uri="{FF2B5EF4-FFF2-40B4-BE49-F238E27FC236}">
                    <a16:creationId xmlns:a16="http://schemas.microsoft.com/office/drawing/2014/main" id="{7435F622-C51B-4B7F-9C1F-9A9E535A82C7}"/>
                  </a:ext>
                </a:extLst>
              </p:cNvPr>
              <p:cNvGrpSpPr/>
              <p:nvPr/>
            </p:nvGrpSpPr>
            <p:grpSpPr>
              <a:xfrm>
                <a:off x="2145228" y="5613320"/>
                <a:ext cx="165543" cy="419614"/>
                <a:chOff x="4852454" y="2916519"/>
                <a:chExt cx="278597" cy="366599"/>
              </a:xfrm>
            </p:grpSpPr>
            <p:sp>
              <p:nvSpPr>
                <p:cNvPr id="377" name="Rektangel 376">
                  <a:extLst>
                    <a:ext uri="{FF2B5EF4-FFF2-40B4-BE49-F238E27FC236}">
                      <a16:creationId xmlns:a16="http://schemas.microsoft.com/office/drawing/2014/main" id="{F430B710-4439-4CB2-9C83-8297C479F18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8" name="Rektangel: afrundede hjørner 377">
                  <a:extLst>
                    <a:ext uri="{FF2B5EF4-FFF2-40B4-BE49-F238E27FC236}">
                      <a16:creationId xmlns:a16="http://schemas.microsoft.com/office/drawing/2014/main" id="{680CDE23-D095-43BD-82BA-B7C065D3FE3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2" name="Ellipse 371">
                <a:extLst>
                  <a:ext uri="{FF2B5EF4-FFF2-40B4-BE49-F238E27FC236}">
                    <a16:creationId xmlns:a16="http://schemas.microsoft.com/office/drawing/2014/main" id="{CB9CE901-2022-4043-935F-730EDD6302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48B392EA-00D1-4118-BD73-5BF127A5F459}"/>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4" name="Ellipse 373">
                <a:extLst>
                  <a:ext uri="{FF2B5EF4-FFF2-40B4-BE49-F238E27FC236}">
                    <a16:creationId xmlns:a16="http://schemas.microsoft.com/office/drawing/2014/main" id="{21004C8B-440B-4AB0-ADCB-82F72D54C33A}"/>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5" name="Ellipse 374">
                <a:extLst>
                  <a:ext uri="{FF2B5EF4-FFF2-40B4-BE49-F238E27FC236}">
                    <a16:creationId xmlns:a16="http://schemas.microsoft.com/office/drawing/2014/main" id="{9F0CAA2B-5081-4E62-913E-16EC62AD5993}"/>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6" name="Ellipse 375">
                <a:extLst>
                  <a:ext uri="{FF2B5EF4-FFF2-40B4-BE49-F238E27FC236}">
                    <a16:creationId xmlns:a16="http://schemas.microsoft.com/office/drawing/2014/main" id="{266454EB-8A46-4978-BC52-1A3DDA29D0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 name="Rektangel 15">
              <a:extLst>
                <a:ext uri="{FF2B5EF4-FFF2-40B4-BE49-F238E27FC236}">
                  <a16:creationId xmlns:a16="http://schemas.microsoft.com/office/drawing/2014/main" id="{ACE4BA10-47BA-494C-9915-AEE6711DAF5F}"/>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a:extLst>
                <a:ext uri="{FF2B5EF4-FFF2-40B4-BE49-F238E27FC236}">
                  <a16:creationId xmlns:a16="http://schemas.microsoft.com/office/drawing/2014/main" id="{EAD5F2BE-4E82-484A-AA72-8EE9873A11DD}"/>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A23C0407-1781-4843-961B-B7DF99D4C204}"/>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Rektangel 18">
              <a:extLst>
                <a:ext uri="{FF2B5EF4-FFF2-40B4-BE49-F238E27FC236}">
                  <a16:creationId xmlns:a16="http://schemas.microsoft.com/office/drawing/2014/main" id="{9323A793-FEF2-4C15-8DBF-F2272A972C84}"/>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0" name="Gruppe 19">
              <a:extLst>
                <a:ext uri="{FF2B5EF4-FFF2-40B4-BE49-F238E27FC236}">
                  <a16:creationId xmlns:a16="http://schemas.microsoft.com/office/drawing/2014/main" id="{2CE29CAA-5E81-4346-B2C2-F9BFEF247DA2}"/>
                </a:ext>
              </a:extLst>
            </p:cNvPr>
            <p:cNvGrpSpPr/>
            <p:nvPr/>
          </p:nvGrpSpPr>
          <p:grpSpPr>
            <a:xfrm>
              <a:off x="1698371" y="4660669"/>
              <a:ext cx="4376784" cy="325426"/>
              <a:chOff x="1209635" y="3152432"/>
              <a:chExt cx="9240230" cy="585788"/>
            </a:xfrm>
          </p:grpSpPr>
          <p:sp>
            <p:nvSpPr>
              <p:cNvPr id="368" name="Retvinklet trekant 367">
                <a:extLst>
                  <a:ext uri="{FF2B5EF4-FFF2-40B4-BE49-F238E27FC236}">
                    <a16:creationId xmlns:a16="http://schemas.microsoft.com/office/drawing/2014/main" id="{AA6CEFBF-FBD7-4E5F-8328-AD416249F345}"/>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9" name="Rektangel 368">
                <a:extLst>
                  <a:ext uri="{FF2B5EF4-FFF2-40B4-BE49-F238E27FC236}">
                    <a16:creationId xmlns:a16="http://schemas.microsoft.com/office/drawing/2014/main" id="{BD584DE1-DAC4-4348-852F-F9E38DB98C11}"/>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0" name="Retvinklet trekant 369">
                <a:extLst>
                  <a:ext uri="{FF2B5EF4-FFF2-40B4-BE49-F238E27FC236}">
                    <a16:creationId xmlns:a16="http://schemas.microsoft.com/office/drawing/2014/main" id="{1A865442-CDE4-4268-A59E-F1DF2C034D71}"/>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1" name="Rektangel 20">
              <a:extLst>
                <a:ext uri="{FF2B5EF4-FFF2-40B4-BE49-F238E27FC236}">
                  <a16:creationId xmlns:a16="http://schemas.microsoft.com/office/drawing/2014/main" id="{66396729-BCBD-4A52-8790-017196F5F590}"/>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ektangel 21">
              <a:extLst>
                <a:ext uri="{FF2B5EF4-FFF2-40B4-BE49-F238E27FC236}">
                  <a16:creationId xmlns:a16="http://schemas.microsoft.com/office/drawing/2014/main" id="{AA5FBF21-4DE4-4DA8-A04C-53B6BB8EA6FE}"/>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3" name="Gruppe 22">
              <a:extLst>
                <a:ext uri="{FF2B5EF4-FFF2-40B4-BE49-F238E27FC236}">
                  <a16:creationId xmlns:a16="http://schemas.microsoft.com/office/drawing/2014/main" id="{DB1B58F9-A653-40BF-8AD7-2EB84B53AA24}"/>
                </a:ext>
              </a:extLst>
            </p:cNvPr>
            <p:cNvGrpSpPr/>
            <p:nvPr/>
          </p:nvGrpSpPr>
          <p:grpSpPr>
            <a:xfrm>
              <a:off x="1827227" y="5182532"/>
              <a:ext cx="110215" cy="202903"/>
              <a:chOff x="1758507" y="5170209"/>
              <a:chExt cx="156925" cy="285896"/>
            </a:xfrm>
          </p:grpSpPr>
          <p:sp>
            <p:nvSpPr>
              <p:cNvPr id="365" name="Rektangel 364">
                <a:extLst>
                  <a:ext uri="{FF2B5EF4-FFF2-40B4-BE49-F238E27FC236}">
                    <a16:creationId xmlns:a16="http://schemas.microsoft.com/office/drawing/2014/main" id="{67A62152-E40F-4211-9440-07C34FC8100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6" name="Lige forbindelse 365">
                <a:extLst>
                  <a:ext uri="{FF2B5EF4-FFF2-40B4-BE49-F238E27FC236}">
                    <a16:creationId xmlns:a16="http://schemas.microsoft.com/office/drawing/2014/main" id="{96B8406A-0265-4C4C-8241-1A05382B7268}"/>
                  </a:ext>
                </a:extLst>
              </p:cNvPr>
              <p:cNvCxnSpPr>
                <a:cxnSpLocks/>
                <a:stCxn id="365" idx="0"/>
                <a:endCxn id="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7" name="Lige forbindelse 366">
                <a:extLst>
                  <a:ext uri="{FF2B5EF4-FFF2-40B4-BE49-F238E27FC236}">
                    <a16:creationId xmlns:a16="http://schemas.microsoft.com/office/drawing/2014/main" id="{9AF71B64-D1F2-43F7-B0D9-75EF6483507D}"/>
                  </a:ext>
                </a:extLst>
              </p:cNvPr>
              <p:cNvCxnSpPr>
                <a:cxnSpLocks/>
                <a:stCxn id="365" idx="1"/>
                <a:endCxn id="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4" name="Gruppe 23">
              <a:extLst>
                <a:ext uri="{FF2B5EF4-FFF2-40B4-BE49-F238E27FC236}">
                  <a16:creationId xmlns:a16="http://schemas.microsoft.com/office/drawing/2014/main" id="{A24DF649-D3F7-4864-8FFA-1BF208AE06EF}"/>
                </a:ext>
              </a:extLst>
            </p:cNvPr>
            <p:cNvGrpSpPr/>
            <p:nvPr/>
          </p:nvGrpSpPr>
          <p:grpSpPr>
            <a:xfrm>
              <a:off x="2018117" y="5182532"/>
              <a:ext cx="110215" cy="202903"/>
              <a:chOff x="1758507" y="5170209"/>
              <a:chExt cx="156925" cy="285896"/>
            </a:xfrm>
          </p:grpSpPr>
          <p:sp>
            <p:nvSpPr>
              <p:cNvPr id="362" name="Rektangel 361">
                <a:extLst>
                  <a:ext uri="{FF2B5EF4-FFF2-40B4-BE49-F238E27FC236}">
                    <a16:creationId xmlns:a16="http://schemas.microsoft.com/office/drawing/2014/main" id="{39484904-D904-46D7-A960-CBA002D8138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3" name="Lige forbindelse 362">
                <a:extLst>
                  <a:ext uri="{FF2B5EF4-FFF2-40B4-BE49-F238E27FC236}">
                    <a16:creationId xmlns:a16="http://schemas.microsoft.com/office/drawing/2014/main" id="{11D2B54A-410B-4B07-9EAB-B567D52DE7C6}"/>
                  </a:ext>
                </a:extLst>
              </p:cNvPr>
              <p:cNvCxnSpPr>
                <a:cxnSpLocks/>
                <a:stCxn id="362" idx="0"/>
                <a:endCxn id="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4" name="Lige forbindelse 363">
                <a:extLst>
                  <a:ext uri="{FF2B5EF4-FFF2-40B4-BE49-F238E27FC236}">
                    <a16:creationId xmlns:a16="http://schemas.microsoft.com/office/drawing/2014/main" id="{A86CC369-AB9B-4A54-A534-66D473F16A9E}"/>
                  </a:ext>
                </a:extLst>
              </p:cNvPr>
              <p:cNvCxnSpPr>
                <a:cxnSpLocks/>
                <a:stCxn id="362" idx="1"/>
                <a:endCxn id="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5" name="Gruppe 24">
              <a:extLst>
                <a:ext uri="{FF2B5EF4-FFF2-40B4-BE49-F238E27FC236}">
                  <a16:creationId xmlns:a16="http://schemas.microsoft.com/office/drawing/2014/main" id="{34052C9A-DAC0-4830-AE4C-8B4893A49835}"/>
                </a:ext>
              </a:extLst>
            </p:cNvPr>
            <p:cNvGrpSpPr/>
            <p:nvPr/>
          </p:nvGrpSpPr>
          <p:grpSpPr>
            <a:xfrm>
              <a:off x="2209008" y="5182532"/>
              <a:ext cx="110215" cy="202903"/>
              <a:chOff x="1758507" y="5170209"/>
              <a:chExt cx="156925" cy="285896"/>
            </a:xfrm>
          </p:grpSpPr>
          <p:sp>
            <p:nvSpPr>
              <p:cNvPr id="359" name="Rektangel 358">
                <a:extLst>
                  <a:ext uri="{FF2B5EF4-FFF2-40B4-BE49-F238E27FC236}">
                    <a16:creationId xmlns:a16="http://schemas.microsoft.com/office/drawing/2014/main" id="{18C8ACF2-9945-4EDD-B135-7BD3BA846EC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0" name="Lige forbindelse 359">
                <a:extLst>
                  <a:ext uri="{FF2B5EF4-FFF2-40B4-BE49-F238E27FC236}">
                    <a16:creationId xmlns:a16="http://schemas.microsoft.com/office/drawing/2014/main" id="{C0916117-582C-4283-88A3-B7B096BD7C13}"/>
                  </a:ext>
                </a:extLst>
              </p:cNvPr>
              <p:cNvCxnSpPr>
                <a:cxnSpLocks/>
                <a:stCxn id="359" idx="0"/>
                <a:endCxn id="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1" name="Lige forbindelse 360">
                <a:extLst>
                  <a:ext uri="{FF2B5EF4-FFF2-40B4-BE49-F238E27FC236}">
                    <a16:creationId xmlns:a16="http://schemas.microsoft.com/office/drawing/2014/main" id="{450B1C7B-AC48-4A9E-A967-6B8B461ECB52}"/>
                  </a:ext>
                </a:extLst>
              </p:cNvPr>
              <p:cNvCxnSpPr>
                <a:cxnSpLocks/>
                <a:stCxn id="359" idx="1"/>
                <a:endCxn id="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6" name="Gruppe 25">
              <a:extLst>
                <a:ext uri="{FF2B5EF4-FFF2-40B4-BE49-F238E27FC236}">
                  <a16:creationId xmlns:a16="http://schemas.microsoft.com/office/drawing/2014/main" id="{DD386B1B-157A-4500-86E2-387132DC2004}"/>
                </a:ext>
              </a:extLst>
            </p:cNvPr>
            <p:cNvGrpSpPr/>
            <p:nvPr/>
          </p:nvGrpSpPr>
          <p:grpSpPr>
            <a:xfrm>
              <a:off x="2399898" y="5182532"/>
              <a:ext cx="110215" cy="202903"/>
              <a:chOff x="1758507" y="5170209"/>
              <a:chExt cx="156925" cy="285896"/>
            </a:xfrm>
          </p:grpSpPr>
          <p:sp>
            <p:nvSpPr>
              <p:cNvPr id="356" name="Rektangel 355">
                <a:extLst>
                  <a:ext uri="{FF2B5EF4-FFF2-40B4-BE49-F238E27FC236}">
                    <a16:creationId xmlns:a16="http://schemas.microsoft.com/office/drawing/2014/main" id="{340AD860-0F55-463E-9647-3D4412E0A6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7" name="Lige forbindelse 356">
                <a:extLst>
                  <a:ext uri="{FF2B5EF4-FFF2-40B4-BE49-F238E27FC236}">
                    <a16:creationId xmlns:a16="http://schemas.microsoft.com/office/drawing/2014/main" id="{6BC5A970-5FEC-4197-BEFD-FF0F431AAF29}"/>
                  </a:ext>
                </a:extLst>
              </p:cNvPr>
              <p:cNvCxnSpPr>
                <a:cxnSpLocks/>
                <a:stCxn id="356" idx="0"/>
                <a:endCxn id="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8" name="Lige forbindelse 357">
                <a:extLst>
                  <a:ext uri="{FF2B5EF4-FFF2-40B4-BE49-F238E27FC236}">
                    <a16:creationId xmlns:a16="http://schemas.microsoft.com/office/drawing/2014/main" id="{E1EBA77C-BA77-48C1-BF13-1BCD802E4BCD}"/>
                  </a:ext>
                </a:extLst>
              </p:cNvPr>
              <p:cNvCxnSpPr>
                <a:cxnSpLocks/>
                <a:stCxn id="356" idx="1"/>
                <a:endCxn id="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7" name="Gruppe 26">
              <a:extLst>
                <a:ext uri="{FF2B5EF4-FFF2-40B4-BE49-F238E27FC236}">
                  <a16:creationId xmlns:a16="http://schemas.microsoft.com/office/drawing/2014/main" id="{DEA278B2-BA0C-40CD-A5AC-A5F2DFAD3A0F}"/>
                </a:ext>
              </a:extLst>
            </p:cNvPr>
            <p:cNvGrpSpPr/>
            <p:nvPr/>
          </p:nvGrpSpPr>
          <p:grpSpPr>
            <a:xfrm>
              <a:off x="2590789" y="5182532"/>
              <a:ext cx="110215" cy="202903"/>
              <a:chOff x="1758507" y="5170209"/>
              <a:chExt cx="156925" cy="285896"/>
            </a:xfrm>
          </p:grpSpPr>
          <p:sp>
            <p:nvSpPr>
              <p:cNvPr id="353" name="Rektangel 352">
                <a:extLst>
                  <a:ext uri="{FF2B5EF4-FFF2-40B4-BE49-F238E27FC236}">
                    <a16:creationId xmlns:a16="http://schemas.microsoft.com/office/drawing/2014/main" id="{7452BE6D-315E-4D21-9435-56C427210D0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4" name="Lige forbindelse 353">
                <a:extLst>
                  <a:ext uri="{FF2B5EF4-FFF2-40B4-BE49-F238E27FC236}">
                    <a16:creationId xmlns:a16="http://schemas.microsoft.com/office/drawing/2014/main" id="{87C8209A-CC92-47BE-9583-982FA0419DBF}"/>
                  </a:ext>
                </a:extLst>
              </p:cNvPr>
              <p:cNvCxnSpPr>
                <a:cxnSpLocks/>
                <a:stCxn id="353" idx="0"/>
                <a:endCxn id="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5" name="Lige forbindelse 354">
                <a:extLst>
                  <a:ext uri="{FF2B5EF4-FFF2-40B4-BE49-F238E27FC236}">
                    <a16:creationId xmlns:a16="http://schemas.microsoft.com/office/drawing/2014/main" id="{44C45C34-81D9-45E9-9057-DAAD938997C8}"/>
                  </a:ext>
                </a:extLst>
              </p:cNvPr>
              <p:cNvCxnSpPr>
                <a:cxnSpLocks/>
                <a:stCxn id="353" idx="1"/>
                <a:endCxn id="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8" name="Gruppe 27">
              <a:extLst>
                <a:ext uri="{FF2B5EF4-FFF2-40B4-BE49-F238E27FC236}">
                  <a16:creationId xmlns:a16="http://schemas.microsoft.com/office/drawing/2014/main" id="{F7B4A5F1-0498-4394-A1F0-EC4242030F58}"/>
                </a:ext>
              </a:extLst>
            </p:cNvPr>
            <p:cNvGrpSpPr/>
            <p:nvPr/>
          </p:nvGrpSpPr>
          <p:grpSpPr>
            <a:xfrm>
              <a:off x="2781680" y="5182532"/>
              <a:ext cx="110215" cy="202903"/>
              <a:chOff x="1758507" y="5170209"/>
              <a:chExt cx="156925" cy="285896"/>
            </a:xfrm>
          </p:grpSpPr>
          <p:sp>
            <p:nvSpPr>
              <p:cNvPr id="350" name="Rektangel 349">
                <a:extLst>
                  <a:ext uri="{FF2B5EF4-FFF2-40B4-BE49-F238E27FC236}">
                    <a16:creationId xmlns:a16="http://schemas.microsoft.com/office/drawing/2014/main" id="{71595D88-30F9-4773-8168-168ED009E29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1" name="Lige forbindelse 350">
                <a:extLst>
                  <a:ext uri="{FF2B5EF4-FFF2-40B4-BE49-F238E27FC236}">
                    <a16:creationId xmlns:a16="http://schemas.microsoft.com/office/drawing/2014/main" id="{4DCDD549-7737-401F-8C34-2D352E0EFDED}"/>
                  </a:ext>
                </a:extLst>
              </p:cNvPr>
              <p:cNvCxnSpPr>
                <a:cxnSpLocks/>
                <a:stCxn id="350" idx="0"/>
                <a:endCxn id="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2" name="Lige forbindelse 351">
                <a:extLst>
                  <a:ext uri="{FF2B5EF4-FFF2-40B4-BE49-F238E27FC236}">
                    <a16:creationId xmlns:a16="http://schemas.microsoft.com/office/drawing/2014/main" id="{40298584-D51E-4330-A886-D32EE362E67C}"/>
                  </a:ext>
                </a:extLst>
              </p:cNvPr>
              <p:cNvCxnSpPr>
                <a:cxnSpLocks/>
                <a:stCxn id="350" idx="1"/>
                <a:endCxn id="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9" name="Gruppe 28">
              <a:extLst>
                <a:ext uri="{FF2B5EF4-FFF2-40B4-BE49-F238E27FC236}">
                  <a16:creationId xmlns:a16="http://schemas.microsoft.com/office/drawing/2014/main" id="{89E72864-5707-4E08-B96D-A1D271C875CC}"/>
                </a:ext>
              </a:extLst>
            </p:cNvPr>
            <p:cNvGrpSpPr/>
            <p:nvPr/>
          </p:nvGrpSpPr>
          <p:grpSpPr>
            <a:xfrm>
              <a:off x="2972570" y="5182532"/>
              <a:ext cx="110215" cy="202903"/>
              <a:chOff x="1758507" y="5170209"/>
              <a:chExt cx="156925" cy="285896"/>
            </a:xfrm>
          </p:grpSpPr>
          <p:sp>
            <p:nvSpPr>
              <p:cNvPr id="347" name="Rektangel 346">
                <a:extLst>
                  <a:ext uri="{FF2B5EF4-FFF2-40B4-BE49-F238E27FC236}">
                    <a16:creationId xmlns:a16="http://schemas.microsoft.com/office/drawing/2014/main" id="{26D55DE0-2279-4263-8034-2E302BFDBEC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8" name="Lige forbindelse 347">
                <a:extLst>
                  <a:ext uri="{FF2B5EF4-FFF2-40B4-BE49-F238E27FC236}">
                    <a16:creationId xmlns:a16="http://schemas.microsoft.com/office/drawing/2014/main" id="{B03BA8CB-A626-4DD3-A6E8-435B54289973}"/>
                  </a:ext>
                </a:extLst>
              </p:cNvPr>
              <p:cNvCxnSpPr>
                <a:cxnSpLocks/>
                <a:stCxn id="347" idx="0"/>
                <a:endCxn id="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9" name="Lige forbindelse 348">
                <a:extLst>
                  <a:ext uri="{FF2B5EF4-FFF2-40B4-BE49-F238E27FC236}">
                    <a16:creationId xmlns:a16="http://schemas.microsoft.com/office/drawing/2014/main" id="{47A0257B-CCDB-442D-9817-357274CB7252}"/>
                  </a:ext>
                </a:extLst>
              </p:cNvPr>
              <p:cNvCxnSpPr>
                <a:cxnSpLocks/>
                <a:stCxn id="347" idx="1"/>
                <a:endCxn id="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0" name="Gruppe 29">
              <a:extLst>
                <a:ext uri="{FF2B5EF4-FFF2-40B4-BE49-F238E27FC236}">
                  <a16:creationId xmlns:a16="http://schemas.microsoft.com/office/drawing/2014/main" id="{27BB7E46-BF77-40B4-BD1E-4AB96845EBF8}"/>
                </a:ext>
              </a:extLst>
            </p:cNvPr>
            <p:cNvGrpSpPr/>
            <p:nvPr/>
          </p:nvGrpSpPr>
          <p:grpSpPr>
            <a:xfrm>
              <a:off x="3163460" y="5182532"/>
              <a:ext cx="110215" cy="202903"/>
              <a:chOff x="1758507" y="5170209"/>
              <a:chExt cx="156925" cy="285896"/>
            </a:xfrm>
          </p:grpSpPr>
          <p:sp>
            <p:nvSpPr>
              <p:cNvPr id="344" name="Rektangel 343">
                <a:extLst>
                  <a:ext uri="{FF2B5EF4-FFF2-40B4-BE49-F238E27FC236}">
                    <a16:creationId xmlns:a16="http://schemas.microsoft.com/office/drawing/2014/main" id="{4101CB3B-6D61-4854-9EAC-09B6CAAFEC4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5" name="Lige forbindelse 344">
                <a:extLst>
                  <a:ext uri="{FF2B5EF4-FFF2-40B4-BE49-F238E27FC236}">
                    <a16:creationId xmlns:a16="http://schemas.microsoft.com/office/drawing/2014/main" id="{C7DC30A0-ACAB-4886-B5F7-E4B63FA2348B}"/>
                  </a:ext>
                </a:extLst>
              </p:cNvPr>
              <p:cNvCxnSpPr>
                <a:cxnSpLocks/>
                <a:stCxn id="344" idx="0"/>
                <a:endCxn id="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6" name="Lige forbindelse 345">
                <a:extLst>
                  <a:ext uri="{FF2B5EF4-FFF2-40B4-BE49-F238E27FC236}">
                    <a16:creationId xmlns:a16="http://schemas.microsoft.com/office/drawing/2014/main" id="{3E7895AC-B8CA-41DA-B28C-36F950B6C6D1}"/>
                  </a:ext>
                </a:extLst>
              </p:cNvPr>
              <p:cNvCxnSpPr>
                <a:cxnSpLocks/>
                <a:stCxn id="344" idx="1"/>
                <a:endCxn id="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1" name="Gruppe 30">
              <a:extLst>
                <a:ext uri="{FF2B5EF4-FFF2-40B4-BE49-F238E27FC236}">
                  <a16:creationId xmlns:a16="http://schemas.microsoft.com/office/drawing/2014/main" id="{B72E3086-FDF9-4B6B-B8DC-02DF97AB6EB4}"/>
                </a:ext>
              </a:extLst>
            </p:cNvPr>
            <p:cNvGrpSpPr/>
            <p:nvPr/>
          </p:nvGrpSpPr>
          <p:grpSpPr>
            <a:xfrm>
              <a:off x="3354351" y="5182532"/>
              <a:ext cx="110215" cy="202903"/>
              <a:chOff x="1758507" y="5170209"/>
              <a:chExt cx="156925" cy="285896"/>
            </a:xfrm>
          </p:grpSpPr>
          <p:sp>
            <p:nvSpPr>
              <p:cNvPr id="341" name="Rektangel 340">
                <a:extLst>
                  <a:ext uri="{FF2B5EF4-FFF2-40B4-BE49-F238E27FC236}">
                    <a16:creationId xmlns:a16="http://schemas.microsoft.com/office/drawing/2014/main" id="{043F0571-FFD7-4A95-814F-05379A1414F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2" name="Lige forbindelse 341">
                <a:extLst>
                  <a:ext uri="{FF2B5EF4-FFF2-40B4-BE49-F238E27FC236}">
                    <a16:creationId xmlns:a16="http://schemas.microsoft.com/office/drawing/2014/main" id="{798705D2-55FB-46A1-BF4C-2F0B3514B1DE}"/>
                  </a:ext>
                </a:extLst>
              </p:cNvPr>
              <p:cNvCxnSpPr>
                <a:cxnSpLocks/>
                <a:stCxn id="341" idx="0"/>
                <a:endCxn id="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3" name="Lige forbindelse 342">
                <a:extLst>
                  <a:ext uri="{FF2B5EF4-FFF2-40B4-BE49-F238E27FC236}">
                    <a16:creationId xmlns:a16="http://schemas.microsoft.com/office/drawing/2014/main" id="{9DE443C9-4896-4E2F-B496-12896FCD932A}"/>
                  </a:ext>
                </a:extLst>
              </p:cNvPr>
              <p:cNvCxnSpPr>
                <a:cxnSpLocks/>
                <a:stCxn id="341" idx="1"/>
                <a:endCxn id="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2" name="Gruppe 31">
              <a:extLst>
                <a:ext uri="{FF2B5EF4-FFF2-40B4-BE49-F238E27FC236}">
                  <a16:creationId xmlns:a16="http://schemas.microsoft.com/office/drawing/2014/main" id="{9E1667C3-1806-4709-B0F6-0552BD4273F5}"/>
                </a:ext>
              </a:extLst>
            </p:cNvPr>
            <p:cNvGrpSpPr/>
            <p:nvPr/>
          </p:nvGrpSpPr>
          <p:grpSpPr>
            <a:xfrm>
              <a:off x="3545241" y="5182532"/>
              <a:ext cx="110215" cy="202903"/>
              <a:chOff x="1758507" y="5170209"/>
              <a:chExt cx="156925" cy="285896"/>
            </a:xfrm>
          </p:grpSpPr>
          <p:sp>
            <p:nvSpPr>
              <p:cNvPr id="338" name="Rektangel 337">
                <a:extLst>
                  <a:ext uri="{FF2B5EF4-FFF2-40B4-BE49-F238E27FC236}">
                    <a16:creationId xmlns:a16="http://schemas.microsoft.com/office/drawing/2014/main" id="{8E735C5D-1161-471C-B4D2-64676C695BB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9" name="Lige forbindelse 338">
                <a:extLst>
                  <a:ext uri="{FF2B5EF4-FFF2-40B4-BE49-F238E27FC236}">
                    <a16:creationId xmlns:a16="http://schemas.microsoft.com/office/drawing/2014/main" id="{C1D6FEB9-9AFE-44A5-A920-6DC9BB295765}"/>
                  </a:ext>
                </a:extLst>
              </p:cNvPr>
              <p:cNvCxnSpPr>
                <a:cxnSpLocks/>
                <a:stCxn id="338" idx="0"/>
                <a:endCxn id="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0" name="Lige forbindelse 339">
                <a:extLst>
                  <a:ext uri="{FF2B5EF4-FFF2-40B4-BE49-F238E27FC236}">
                    <a16:creationId xmlns:a16="http://schemas.microsoft.com/office/drawing/2014/main" id="{1043CDD5-6F67-4878-A0CB-78F7D5E66E94}"/>
                  </a:ext>
                </a:extLst>
              </p:cNvPr>
              <p:cNvCxnSpPr>
                <a:cxnSpLocks/>
                <a:stCxn id="338" idx="1"/>
                <a:endCxn id="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3" name="Gruppe 32">
              <a:extLst>
                <a:ext uri="{FF2B5EF4-FFF2-40B4-BE49-F238E27FC236}">
                  <a16:creationId xmlns:a16="http://schemas.microsoft.com/office/drawing/2014/main" id="{92888698-4617-4AC8-8F84-51C9E6B23DBB}"/>
                </a:ext>
              </a:extLst>
            </p:cNvPr>
            <p:cNvGrpSpPr/>
            <p:nvPr/>
          </p:nvGrpSpPr>
          <p:grpSpPr>
            <a:xfrm>
              <a:off x="3736132" y="5182532"/>
              <a:ext cx="110215" cy="202903"/>
              <a:chOff x="1758507" y="5170209"/>
              <a:chExt cx="156925" cy="285896"/>
            </a:xfrm>
          </p:grpSpPr>
          <p:sp>
            <p:nvSpPr>
              <p:cNvPr id="335" name="Rektangel 334">
                <a:extLst>
                  <a:ext uri="{FF2B5EF4-FFF2-40B4-BE49-F238E27FC236}">
                    <a16:creationId xmlns:a16="http://schemas.microsoft.com/office/drawing/2014/main" id="{43D56488-B384-456C-9C16-E85149581C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6" name="Lige forbindelse 335">
                <a:extLst>
                  <a:ext uri="{FF2B5EF4-FFF2-40B4-BE49-F238E27FC236}">
                    <a16:creationId xmlns:a16="http://schemas.microsoft.com/office/drawing/2014/main" id="{1E6E9A72-9002-40A9-9BD4-E5FF090050F3}"/>
                  </a:ext>
                </a:extLst>
              </p:cNvPr>
              <p:cNvCxnSpPr>
                <a:cxnSpLocks/>
                <a:stCxn id="335" idx="0"/>
                <a:endCxn id="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24E801FF-5E11-44D2-B78E-63DE180A97C6}"/>
                  </a:ext>
                </a:extLst>
              </p:cNvPr>
              <p:cNvCxnSpPr>
                <a:cxnSpLocks/>
                <a:stCxn id="335" idx="1"/>
                <a:endCxn id="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4" name="Gruppe 33">
              <a:extLst>
                <a:ext uri="{FF2B5EF4-FFF2-40B4-BE49-F238E27FC236}">
                  <a16:creationId xmlns:a16="http://schemas.microsoft.com/office/drawing/2014/main" id="{02B65C94-37B8-4F1D-8D07-8DE5FA57092E}"/>
                </a:ext>
              </a:extLst>
            </p:cNvPr>
            <p:cNvGrpSpPr/>
            <p:nvPr/>
          </p:nvGrpSpPr>
          <p:grpSpPr>
            <a:xfrm>
              <a:off x="3927023" y="5182532"/>
              <a:ext cx="110215" cy="202903"/>
              <a:chOff x="1758507" y="5170209"/>
              <a:chExt cx="156925" cy="285896"/>
            </a:xfrm>
          </p:grpSpPr>
          <p:sp>
            <p:nvSpPr>
              <p:cNvPr id="332" name="Rektangel 331">
                <a:extLst>
                  <a:ext uri="{FF2B5EF4-FFF2-40B4-BE49-F238E27FC236}">
                    <a16:creationId xmlns:a16="http://schemas.microsoft.com/office/drawing/2014/main" id="{2CB6556B-99A2-4BFF-9F1D-BE3B69D02F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3" name="Lige forbindelse 332">
                <a:extLst>
                  <a:ext uri="{FF2B5EF4-FFF2-40B4-BE49-F238E27FC236}">
                    <a16:creationId xmlns:a16="http://schemas.microsoft.com/office/drawing/2014/main" id="{8210045B-0124-47D1-AFFE-030F2BC19EFF}"/>
                  </a:ext>
                </a:extLst>
              </p:cNvPr>
              <p:cNvCxnSpPr>
                <a:cxnSpLocks/>
                <a:stCxn id="332" idx="0"/>
                <a:endCxn id="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4" name="Lige forbindelse 333">
                <a:extLst>
                  <a:ext uri="{FF2B5EF4-FFF2-40B4-BE49-F238E27FC236}">
                    <a16:creationId xmlns:a16="http://schemas.microsoft.com/office/drawing/2014/main" id="{B6BBE8B2-72BD-434A-8C9A-019DF51A038C}"/>
                  </a:ext>
                </a:extLst>
              </p:cNvPr>
              <p:cNvCxnSpPr>
                <a:cxnSpLocks/>
                <a:stCxn id="332" idx="1"/>
                <a:endCxn id="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5" name="Gruppe 34">
              <a:extLst>
                <a:ext uri="{FF2B5EF4-FFF2-40B4-BE49-F238E27FC236}">
                  <a16:creationId xmlns:a16="http://schemas.microsoft.com/office/drawing/2014/main" id="{549D7C92-4C4A-4429-9AA8-4EFBA674D6EB}"/>
                </a:ext>
              </a:extLst>
            </p:cNvPr>
            <p:cNvGrpSpPr/>
            <p:nvPr/>
          </p:nvGrpSpPr>
          <p:grpSpPr>
            <a:xfrm>
              <a:off x="4117913" y="5182532"/>
              <a:ext cx="110215" cy="202903"/>
              <a:chOff x="1758507" y="5170209"/>
              <a:chExt cx="156925" cy="285896"/>
            </a:xfrm>
          </p:grpSpPr>
          <p:sp>
            <p:nvSpPr>
              <p:cNvPr id="329" name="Rektangel 328">
                <a:extLst>
                  <a:ext uri="{FF2B5EF4-FFF2-40B4-BE49-F238E27FC236}">
                    <a16:creationId xmlns:a16="http://schemas.microsoft.com/office/drawing/2014/main" id="{FD456AEF-6438-4C9A-8D69-446943DD53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0" name="Lige forbindelse 329">
                <a:extLst>
                  <a:ext uri="{FF2B5EF4-FFF2-40B4-BE49-F238E27FC236}">
                    <a16:creationId xmlns:a16="http://schemas.microsoft.com/office/drawing/2014/main" id="{F4B374D2-0C29-4591-BF24-7919957DF20E}"/>
                  </a:ext>
                </a:extLst>
              </p:cNvPr>
              <p:cNvCxnSpPr>
                <a:cxnSpLocks/>
                <a:stCxn id="329" idx="0"/>
                <a:endCxn id="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1" name="Lige forbindelse 330">
                <a:extLst>
                  <a:ext uri="{FF2B5EF4-FFF2-40B4-BE49-F238E27FC236}">
                    <a16:creationId xmlns:a16="http://schemas.microsoft.com/office/drawing/2014/main" id="{2CDE1D74-B1BF-4E5D-84FD-C2442EC6470A}"/>
                  </a:ext>
                </a:extLst>
              </p:cNvPr>
              <p:cNvCxnSpPr>
                <a:cxnSpLocks/>
                <a:stCxn id="329" idx="1"/>
                <a:endCxn id="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6" name="Gruppe 35">
              <a:extLst>
                <a:ext uri="{FF2B5EF4-FFF2-40B4-BE49-F238E27FC236}">
                  <a16:creationId xmlns:a16="http://schemas.microsoft.com/office/drawing/2014/main" id="{65F959DB-AA56-43EA-9130-11142AA3AB4A}"/>
                </a:ext>
              </a:extLst>
            </p:cNvPr>
            <p:cNvGrpSpPr/>
            <p:nvPr/>
          </p:nvGrpSpPr>
          <p:grpSpPr>
            <a:xfrm>
              <a:off x="4308804" y="5182532"/>
              <a:ext cx="110215" cy="202903"/>
              <a:chOff x="1758507" y="5170209"/>
              <a:chExt cx="156925" cy="285896"/>
            </a:xfrm>
          </p:grpSpPr>
          <p:sp>
            <p:nvSpPr>
              <p:cNvPr id="326" name="Rektangel 325">
                <a:extLst>
                  <a:ext uri="{FF2B5EF4-FFF2-40B4-BE49-F238E27FC236}">
                    <a16:creationId xmlns:a16="http://schemas.microsoft.com/office/drawing/2014/main" id="{F9411F08-D600-4B48-A978-B872F3693A5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7" name="Lige forbindelse 326">
                <a:extLst>
                  <a:ext uri="{FF2B5EF4-FFF2-40B4-BE49-F238E27FC236}">
                    <a16:creationId xmlns:a16="http://schemas.microsoft.com/office/drawing/2014/main" id="{8F1680C4-98EA-4446-A9A8-67105A2070D7}"/>
                  </a:ext>
                </a:extLst>
              </p:cNvPr>
              <p:cNvCxnSpPr>
                <a:cxnSpLocks/>
                <a:stCxn id="326" idx="0"/>
                <a:endCxn id="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8" name="Lige forbindelse 327">
                <a:extLst>
                  <a:ext uri="{FF2B5EF4-FFF2-40B4-BE49-F238E27FC236}">
                    <a16:creationId xmlns:a16="http://schemas.microsoft.com/office/drawing/2014/main" id="{173A8A3C-1A17-4315-8FE3-3726197F367E}"/>
                  </a:ext>
                </a:extLst>
              </p:cNvPr>
              <p:cNvCxnSpPr>
                <a:cxnSpLocks/>
                <a:stCxn id="326" idx="1"/>
                <a:endCxn id="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7" name="Gruppe 36">
              <a:extLst>
                <a:ext uri="{FF2B5EF4-FFF2-40B4-BE49-F238E27FC236}">
                  <a16:creationId xmlns:a16="http://schemas.microsoft.com/office/drawing/2014/main" id="{5BC39412-C05A-4E3C-8BE4-8270071B78E9}"/>
                </a:ext>
              </a:extLst>
            </p:cNvPr>
            <p:cNvGrpSpPr/>
            <p:nvPr/>
          </p:nvGrpSpPr>
          <p:grpSpPr>
            <a:xfrm>
              <a:off x="4499694" y="5182532"/>
              <a:ext cx="110215" cy="202903"/>
              <a:chOff x="1758507" y="5170209"/>
              <a:chExt cx="156925" cy="285896"/>
            </a:xfrm>
          </p:grpSpPr>
          <p:sp>
            <p:nvSpPr>
              <p:cNvPr id="323" name="Rektangel 322">
                <a:extLst>
                  <a:ext uri="{FF2B5EF4-FFF2-40B4-BE49-F238E27FC236}">
                    <a16:creationId xmlns:a16="http://schemas.microsoft.com/office/drawing/2014/main" id="{8A2D31A4-45BC-4226-83EA-1450E31D529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4" name="Lige forbindelse 323">
                <a:extLst>
                  <a:ext uri="{FF2B5EF4-FFF2-40B4-BE49-F238E27FC236}">
                    <a16:creationId xmlns:a16="http://schemas.microsoft.com/office/drawing/2014/main" id="{B0637C6F-D96E-4A08-8C80-BE078091EB45}"/>
                  </a:ext>
                </a:extLst>
              </p:cNvPr>
              <p:cNvCxnSpPr>
                <a:cxnSpLocks/>
                <a:stCxn id="323" idx="0"/>
                <a:endCxn id="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5" name="Lige forbindelse 324">
                <a:extLst>
                  <a:ext uri="{FF2B5EF4-FFF2-40B4-BE49-F238E27FC236}">
                    <a16:creationId xmlns:a16="http://schemas.microsoft.com/office/drawing/2014/main" id="{1CD63FB6-F200-422D-96D3-849E4E94BC7F}"/>
                  </a:ext>
                </a:extLst>
              </p:cNvPr>
              <p:cNvCxnSpPr>
                <a:cxnSpLocks/>
                <a:stCxn id="323" idx="1"/>
                <a:endCxn id="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8" name="Gruppe 37">
              <a:extLst>
                <a:ext uri="{FF2B5EF4-FFF2-40B4-BE49-F238E27FC236}">
                  <a16:creationId xmlns:a16="http://schemas.microsoft.com/office/drawing/2014/main" id="{0692F69E-D318-40B9-98FF-D63192104227}"/>
                </a:ext>
              </a:extLst>
            </p:cNvPr>
            <p:cNvGrpSpPr/>
            <p:nvPr/>
          </p:nvGrpSpPr>
          <p:grpSpPr>
            <a:xfrm>
              <a:off x="4690585" y="5182532"/>
              <a:ext cx="110215" cy="202903"/>
              <a:chOff x="1758507" y="5170209"/>
              <a:chExt cx="156925" cy="285896"/>
            </a:xfrm>
          </p:grpSpPr>
          <p:sp>
            <p:nvSpPr>
              <p:cNvPr id="320" name="Rektangel 319">
                <a:extLst>
                  <a:ext uri="{FF2B5EF4-FFF2-40B4-BE49-F238E27FC236}">
                    <a16:creationId xmlns:a16="http://schemas.microsoft.com/office/drawing/2014/main" id="{64491446-3A45-4EA6-9D4D-802456E56B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1" name="Lige forbindelse 320">
                <a:extLst>
                  <a:ext uri="{FF2B5EF4-FFF2-40B4-BE49-F238E27FC236}">
                    <a16:creationId xmlns:a16="http://schemas.microsoft.com/office/drawing/2014/main" id="{9468B263-B658-4787-8FAA-70E631CE0754}"/>
                  </a:ext>
                </a:extLst>
              </p:cNvPr>
              <p:cNvCxnSpPr>
                <a:cxnSpLocks/>
                <a:stCxn id="320" idx="0"/>
                <a:endCxn id="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2" name="Lige forbindelse 321">
                <a:extLst>
                  <a:ext uri="{FF2B5EF4-FFF2-40B4-BE49-F238E27FC236}">
                    <a16:creationId xmlns:a16="http://schemas.microsoft.com/office/drawing/2014/main" id="{A92248BA-9919-4E56-9E73-BCC0B453FC06}"/>
                  </a:ext>
                </a:extLst>
              </p:cNvPr>
              <p:cNvCxnSpPr>
                <a:cxnSpLocks/>
                <a:stCxn id="320" idx="1"/>
                <a:endCxn id="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9" name="Gruppe 38">
              <a:extLst>
                <a:ext uri="{FF2B5EF4-FFF2-40B4-BE49-F238E27FC236}">
                  <a16:creationId xmlns:a16="http://schemas.microsoft.com/office/drawing/2014/main" id="{5C0F4682-F7FE-4F28-997C-E9783815D53B}"/>
                </a:ext>
              </a:extLst>
            </p:cNvPr>
            <p:cNvGrpSpPr/>
            <p:nvPr/>
          </p:nvGrpSpPr>
          <p:grpSpPr>
            <a:xfrm>
              <a:off x="4881475" y="5182532"/>
              <a:ext cx="110215" cy="202903"/>
              <a:chOff x="1758507" y="5170209"/>
              <a:chExt cx="156925" cy="285896"/>
            </a:xfrm>
          </p:grpSpPr>
          <p:sp>
            <p:nvSpPr>
              <p:cNvPr id="317" name="Rektangel 316">
                <a:extLst>
                  <a:ext uri="{FF2B5EF4-FFF2-40B4-BE49-F238E27FC236}">
                    <a16:creationId xmlns:a16="http://schemas.microsoft.com/office/drawing/2014/main" id="{88696E79-2F53-4065-ADC1-877E79BD616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8" name="Lige forbindelse 317">
                <a:extLst>
                  <a:ext uri="{FF2B5EF4-FFF2-40B4-BE49-F238E27FC236}">
                    <a16:creationId xmlns:a16="http://schemas.microsoft.com/office/drawing/2014/main" id="{E6BB927A-A1A1-4147-8525-09DB8EBC4B97}"/>
                  </a:ext>
                </a:extLst>
              </p:cNvPr>
              <p:cNvCxnSpPr>
                <a:cxnSpLocks/>
                <a:stCxn id="317" idx="0"/>
                <a:endCxn id="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9" name="Lige forbindelse 318">
                <a:extLst>
                  <a:ext uri="{FF2B5EF4-FFF2-40B4-BE49-F238E27FC236}">
                    <a16:creationId xmlns:a16="http://schemas.microsoft.com/office/drawing/2014/main" id="{3040DB55-E8F1-4CC0-87F5-EB7D1DAFF372}"/>
                  </a:ext>
                </a:extLst>
              </p:cNvPr>
              <p:cNvCxnSpPr>
                <a:cxnSpLocks/>
                <a:stCxn id="317" idx="1"/>
                <a:endCxn id="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0" name="Gruppe 39">
              <a:extLst>
                <a:ext uri="{FF2B5EF4-FFF2-40B4-BE49-F238E27FC236}">
                  <a16:creationId xmlns:a16="http://schemas.microsoft.com/office/drawing/2014/main" id="{30C5856D-7EB1-44F1-875C-5259A4C0CF65}"/>
                </a:ext>
              </a:extLst>
            </p:cNvPr>
            <p:cNvGrpSpPr/>
            <p:nvPr/>
          </p:nvGrpSpPr>
          <p:grpSpPr>
            <a:xfrm>
              <a:off x="5072366" y="5182532"/>
              <a:ext cx="110215" cy="202903"/>
              <a:chOff x="1758507" y="5170209"/>
              <a:chExt cx="156925" cy="285896"/>
            </a:xfrm>
          </p:grpSpPr>
          <p:sp>
            <p:nvSpPr>
              <p:cNvPr id="314" name="Rektangel 313">
                <a:extLst>
                  <a:ext uri="{FF2B5EF4-FFF2-40B4-BE49-F238E27FC236}">
                    <a16:creationId xmlns:a16="http://schemas.microsoft.com/office/drawing/2014/main" id="{0B09BC26-5FB0-4A99-B996-1BB232A35C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5" name="Lige forbindelse 314">
                <a:extLst>
                  <a:ext uri="{FF2B5EF4-FFF2-40B4-BE49-F238E27FC236}">
                    <a16:creationId xmlns:a16="http://schemas.microsoft.com/office/drawing/2014/main" id="{DDC6ADE4-559F-4C50-8193-6CE446D4712C}"/>
                  </a:ext>
                </a:extLst>
              </p:cNvPr>
              <p:cNvCxnSpPr>
                <a:cxnSpLocks/>
                <a:stCxn id="314" idx="0"/>
                <a:endCxn id="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6" name="Lige forbindelse 315">
                <a:extLst>
                  <a:ext uri="{FF2B5EF4-FFF2-40B4-BE49-F238E27FC236}">
                    <a16:creationId xmlns:a16="http://schemas.microsoft.com/office/drawing/2014/main" id="{5DA9B54D-A880-453D-83CF-54506191F589}"/>
                  </a:ext>
                </a:extLst>
              </p:cNvPr>
              <p:cNvCxnSpPr>
                <a:cxnSpLocks/>
                <a:stCxn id="314" idx="1"/>
                <a:endCxn id="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1" name="Gruppe 40">
              <a:extLst>
                <a:ext uri="{FF2B5EF4-FFF2-40B4-BE49-F238E27FC236}">
                  <a16:creationId xmlns:a16="http://schemas.microsoft.com/office/drawing/2014/main" id="{009C4A12-C9BB-451D-8BB0-13DB0991B5A4}"/>
                </a:ext>
              </a:extLst>
            </p:cNvPr>
            <p:cNvGrpSpPr/>
            <p:nvPr/>
          </p:nvGrpSpPr>
          <p:grpSpPr>
            <a:xfrm>
              <a:off x="5263257" y="5182532"/>
              <a:ext cx="110215" cy="202903"/>
              <a:chOff x="1758507" y="5170209"/>
              <a:chExt cx="156925" cy="285896"/>
            </a:xfrm>
          </p:grpSpPr>
          <p:sp>
            <p:nvSpPr>
              <p:cNvPr id="311" name="Rektangel 310">
                <a:extLst>
                  <a:ext uri="{FF2B5EF4-FFF2-40B4-BE49-F238E27FC236}">
                    <a16:creationId xmlns:a16="http://schemas.microsoft.com/office/drawing/2014/main" id="{75532B5E-3029-4B42-A066-2416AD8A3B9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2" name="Lige forbindelse 311">
                <a:extLst>
                  <a:ext uri="{FF2B5EF4-FFF2-40B4-BE49-F238E27FC236}">
                    <a16:creationId xmlns:a16="http://schemas.microsoft.com/office/drawing/2014/main" id="{9BCCDB01-1BFB-49CF-B51A-520C49BCB678}"/>
                  </a:ext>
                </a:extLst>
              </p:cNvPr>
              <p:cNvCxnSpPr>
                <a:cxnSpLocks/>
                <a:stCxn id="311" idx="0"/>
                <a:endCxn id="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3" name="Lige forbindelse 312">
                <a:extLst>
                  <a:ext uri="{FF2B5EF4-FFF2-40B4-BE49-F238E27FC236}">
                    <a16:creationId xmlns:a16="http://schemas.microsoft.com/office/drawing/2014/main" id="{D9BCA93A-AADE-414E-9278-908103251C31}"/>
                  </a:ext>
                </a:extLst>
              </p:cNvPr>
              <p:cNvCxnSpPr>
                <a:cxnSpLocks/>
                <a:stCxn id="311" idx="1"/>
                <a:endCxn id="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2" name="Gruppe 41">
              <a:extLst>
                <a:ext uri="{FF2B5EF4-FFF2-40B4-BE49-F238E27FC236}">
                  <a16:creationId xmlns:a16="http://schemas.microsoft.com/office/drawing/2014/main" id="{17F423A1-9A9F-4B15-9ADF-BB8CFC32677F}"/>
                </a:ext>
              </a:extLst>
            </p:cNvPr>
            <p:cNvGrpSpPr/>
            <p:nvPr/>
          </p:nvGrpSpPr>
          <p:grpSpPr>
            <a:xfrm>
              <a:off x="5454147" y="5182532"/>
              <a:ext cx="110215" cy="202903"/>
              <a:chOff x="1758507" y="5170209"/>
              <a:chExt cx="156925" cy="285896"/>
            </a:xfrm>
          </p:grpSpPr>
          <p:sp>
            <p:nvSpPr>
              <p:cNvPr id="308" name="Rektangel 307">
                <a:extLst>
                  <a:ext uri="{FF2B5EF4-FFF2-40B4-BE49-F238E27FC236}">
                    <a16:creationId xmlns:a16="http://schemas.microsoft.com/office/drawing/2014/main" id="{455B303B-E81B-4F77-AA14-AB08E38F55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9" name="Lige forbindelse 308">
                <a:extLst>
                  <a:ext uri="{FF2B5EF4-FFF2-40B4-BE49-F238E27FC236}">
                    <a16:creationId xmlns:a16="http://schemas.microsoft.com/office/drawing/2014/main" id="{8FCF1153-9A04-479D-8FB1-41C7337FBC89}"/>
                  </a:ext>
                </a:extLst>
              </p:cNvPr>
              <p:cNvCxnSpPr>
                <a:cxnSpLocks/>
                <a:stCxn id="308" idx="0"/>
                <a:endCxn id="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0" name="Lige forbindelse 309">
                <a:extLst>
                  <a:ext uri="{FF2B5EF4-FFF2-40B4-BE49-F238E27FC236}">
                    <a16:creationId xmlns:a16="http://schemas.microsoft.com/office/drawing/2014/main" id="{2177F88E-4E94-46A9-9600-ACB301F3AFCD}"/>
                  </a:ext>
                </a:extLst>
              </p:cNvPr>
              <p:cNvCxnSpPr>
                <a:cxnSpLocks/>
                <a:stCxn id="308" idx="1"/>
                <a:endCxn id="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3" name="Gruppe 42">
              <a:extLst>
                <a:ext uri="{FF2B5EF4-FFF2-40B4-BE49-F238E27FC236}">
                  <a16:creationId xmlns:a16="http://schemas.microsoft.com/office/drawing/2014/main" id="{E04E80EC-28D2-493F-8CEA-1434F2443A63}"/>
                </a:ext>
              </a:extLst>
            </p:cNvPr>
            <p:cNvGrpSpPr/>
            <p:nvPr/>
          </p:nvGrpSpPr>
          <p:grpSpPr>
            <a:xfrm>
              <a:off x="5645037" y="5182532"/>
              <a:ext cx="110215" cy="202903"/>
              <a:chOff x="1758507" y="5170209"/>
              <a:chExt cx="156925" cy="285896"/>
            </a:xfrm>
          </p:grpSpPr>
          <p:sp>
            <p:nvSpPr>
              <p:cNvPr id="305" name="Rektangel 304">
                <a:extLst>
                  <a:ext uri="{FF2B5EF4-FFF2-40B4-BE49-F238E27FC236}">
                    <a16:creationId xmlns:a16="http://schemas.microsoft.com/office/drawing/2014/main" id="{563AEF8B-181D-41EE-BEF9-CCE96B0D39A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6" name="Lige forbindelse 305">
                <a:extLst>
                  <a:ext uri="{FF2B5EF4-FFF2-40B4-BE49-F238E27FC236}">
                    <a16:creationId xmlns:a16="http://schemas.microsoft.com/office/drawing/2014/main" id="{2EA82724-CCA6-4B9B-90D5-B3A86F27609F}"/>
                  </a:ext>
                </a:extLst>
              </p:cNvPr>
              <p:cNvCxnSpPr>
                <a:cxnSpLocks/>
                <a:stCxn id="305" idx="0"/>
                <a:endCxn id="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7" name="Lige forbindelse 306">
                <a:extLst>
                  <a:ext uri="{FF2B5EF4-FFF2-40B4-BE49-F238E27FC236}">
                    <a16:creationId xmlns:a16="http://schemas.microsoft.com/office/drawing/2014/main" id="{10919813-B07B-4D1C-A15F-2257B94FB4D5}"/>
                  </a:ext>
                </a:extLst>
              </p:cNvPr>
              <p:cNvCxnSpPr>
                <a:cxnSpLocks/>
                <a:stCxn id="305" idx="1"/>
                <a:endCxn id="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4" name="Gruppe 43">
              <a:extLst>
                <a:ext uri="{FF2B5EF4-FFF2-40B4-BE49-F238E27FC236}">
                  <a16:creationId xmlns:a16="http://schemas.microsoft.com/office/drawing/2014/main" id="{59814042-E787-4600-9CEC-F5C5A4E7BA48}"/>
                </a:ext>
              </a:extLst>
            </p:cNvPr>
            <p:cNvGrpSpPr/>
            <p:nvPr/>
          </p:nvGrpSpPr>
          <p:grpSpPr>
            <a:xfrm>
              <a:off x="5835932" y="5182532"/>
              <a:ext cx="110215" cy="202903"/>
              <a:chOff x="1758507" y="5170209"/>
              <a:chExt cx="156925" cy="285896"/>
            </a:xfrm>
          </p:grpSpPr>
          <p:sp>
            <p:nvSpPr>
              <p:cNvPr id="302" name="Rektangel 301">
                <a:extLst>
                  <a:ext uri="{FF2B5EF4-FFF2-40B4-BE49-F238E27FC236}">
                    <a16:creationId xmlns:a16="http://schemas.microsoft.com/office/drawing/2014/main" id="{C0088F5E-A0FE-4136-973E-3105833926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3" name="Lige forbindelse 302">
                <a:extLst>
                  <a:ext uri="{FF2B5EF4-FFF2-40B4-BE49-F238E27FC236}">
                    <a16:creationId xmlns:a16="http://schemas.microsoft.com/office/drawing/2014/main" id="{DA4DE5A9-D235-4751-8DE7-9C7976308B96}"/>
                  </a:ext>
                </a:extLst>
              </p:cNvPr>
              <p:cNvCxnSpPr>
                <a:cxnSpLocks/>
                <a:stCxn id="302" idx="0"/>
                <a:endCxn id="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4" name="Lige forbindelse 303">
                <a:extLst>
                  <a:ext uri="{FF2B5EF4-FFF2-40B4-BE49-F238E27FC236}">
                    <a16:creationId xmlns:a16="http://schemas.microsoft.com/office/drawing/2014/main" id="{309316B6-D28F-460A-B24E-3CA508461FF2}"/>
                  </a:ext>
                </a:extLst>
              </p:cNvPr>
              <p:cNvCxnSpPr>
                <a:cxnSpLocks/>
                <a:stCxn id="302" idx="1"/>
                <a:endCxn id="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5" name="Gruppe 44">
              <a:extLst>
                <a:ext uri="{FF2B5EF4-FFF2-40B4-BE49-F238E27FC236}">
                  <a16:creationId xmlns:a16="http://schemas.microsoft.com/office/drawing/2014/main" id="{682E3209-52BB-4273-8C79-018343FB4BC3}"/>
                </a:ext>
              </a:extLst>
            </p:cNvPr>
            <p:cNvGrpSpPr/>
            <p:nvPr/>
          </p:nvGrpSpPr>
          <p:grpSpPr>
            <a:xfrm>
              <a:off x="1827227" y="5428729"/>
              <a:ext cx="110215" cy="202903"/>
              <a:chOff x="1758507" y="5170209"/>
              <a:chExt cx="156925" cy="285896"/>
            </a:xfrm>
          </p:grpSpPr>
          <p:sp>
            <p:nvSpPr>
              <p:cNvPr id="299" name="Rektangel 298">
                <a:extLst>
                  <a:ext uri="{FF2B5EF4-FFF2-40B4-BE49-F238E27FC236}">
                    <a16:creationId xmlns:a16="http://schemas.microsoft.com/office/drawing/2014/main" id="{A5032AAF-A0F0-42A1-946E-3DA60E802B6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0" name="Lige forbindelse 299">
                <a:extLst>
                  <a:ext uri="{FF2B5EF4-FFF2-40B4-BE49-F238E27FC236}">
                    <a16:creationId xmlns:a16="http://schemas.microsoft.com/office/drawing/2014/main" id="{EE8C95A7-0405-416B-BA71-648E9B791BCB}"/>
                  </a:ext>
                </a:extLst>
              </p:cNvPr>
              <p:cNvCxnSpPr>
                <a:cxnSpLocks/>
                <a:stCxn id="299" idx="0"/>
                <a:endCxn id="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1" name="Lige forbindelse 300">
                <a:extLst>
                  <a:ext uri="{FF2B5EF4-FFF2-40B4-BE49-F238E27FC236}">
                    <a16:creationId xmlns:a16="http://schemas.microsoft.com/office/drawing/2014/main" id="{8A8B0756-4C4E-4AFA-88FB-51656B293E89}"/>
                  </a:ext>
                </a:extLst>
              </p:cNvPr>
              <p:cNvCxnSpPr>
                <a:cxnSpLocks/>
                <a:stCxn id="299" idx="1"/>
                <a:endCxn id="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6" name="Gruppe 45">
              <a:extLst>
                <a:ext uri="{FF2B5EF4-FFF2-40B4-BE49-F238E27FC236}">
                  <a16:creationId xmlns:a16="http://schemas.microsoft.com/office/drawing/2014/main" id="{9A6CE329-D4F0-4C5D-A55B-48321556BF21}"/>
                </a:ext>
              </a:extLst>
            </p:cNvPr>
            <p:cNvGrpSpPr/>
            <p:nvPr/>
          </p:nvGrpSpPr>
          <p:grpSpPr>
            <a:xfrm>
              <a:off x="2018117" y="5428729"/>
              <a:ext cx="110215" cy="202903"/>
              <a:chOff x="1758507" y="5170209"/>
              <a:chExt cx="156925" cy="285896"/>
            </a:xfrm>
          </p:grpSpPr>
          <p:sp>
            <p:nvSpPr>
              <p:cNvPr id="296" name="Rektangel 295">
                <a:extLst>
                  <a:ext uri="{FF2B5EF4-FFF2-40B4-BE49-F238E27FC236}">
                    <a16:creationId xmlns:a16="http://schemas.microsoft.com/office/drawing/2014/main" id="{8F15B4D8-4A38-471C-B3E4-6AAB47FD7BE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7" name="Lige forbindelse 296">
                <a:extLst>
                  <a:ext uri="{FF2B5EF4-FFF2-40B4-BE49-F238E27FC236}">
                    <a16:creationId xmlns:a16="http://schemas.microsoft.com/office/drawing/2014/main" id="{E40D968A-A557-4486-9D71-C6C513DCE3DE}"/>
                  </a:ext>
                </a:extLst>
              </p:cNvPr>
              <p:cNvCxnSpPr>
                <a:cxnSpLocks/>
                <a:stCxn id="296" idx="0"/>
                <a:endCxn id="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8" name="Lige forbindelse 297">
                <a:extLst>
                  <a:ext uri="{FF2B5EF4-FFF2-40B4-BE49-F238E27FC236}">
                    <a16:creationId xmlns:a16="http://schemas.microsoft.com/office/drawing/2014/main" id="{1E1DF57A-D8A9-42EA-BC33-953DCE4F40DF}"/>
                  </a:ext>
                </a:extLst>
              </p:cNvPr>
              <p:cNvCxnSpPr>
                <a:cxnSpLocks/>
                <a:stCxn id="296" idx="1"/>
                <a:endCxn id="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7" name="Gruppe 46">
              <a:extLst>
                <a:ext uri="{FF2B5EF4-FFF2-40B4-BE49-F238E27FC236}">
                  <a16:creationId xmlns:a16="http://schemas.microsoft.com/office/drawing/2014/main" id="{301B4DF0-2B8D-45A7-9F3B-CB7723345E38}"/>
                </a:ext>
              </a:extLst>
            </p:cNvPr>
            <p:cNvGrpSpPr/>
            <p:nvPr/>
          </p:nvGrpSpPr>
          <p:grpSpPr>
            <a:xfrm>
              <a:off x="2209008" y="5428729"/>
              <a:ext cx="110215" cy="202903"/>
              <a:chOff x="1758507" y="5170209"/>
              <a:chExt cx="156925" cy="285896"/>
            </a:xfrm>
          </p:grpSpPr>
          <p:sp>
            <p:nvSpPr>
              <p:cNvPr id="293" name="Rektangel 292">
                <a:extLst>
                  <a:ext uri="{FF2B5EF4-FFF2-40B4-BE49-F238E27FC236}">
                    <a16:creationId xmlns:a16="http://schemas.microsoft.com/office/drawing/2014/main" id="{2A7351DF-B6E9-4B4E-8206-EFF2CD840C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4" name="Lige forbindelse 293">
                <a:extLst>
                  <a:ext uri="{FF2B5EF4-FFF2-40B4-BE49-F238E27FC236}">
                    <a16:creationId xmlns:a16="http://schemas.microsoft.com/office/drawing/2014/main" id="{B001B7A0-E157-4E67-9D07-BE3DFFCCC42E}"/>
                  </a:ext>
                </a:extLst>
              </p:cNvPr>
              <p:cNvCxnSpPr>
                <a:cxnSpLocks/>
                <a:stCxn id="293" idx="0"/>
                <a:endCxn id="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5" name="Lige forbindelse 294">
                <a:extLst>
                  <a:ext uri="{FF2B5EF4-FFF2-40B4-BE49-F238E27FC236}">
                    <a16:creationId xmlns:a16="http://schemas.microsoft.com/office/drawing/2014/main" id="{E56DEBD1-3754-4490-9EF1-8E4A4A5C4E3E}"/>
                  </a:ext>
                </a:extLst>
              </p:cNvPr>
              <p:cNvCxnSpPr>
                <a:cxnSpLocks/>
                <a:stCxn id="293" idx="1"/>
                <a:endCxn id="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8" name="Gruppe 47">
              <a:extLst>
                <a:ext uri="{FF2B5EF4-FFF2-40B4-BE49-F238E27FC236}">
                  <a16:creationId xmlns:a16="http://schemas.microsoft.com/office/drawing/2014/main" id="{CAFCB08F-E54A-4120-A0AC-79CB87D75CC5}"/>
                </a:ext>
              </a:extLst>
            </p:cNvPr>
            <p:cNvGrpSpPr/>
            <p:nvPr/>
          </p:nvGrpSpPr>
          <p:grpSpPr>
            <a:xfrm>
              <a:off x="2399898" y="5428729"/>
              <a:ext cx="110215" cy="202903"/>
              <a:chOff x="1758507" y="5170209"/>
              <a:chExt cx="156925" cy="285896"/>
            </a:xfrm>
          </p:grpSpPr>
          <p:sp>
            <p:nvSpPr>
              <p:cNvPr id="290" name="Rektangel 289">
                <a:extLst>
                  <a:ext uri="{FF2B5EF4-FFF2-40B4-BE49-F238E27FC236}">
                    <a16:creationId xmlns:a16="http://schemas.microsoft.com/office/drawing/2014/main" id="{BCE82CF6-8499-422F-864D-5528EB01BBE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1" name="Lige forbindelse 290">
                <a:extLst>
                  <a:ext uri="{FF2B5EF4-FFF2-40B4-BE49-F238E27FC236}">
                    <a16:creationId xmlns:a16="http://schemas.microsoft.com/office/drawing/2014/main" id="{E7A51565-8A44-488F-A651-F41BCD822D52}"/>
                  </a:ext>
                </a:extLst>
              </p:cNvPr>
              <p:cNvCxnSpPr>
                <a:cxnSpLocks/>
                <a:stCxn id="290" idx="0"/>
                <a:endCxn id="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2" name="Lige forbindelse 291">
                <a:extLst>
                  <a:ext uri="{FF2B5EF4-FFF2-40B4-BE49-F238E27FC236}">
                    <a16:creationId xmlns:a16="http://schemas.microsoft.com/office/drawing/2014/main" id="{DFDF75B5-C6F2-4D6D-BE09-56C880085694}"/>
                  </a:ext>
                </a:extLst>
              </p:cNvPr>
              <p:cNvCxnSpPr>
                <a:cxnSpLocks/>
                <a:stCxn id="290" idx="1"/>
                <a:endCxn id="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9" name="Gruppe 48">
              <a:extLst>
                <a:ext uri="{FF2B5EF4-FFF2-40B4-BE49-F238E27FC236}">
                  <a16:creationId xmlns:a16="http://schemas.microsoft.com/office/drawing/2014/main" id="{8616F704-C491-4EC1-A99C-C83FCEA135F5}"/>
                </a:ext>
              </a:extLst>
            </p:cNvPr>
            <p:cNvGrpSpPr/>
            <p:nvPr/>
          </p:nvGrpSpPr>
          <p:grpSpPr>
            <a:xfrm>
              <a:off x="2590789" y="5428729"/>
              <a:ext cx="110215" cy="202903"/>
              <a:chOff x="1758507" y="5170209"/>
              <a:chExt cx="156925" cy="285896"/>
            </a:xfrm>
          </p:grpSpPr>
          <p:sp>
            <p:nvSpPr>
              <p:cNvPr id="287" name="Rektangel 286">
                <a:extLst>
                  <a:ext uri="{FF2B5EF4-FFF2-40B4-BE49-F238E27FC236}">
                    <a16:creationId xmlns:a16="http://schemas.microsoft.com/office/drawing/2014/main" id="{B889F749-01E3-4C23-BC1F-19A2724AAF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8" name="Lige forbindelse 287">
                <a:extLst>
                  <a:ext uri="{FF2B5EF4-FFF2-40B4-BE49-F238E27FC236}">
                    <a16:creationId xmlns:a16="http://schemas.microsoft.com/office/drawing/2014/main" id="{0D724A3E-6F3F-40FD-93E1-9C827E054C0B}"/>
                  </a:ext>
                </a:extLst>
              </p:cNvPr>
              <p:cNvCxnSpPr>
                <a:cxnSpLocks/>
                <a:stCxn id="287" idx="0"/>
                <a:endCxn id="28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9" name="Lige forbindelse 288">
                <a:extLst>
                  <a:ext uri="{FF2B5EF4-FFF2-40B4-BE49-F238E27FC236}">
                    <a16:creationId xmlns:a16="http://schemas.microsoft.com/office/drawing/2014/main" id="{386ACCF6-0C2E-470C-93D5-F5593A91B2AE}"/>
                  </a:ext>
                </a:extLst>
              </p:cNvPr>
              <p:cNvCxnSpPr>
                <a:cxnSpLocks/>
                <a:stCxn id="287" idx="1"/>
                <a:endCxn id="28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0" name="Gruppe 49">
              <a:extLst>
                <a:ext uri="{FF2B5EF4-FFF2-40B4-BE49-F238E27FC236}">
                  <a16:creationId xmlns:a16="http://schemas.microsoft.com/office/drawing/2014/main" id="{B6409CB9-7800-4DAE-A3D7-3E6CD68062B9}"/>
                </a:ext>
              </a:extLst>
            </p:cNvPr>
            <p:cNvGrpSpPr/>
            <p:nvPr/>
          </p:nvGrpSpPr>
          <p:grpSpPr>
            <a:xfrm>
              <a:off x="2781680" y="5428729"/>
              <a:ext cx="110215" cy="202903"/>
              <a:chOff x="1758507" y="5170209"/>
              <a:chExt cx="156925" cy="285896"/>
            </a:xfrm>
          </p:grpSpPr>
          <p:sp>
            <p:nvSpPr>
              <p:cNvPr id="284" name="Rektangel 283">
                <a:extLst>
                  <a:ext uri="{FF2B5EF4-FFF2-40B4-BE49-F238E27FC236}">
                    <a16:creationId xmlns:a16="http://schemas.microsoft.com/office/drawing/2014/main" id="{8801A58F-930B-4576-BBBA-0B2FC1D1AE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5" name="Lige forbindelse 284">
                <a:extLst>
                  <a:ext uri="{FF2B5EF4-FFF2-40B4-BE49-F238E27FC236}">
                    <a16:creationId xmlns:a16="http://schemas.microsoft.com/office/drawing/2014/main" id="{F2B4BA4E-323A-49BB-8CB5-0AE696B2E776}"/>
                  </a:ext>
                </a:extLst>
              </p:cNvPr>
              <p:cNvCxnSpPr>
                <a:cxnSpLocks/>
                <a:stCxn id="284" idx="0"/>
                <a:endCxn id="28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6" name="Lige forbindelse 285">
                <a:extLst>
                  <a:ext uri="{FF2B5EF4-FFF2-40B4-BE49-F238E27FC236}">
                    <a16:creationId xmlns:a16="http://schemas.microsoft.com/office/drawing/2014/main" id="{DC18E852-84FA-4E1E-844C-8CD6F32BF111}"/>
                  </a:ext>
                </a:extLst>
              </p:cNvPr>
              <p:cNvCxnSpPr>
                <a:cxnSpLocks/>
                <a:stCxn id="284" idx="1"/>
                <a:endCxn id="28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1" name="Gruppe 50">
              <a:extLst>
                <a:ext uri="{FF2B5EF4-FFF2-40B4-BE49-F238E27FC236}">
                  <a16:creationId xmlns:a16="http://schemas.microsoft.com/office/drawing/2014/main" id="{90755FBE-7E3B-4A02-A07B-D2C535492C7A}"/>
                </a:ext>
              </a:extLst>
            </p:cNvPr>
            <p:cNvGrpSpPr/>
            <p:nvPr/>
          </p:nvGrpSpPr>
          <p:grpSpPr>
            <a:xfrm>
              <a:off x="2972570" y="5428729"/>
              <a:ext cx="110215" cy="202903"/>
              <a:chOff x="1758507" y="5170209"/>
              <a:chExt cx="156925" cy="285896"/>
            </a:xfrm>
          </p:grpSpPr>
          <p:sp>
            <p:nvSpPr>
              <p:cNvPr id="281" name="Rektangel 280">
                <a:extLst>
                  <a:ext uri="{FF2B5EF4-FFF2-40B4-BE49-F238E27FC236}">
                    <a16:creationId xmlns:a16="http://schemas.microsoft.com/office/drawing/2014/main" id="{8C42747F-239A-4D30-AEC6-9885894DA17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2" name="Lige forbindelse 281">
                <a:extLst>
                  <a:ext uri="{FF2B5EF4-FFF2-40B4-BE49-F238E27FC236}">
                    <a16:creationId xmlns:a16="http://schemas.microsoft.com/office/drawing/2014/main" id="{88AB354A-477A-4962-BC2E-CEE1DEB34B4E}"/>
                  </a:ext>
                </a:extLst>
              </p:cNvPr>
              <p:cNvCxnSpPr>
                <a:cxnSpLocks/>
                <a:stCxn id="281" idx="0"/>
                <a:endCxn id="28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3" name="Lige forbindelse 282">
                <a:extLst>
                  <a:ext uri="{FF2B5EF4-FFF2-40B4-BE49-F238E27FC236}">
                    <a16:creationId xmlns:a16="http://schemas.microsoft.com/office/drawing/2014/main" id="{28A5562F-7502-4F68-8F1F-4AF8079B2136}"/>
                  </a:ext>
                </a:extLst>
              </p:cNvPr>
              <p:cNvCxnSpPr>
                <a:cxnSpLocks/>
                <a:stCxn id="281" idx="1"/>
                <a:endCxn id="28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2" name="Gruppe 51">
              <a:extLst>
                <a:ext uri="{FF2B5EF4-FFF2-40B4-BE49-F238E27FC236}">
                  <a16:creationId xmlns:a16="http://schemas.microsoft.com/office/drawing/2014/main" id="{31B2478F-4A20-4A8E-B9D7-70D9CE848D87}"/>
                </a:ext>
              </a:extLst>
            </p:cNvPr>
            <p:cNvGrpSpPr/>
            <p:nvPr/>
          </p:nvGrpSpPr>
          <p:grpSpPr>
            <a:xfrm>
              <a:off x="3163460" y="5428729"/>
              <a:ext cx="110215" cy="202903"/>
              <a:chOff x="1758507" y="5170209"/>
              <a:chExt cx="156925" cy="285896"/>
            </a:xfrm>
          </p:grpSpPr>
          <p:sp>
            <p:nvSpPr>
              <p:cNvPr id="278" name="Rektangel 277">
                <a:extLst>
                  <a:ext uri="{FF2B5EF4-FFF2-40B4-BE49-F238E27FC236}">
                    <a16:creationId xmlns:a16="http://schemas.microsoft.com/office/drawing/2014/main" id="{9AA4FAF0-FFFB-4F19-9779-A57CF65C583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9" name="Lige forbindelse 278">
                <a:extLst>
                  <a:ext uri="{FF2B5EF4-FFF2-40B4-BE49-F238E27FC236}">
                    <a16:creationId xmlns:a16="http://schemas.microsoft.com/office/drawing/2014/main" id="{E54953B6-73C9-419C-8151-305CE8C95EA3}"/>
                  </a:ext>
                </a:extLst>
              </p:cNvPr>
              <p:cNvCxnSpPr>
                <a:cxnSpLocks/>
                <a:stCxn id="278" idx="0"/>
                <a:endCxn id="27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0" name="Lige forbindelse 279">
                <a:extLst>
                  <a:ext uri="{FF2B5EF4-FFF2-40B4-BE49-F238E27FC236}">
                    <a16:creationId xmlns:a16="http://schemas.microsoft.com/office/drawing/2014/main" id="{6F739215-E3B9-4643-A932-9DC29A6E3B1A}"/>
                  </a:ext>
                </a:extLst>
              </p:cNvPr>
              <p:cNvCxnSpPr>
                <a:cxnSpLocks/>
                <a:stCxn id="278" idx="1"/>
                <a:endCxn id="27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3" name="Gruppe 52">
              <a:extLst>
                <a:ext uri="{FF2B5EF4-FFF2-40B4-BE49-F238E27FC236}">
                  <a16:creationId xmlns:a16="http://schemas.microsoft.com/office/drawing/2014/main" id="{316E171A-7C8C-49FC-9785-8AF9C9FD8F9A}"/>
                </a:ext>
              </a:extLst>
            </p:cNvPr>
            <p:cNvGrpSpPr/>
            <p:nvPr/>
          </p:nvGrpSpPr>
          <p:grpSpPr>
            <a:xfrm>
              <a:off x="3354351" y="5428729"/>
              <a:ext cx="110215" cy="202903"/>
              <a:chOff x="1758507" y="5170209"/>
              <a:chExt cx="156925" cy="285896"/>
            </a:xfrm>
          </p:grpSpPr>
          <p:sp>
            <p:nvSpPr>
              <p:cNvPr id="275" name="Rektangel 274">
                <a:extLst>
                  <a:ext uri="{FF2B5EF4-FFF2-40B4-BE49-F238E27FC236}">
                    <a16:creationId xmlns:a16="http://schemas.microsoft.com/office/drawing/2014/main" id="{B89FAB74-DFDC-45DA-A449-D8F50D4214A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6" name="Lige forbindelse 275">
                <a:extLst>
                  <a:ext uri="{FF2B5EF4-FFF2-40B4-BE49-F238E27FC236}">
                    <a16:creationId xmlns:a16="http://schemas.microsoft.com/office/drawing/2014/main" id="{85FA33B7-8A13-49A4-AA4B-A1B626CBF141}"/>
                  </a:ext>
                </a:extLst>
              </p:cNvPr>
              <p:cNvCxnSpPr>
                <a:cxnSpLocks/>
                <a:stCxn id="275" idx="0"/>
                <a:endCxn id="27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7" name="Lige forbindelse 276">
                <a:extLst>
                  <a:ext uri="{FF2B5EF4-FFF2-40B4-BE49-F238E27FC236}">
                    <a16:creationId xmlns:a16="http://schemas.microsoft.com/office/drawing/2014/main" id="{B7009856-B685-40B4-A590-90AF34778D91}"/>
                  </a:ext>
                </a:extLst>
              </p:cNvPr>
              <p:cNvCxnSpPr>
                <a:cxnSpLocks/>
                <a:stCxn id="275" idx="1"/>
                <a:endCxn id="27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4" name="Gruppe 53">
              <a:extLst>
                <a:ext uri="{FF2B5EF4-FFF2-40B4-BE49-F238E27FC236}">
                  <a16:creationId xmlns:a16="http://schemas.microsoft.com/office/drawing/2014/main" id="{607483BC-E15A-4593-9805-647ACB7A0912}"/>
                </a:ext>
              </a:extLst>
            </p:cNvPr>
            <p:cNvGrpSpPr/>
            <p:nvPr/>
          </p:nvGrpSpPr>
          <p:grpSpPr>
            <a:xfrm>
              <a:off x="3545241" y="5428729"/>
              <a:ext cx="110215" cy="202903"/>
              <a:chOff x="1758507" y="5170209"/>
              <a:chExt cx="156925" cy="285896"/>
            </a:xfrm>
          </p:grpSpPr>
          <p:sp>
            <p:nvSpPr>
              <p:cNvPr id="272" name="Rektangel 271">
                <a:extLst>
                  <a:ext uri="{FF2B5EF4-FFF2-40B4-BE49-F238E27FC236}">
                    <a16:creationId xmlns:a16="http://schemas.microsoft.com/office/drawing/2014/main" id="{080041B2-E1E4-483A-ACF8-3D3CDA57BAC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3" name="Lige forbindelse 272">
                <a:extLst>
                  <a:ext uri="{FF2B5EF4-FFF2-40B4-BE49-F238E27FC236}">
                    <a16:creationId xmlns:a16="http://schemas.microsoft.com/office/drawing/2014/main" id="{B52C2E6C-2D63-4629-8C37-FDFE28795681}"/>
                  </a:ext>
                </a:extLst>
              </p:cNvPr>
              <p:cNvCxnSpPr>
                <a:cxnSpLocks/>
                <a:stCxn id="272" idx="0"/>
                <a:endCxn id="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4" name="Lige forbindelse 273">
                <a:extLst>
                  <a:ext uri="{FF2B5EF4-FFF2-40B4-BE49-F238E27FC236}">
                    <a16:creationId xmlns:a16="http://schemas.microsoft.com/office/drawing/2014/main" id="{00523520-3BFB-41E1-A2D0-D2AECA37BBE9}"/>
                  </a:ext>
                </a:extLst>
              </p:cNvPr>
              <p:cNvCxnSpPr>
                <a:cxnSpLocks/>
                <a:stCxn id="272" idx="1"/>
                <a:endCxn id="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5" name="Gruppe 54">
              <a:extLst>
                <a:ext uri="{FF2B5EF4-FFF2-40B4-BE49-F238E27FC236}">
                  <a16:creationId xmlns:a16="http://schemas.microsoft.com/office/drawing/2014/main" id="{37C04FA3-A8E6-4477-B3CE-BB2FFDA8229E}"/>
                </a:ext>
              </a:extLst>
            </p:cNvPr>
            <p:cNvGrpSpPr/>
            <p:nvPr/>
          </p:nvGrpSpPr>
          <p:grpSpPr>
            <a:xfrm>
              <a:off x="3736132" y="5428729"/>
              <a:ext cx="110215" cy="202903"/>
              <a:chOff x="1758507" y="5170209"/>
              <a:chExt cx="156925" cy="285896"/>
            </a:xfrm>
          </p:grpSpPr>
          <p:sp>
            <p:nvSpPr>
              <p:cNvPr id="269" name="Rektangel 268">
                <a:extLst>
                  <a:ext uri="{FF2B5EF4-FFF2-40B4-BE49-F238E27FC236}">
                    <a16:creationId xmlns:a16="http://schemas.microsoft.com/office/drawing/2014/main" id="{F4D79E62-BB38-419A-BED7-01262F7A19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0" name="Lige forbindelse 269">
                <a:extLst>
                  <a:ext uri="{FF2B5EF4-FFF2-40B4-BE49-F238E27FC236}">
                    <a16:creationId xmlns:a16="http://schemas.microsoft.com/office/drawing/2014/main" id="{3C6168A2-4768-4B84-A69F-30EE32BE58BF}"/>
                  </a:ext>
                </a:extLst>
              </p:cNvPr>
              <p:cNvCxnSpPr>
                <a:cxnSpLocks/>
                <a:stCxn id="269" idx="0"/>
                <a:endCxn id="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1" name="Lige forbindelse 270">
                <a:extLst>
                  <a:ext uri="{FF2B5EF4-FFF2-40B4-BE49-F238E27FC236}">
                    <a16:creationId xmlns:a16="http://schemas.microsoft.com/office/drawing/2014/main" id="{2455A280-CF7B-4AFD-9F6E-FB4F2E8E56C1}"/>
                  </a:ext>
                </a:extLst>
              </p:cNvPr>
              <p:cNvCxnSpPr>
                <a:cxnSpLocks/>
                <a:stCxn id="269" idx="1"/>
                <a:endCxn id="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6" name="Gruppe 55">
              <a:extLst>
                <a:ext uri="{FF2B5EF4-FFF2-40B4-BE49-F238E27FC236}">
                  <a16:creationId xmlns:a16="http://schemas.microsoft.com/office/drawing/2014/main" id="{4E9EBFB8-2D81-408A-B065-611161BC5D2E}"/>
                </a:ext>
              </a:extLst>
            </p:cNvPr>
            <p:cNvGrpSpPr/>
            <p:nvPr/>
          </p:nvGrpSpPr>
          <p:grpSpPr>
            <a:xfrm>
              <a:off x="3927023" y="5428729"/>
              <a:ext cx="110215" cy="202903"/>
              <a:chOff x="1758507" y="5170209"/>
              <a:chExt cx="156925" cy="285896"/>
            </a:xfrm>
          </p:grpSpPr>
          <p:sp>
            <p:nvSpPr>
              <p:cNvPr id="266" name="Rektangel 265">
                <a:extLst>
                  <a:ext uri="{FF2B5EF4-FFF2-40B4-BE49-F238E27FC236}">
                    <a16:creationId xmlns:a16="http://schemas.microsoft.com/office/drawing/2014/main" id="{68D7DA9E-4CDF-4DC0-B947-9735ABF1FB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7" name="Lige forbindelse 266">
                <a:extLst>
                  <a:ext uri="{FF2B5EF4-FFF2-40B4-BE49-F238E27FC236}">
                    <a16:creationId xmlns:a16="http://schemas.microsoft.com/office/drawing/2014/main" id="{2FB22E4E-1E8A-47F4-959E-D1A1BC931720}"/>
                  </a:ext>
                </a:extLst>
              </p:cNvPr>
              <p:cNvCxnSpPr>
                <a:cxnSpLocks/>
                <a:stCxn id="266" idx="0"/>
                <a:endCxn id="26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8" name="Lige forbindelse 267">
                <a:extLst>
                  <a:ext uri="{FF2B5EF4-FFF2-40B4-BE49-F238E27FC236}">
                    <a16:creationId xmlns:a16="http://schemas.microsoft.com/office/drawing/2014/main" id="{AEE204B7-9A75-4FC4-A9AC-7159B5115EED}"/>
                  </a:ext>
                </a:extLst>
              </p:cNvPr>
              <p:cNvCxnSpPr>
                <a:cxnSpLocks/>
                <a:stCxn id="266" idx="1"/>
                <a:endCxn id="26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7" name="Gruppe 56">
              <a:extLst>
                <a:ext uri="{FF2B5EF4-FFF2-40B4-BE49-F238E27FC236}">
                  <a16:creationId xmlns:a16="http://schemas.microsoft.com/office/drawing/2014/main" id="{009F6641-E049-4EDB-8D68-0148EDFBAFA9}"/>
                </a:ext>
              </a:extLst>
            </p:cNvPr>
            <p:cNvGrpSpPr/>
            <p:nvPr/>
          </p:nvGrpSpPr>
          <p:grpSpPr>
            <a:xfrm>
              <a:off x="4117913" y="5428729"/>
              <a:ext cx="110215" cy="202903"/>
              <a:chOff x="1758507" y="5170209"/>
              <a:chExt cx="156925" cy="285896"/>
            </a:xfrm>
          </p:grpSpPr>
          <p:sp>
            <p:nvSpPr>
              <p:cNvPr id="263" name="Rektangel 262">
                <a:extLst>
                  <a:ext uri="{FF2B5EF4-FFF2-40B4-BE49-F238E27FC236}">
                    <a16:creationId xmlns:a16="http://schemas.microsoft.com/office/drawing/2014/main" id="{44D94932-69CE-4E1A-88DD-1315638D93B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4" name="Lige forbindelse 263">
                <a:extLst>
                  <a:ext uri="{FF2B5EF4-FFF2-40B4-BE49-F238E27FC236}">
                    <a16:creationId xmlns:a16="http://schemas.microsoft.com/office/drawing/2014/main" id="{41ECF9EE-DB08-4947-A27E-44743062AA67}"/>
                  </a:ext>
                </a:extLst>
              </p:cNvPr>
              <p:cNvCxnSpPr>
                <a:cxnSpLocks/>
                <a:stCxn id="263" idx="0"/>
                <a:endCxn id="26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5" name="Lige forbindelse 264">
                <a:extLst>
                  <a:ext uri="{FF2B5EF4-FFF2-40B4-BE49-F238E27FC236}">
                    <a16:creationId xmlns:a16="http://schemas.microsoft.com/office/drawing/2014/main" id="{1EDC328A-8E3E-46F3-8F1C-ECFD318A4293}"/>
                  </a:ext>
                </a:extLst>
              </p:cNvPr>
              <p:cNvCxnSpPr>
                <a:cxnSpLocks/>
                <a:stCxn id="263" idx="1"/>
                <a:endCxn id="26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8" name="Gruppe 57">
              <a:extLst>
                <a:ext uri="{FF2B5EF4-FFF2-40B4-BE49-F238E27FC236}">
                  <a16:creationId xmlns:a16="http://schemas.microsoft.com/office/drawing/2014/main" id="{408147F0-B603-415D-AB0F-55EE5BF9175C}"/>
                </a:ext>
              </a:extLst>
            </p:cNvPr>
            <p:cNvGrpSpPr/>
            <p:nvPr/>
          </p:nvGrpSpPr>
          <p:grpSpPr>
            <a:xfrm>
              <a:off x="4308804" y="5428729"/>
              <a:ext cx="110215" cy="202903"/>
              <a:chOff x="1758507" y="5170209"/>
              <a:chExt cx="156925" cy="285896"/>
            </a:xfrm>
          </p:grpSpPr>
          <p:sp>
            <p:nvSpPr>
              <p:cNvPr id="260" name="Rektangel 259">
                <a:extLst>
                  <a:ext uri="{FF2B5EF4-FFF2-40B4-BE49-F238E27FC236}">
                    <a16:creationId xmlns:a16="http://schemas.microsoft.com/office/drawing/2014/main" id="{F702CC43-BBBC-44E7-B673-C538BAA7C6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1" name="Lige forbindelse 260">
                <a:extLst>
                  <a:ext uri="{FF2B5EF4-FFF2-40B4-BE49-F238E27FC236}">
                    <a16:creationId xmlns:a16="http://schemas.microsoft.com/office/drawing/2014/main" id="{0E124B89-4291-496A-986C-4DD61DA7BE31}"/>
                  </a:ext>
                </a:extLst>
              </p:cNvPr>
              <p:cNvCxnSpPr>
                <a:cxnSpLocks/>
                <a:stCxn id="260" idx="0"/>
                <a:endCxn id="26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2" name="Lige forbindelse 261">
                <a:extLst>
                  <a:ext uri="{FF2B5EF4-FFF2-40B4-BE49-F238E27FC236}">
                    <a16:creationId xmlns:a16="http://schemas.microsoft.com/office/drawing/2014/main" id="{C2AB6B66-1157-441E-BE54-4A1BBAAEB5E7}"/>
                  </a:ext>
                </a:extLst>
              </p:cNvPr>
              <p:cNvCxnSpPr>
                <a:cxnSpLocks/>
                <a:stCxn id="260" idx="1"/>
                <a:endCxn id="26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9" name="Gruppe 58">
              <a:extLst>
                <a:ext uri="{FF2B5EF4-FFF2-40B4-BE49-F238E27FC236}">
                  <a16:creationId xmlns:a16="http://schemas.microsoft.com/office/drawing/2014/main" id="{A253DD68-0A97-4F52-A2D8-D2EF4D65DB9D}"/>
                </a:ext>
              </a:extLst>
            </p:cNvPr>
            <p:cNvGrpSpPr/>
            <p:nvPr/>
          </p:nvGrpSpPr>
          <p:grpSpPr>
            <a:xfrm>
              <a:off x="4499694" y="5428729"/>
              <a:ext cx="110215" cy="202903"/>
              <a:chOff x="1758507" y="5170209"/>
              <a:chExt cx="156925" cy="285896"/>
            </a:xfrm>
          </p:grpSpPr>
          <p:sp>
            <p:nvSpPr>
              <p:cNvPr id="257" name="Rektangel 256">
                <a:extLst>
                  <a:ext uri="{FF2B5EF4-FFF2-40B4-BE49-F238E27FC236}">
                    <a16:creationId xmlns:a16="http://schemas.microsoft.com/office/drawing/2014/main" id="{014FCC86-CA4B-4F6A-A89D-585FCC7937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8" name="Lige forbindelse 257">
                <a:extLst>
                  <a:ext uri="{FF2B5EF4-FFF2-40B4-BE49-F238E27FC236}">
                    <a16:creationId xmlns:a16="http://schemas.microsoft.com/office/drawing/2014/main" id="{1BE36404-A093-4B87-AD47-32678D3EF3F1}"/>
                  </a:ext>
                </a:extLst>
              </p:cNvPr>
              <p:cNvCxnSpPr>
                <a:cxnSpLocks/>
                <a:stCxn id="257" idx="0"/>
                <a:endCxn id="25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9" name="Lige forbindelse 258">
                <a:extLst>
                  <a:ext uri="{FF2B5EF4-FFF2-40B4-BE49-F238E27FC236}">
                    <a16:creationId xmlns:a16="http://schemas.microsoft.com/office/drawing/2014/main" id="{01669C7B-38B7-4674-AE48-9AF5E5240BFA}"/>
                  </a:ext>
                </a:extLst>
              </p:cNvPr>
              <p:cNvCxnSpPr>
                <a:cxnSpLocks/>
                <a:stCxn id="257" idx="1"/>
                <a:endCxn id="25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0" name="Gruppe 59">
              <a:extLst>
                <a:ext uri="{FF2B5EF4-FFF2-40B4-BE49-F238E27FC236}">
                  <a16:creationId xmlns:a16="http://schemas.microsoft.com/office/drawing/2014/main" id="{949EA370-43C0-47DC-93C2-DFFFB5C617D7}"/>
                </a:ext>
              </a:extLst>
            </p:cNvPr>
            <p:cNvGrpSpPr/>
            <p:nvPr/>
          </p:nvGrpSpPr>
          <p:grpSpPr>
            <a:xfrm>
              <a:off x="4690585" y="5428729"/>
              <a:ext cx="110215" cy="202903"/>
              <a:chOff x="1758507" y="5170209"/>
              <a:chExt cx="156925" cy="285896"/>
            </a:xfrm>
          </p:grpSpPr>
          <p:sp>
            <p:nvSpPr>
              <p:cNvPr id="254" name="Rektangel 253">
                <a:extLst>
                  <a:ext uri="{FF2B5EF4-FFF2-40B4-BE49-F238E27FC236}">
                    <a16:creationId xmlns:a16="http://schemas.microsoft.com/office/drawing/2014/main" id="{748C2C8A-A0FB-469C-A1D6-55F15F5739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5" name="Lige forbindelse 254">
                <a:extLst>
                  <a:ext uri="{FF2B5EF4-FFF2-40B4-BE49-F238E27FC236}">
                    <a16:creationId xmlns:a16="http://schemas.microsoft.com/office/drawing/2014/main" id="{261D87D5-1FB0-4C9A-AEDB-04031D648D89}"/>
                  </a:ext>
                </a:extLst>
              </p:cNvPr>
              <p:cNvCxnSpPr>
                <a:cxnSpLocks/>
                <a:stCxn id="254" idx="0"/>
                <a:endCxn id="25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6" name="Lige forbindelse 255">
                <a:extLst>
                  <a:ext uri="{FF2B5EF4-FFF2-40B4-BE49-F238E27FC236}">
                    <a16:creationId xmlns:a16="http://schemas.microsoft.com/office/drawing/2014/main" id="{7E784230-A1C3-4F8A-9293-7382FED03F13}"/>
                  </a:ext>
                </a:extLst>
              </p:cNvPr>
              <p:cNvCxnSpPr>
                <a:cxnSpLocks/>
                <a:stCxn id="254" idx="1"/>
                <a:endCxn id="25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1" name="Gruppe 60">
              <a:extLst>
                <a:ext uri="{FF2B5EF4-FFF2-40B4-BE49-F238E27FC236}">
                  <a16:creationId xmlns:a16="http://schemas.microsoft.com/office/drawing/2014/main" id="{8570B52D-BCB6-4D9E-9590-DF7379301175}"/>
                </a:ext>
              </a:extLst>
            </p:cNvPr>
            <p:cNvGrpSpPr/>
            <p:nvPr/>
          </p:nvGrpSpPr>
          <p:grpSpPr>
            <a:xfrm>
              <a:off x="4881475" y="5428729"/>
              <a:ext cx="110215" cy="202903"/>
              <a:chOff x="1758507" y="5170209"/>
              <a:chExt cx="156925" cy="285896"/>
            </a:xfrm>
          </p:grpSpPr>
          <p:sp>
            <p:nvSpPr>
              <p:cNvPr id="251" name="Rektangel 250">
                <a:extLst>
                  <a:ext uri="{FF2B5EF4-FFF2-40B4-BE49-F238E27FC236}">
                    <a16:creationId xmlns:a16="http://schemas.microsoft.com/office/drawing/2014/main" id="{7205E8A9-1570-4323-A7FA-211F7E5D3F4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2" name="Lige forbindelse 251">
                <a:extLst>
                  <a:ext uri="{FF2B5EF4-FFF2-40B4-BE49-F238E27FC236}">
                    <a16:creationId xmlns:a16="http://schemas.microsoft.com/office/drawing/2014/main" id="{39081F67-6FF9-40C8-9779-9CDA215C5AFF}"/>
                  </a:ext>
                </a:extLst>
              </p:cNvPr>
              <p:cNvCxnSpPr>
                <a:cxnSpLocks/>
                <a:stCxn id="251" idx="0"/>
                <a:endCxn id="25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3" name="Lige forbindelse 252">
                <a:extLst>
                  <a:ext uri="{FF2B5EF4-FFF2-40B4-BE49-F238E27FC236}">
                    <a16:creationId xmlns:a16="http://schemas.microsoft.com/office/drawing/2014/main" id="{E4037E75-5EE3-4B41-8A44-3561DA1F6C64}"/>
                  </a:ext>
                </a:extLst>
              </p:cNvPr>
              <p:cNvCxnSpPr>
                <a:cxnSpLocks/>
                <a:stCxn id="251" idx="1"/>
                <a:endCxn id="25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2" name="Gruppe 61">
              <a:extLst>
                <a:ext uri="{FF2B5EF4-FFF2-40B4-BE49-F238E27FC236}">
                  <a16:creationId xmlns:a16="http://schemas.microsoft.com/office/drawing/2014/main" id="{BA45D308-1B4E-47C8-BABD-CF4C7E00A4EA}"/>
                </a:ext>
              </a:extLst>
            </p:cNvPr>
            <p:cNvGrpSpPr/>
            <p:nvPr/>
          </p:nvGrpSpPr>
          <p:grpSpPr>
            <a:xfrm>
              <a:off x="5072366" y="5428729"/>
              <a:ext cx="110215" cy="202903"/>
              <a:chOff x="1758507" y="5170209"/>
              <a:chExt cx="156925" cy="285896"/>
            </a:xfrm>
          </p:grpSpPr>
          <p:sp>
            <p:nvSpPr>
              <p:cNvPr id="248" name="Rektangel 247">
                <a:extLst>
                  <a:ext uri="{FF2B5EF4-FFF2-40B4-BE49-F238E27FC236}">
                    <a16:creationId xmlns:a16="http://schemas.microsoft.com/office/drawing/2014/main" id="{2CE4E9A1-D324-4C9E-AE3F-D757F88E51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9" name="Lige forbindelse 248">
                <a:extLst>
                  <a:ext uri="{FF2B5EF4-FFF2-40B4-BE49-F238E27FC236}">
                    <a16:creationId xmlns:a16="http://schemas.microsoft.com/office/drawing/2014/main" id="{5EB45B06-87BC-470E-A072-92979FB90DC5}"/>
                  </a:ext>
                </a:extLst>
              </p:cNvPr>
              <p:cNvCxnSpPr>
                <a:cxnSpLocks/>
                <a:stCxn id="248" idx="0"/>
                <a:endCxn id="24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0" name="Lige forbindelse 249">
                <a:extLst>
                  <a:ext uri="{FF2B5EF4-FFF2-40B4-BE49-F238E27FC236}">
                    <a16:creationId xmlns:a16="http://schemas.microsoft.com/office/drawing/2014/main" id="{E4956A4D-40CE-4574-8DD2-2589B00AF601}"/>
                  </a:ext>
                </a:extLst>
              </p:cNvPr>
              <p:cNvCxnSpPr>
                <a:cxnSpLocks/>
                <a:stCxn id="248" idx="1"/>
                <a:endCxn id="24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3" name="Gruppe 62">
              <a:extLst>
                <a:ext uri="{FF2B5EF4-FFF2-40B4-BE49-F238E27FC236}">
                  <a16:creationId xmlns:a16="http://schemas.microsoft.com/office/drawing/2014/main" id="{A4E68C0A-2F7A-4FDC-9586-218ED8BE1A98}"/>
                </a:ext>
              </a:extLst>
            </p:cNvPr>
            <p:cNvGrpSpPr/>
            <p:nvPr/>
          </p:nvGrpSpPr>
          <p:grpSpPr>
            <a:xfrm>
              <a:off x="5263257" y="5428729"/>
              <a:ext cx="110215" cy="202903"/>
              <a:chOff x="1758507" y="5170209"/>
              <a:chExt cx="156925" cy="285896"/>
            </a:xfrm>
          </p:grpSpPr>
          <p:sp>
            <p:nvSpPr>
              <p:cNvPr id="245" name="Rektangel 244">
                <a:extLst>
                  <a:ext uri="{FF2B5EF4-FFF2-40B4-BE49-F238E27FC236}">
                    <a16:creationId xmlns:a16="http://schemas.microsoft.com/office/drawing/2014/main" id="{345A319C-9333-4E36-9B23-E9DC6451C24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6" name="Lige forbindelse 245">
                <a:extLst>
                  <a:ext uri="{FF2B5EF4-FFF2-40B4-BE49-F238E27FC236}">
                    <a16:creationId xmlns:a16="http://schemas.microsoft.com/office/drawing/2014/main" id="{ADAFBD09-90DB-45BE-AAB7-25F98A63B874}"/>
                  </a:ext>
                </a:extLst>
              </p:cNvPr>
              <p:cNvCxnSpPr>
                <a:cxnSpLocks/>
                <a:stCxn id="245" idx="0"/>
                <a:endCxn id="24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7" name="Lige forbindelse 246">
                <a:extLst>
                  <a:ext uri="{FF2B5EF4-FFF2-40B4-BE49-F238E27FC236}">
                    <a16:creationId xmlns:a16="http://schemas.microsoft.com/office/drawing/2014/main" id="{41A7EBF9-92B9-4471-AEF6-3893341E30A7}"/>
                  </a:ext>
                </a:extLst>
              </p:cNvPr>
              <p:cNvCxnSpPr>
                <a:cxnSpLocks/>
                <a:stCxn id="245" idx="1"/>
                <a:endCxn id="24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4" name="Gruppe 63">
              <a:extLst>
                <a:ext uri="{FF2B5EF4-FFF2-40B4-BE49-F238E27FC236}">
                  <a16:creationId xmlns:a16="http://schemas.microsoft.com/office/drawing/2014/main" id="{9AC142FE-9CFC-40FA-B9E7-01C1C42CD982}"/>
                </a:ext>
              </a:extLst>
            </p:cNvPr>
            <p:cNvGrpSpPr/>
            <p:nvPr/>
          </p:nvGrpSpPr>
          <p:grpSpPr>
            <a:xfrm>
              <a:off x="5454147" y="5428729"/>
              <a:ext cx="110215" cy="202903"/>
              <a:chOff x="1758507" y="5170209"/>
              <a:chExt cx="156925" cy="285896"/>
            </a:xfrm>
          </p:grpSpPr>
          <p:sp>
            <p:nvSpPr>
              <p:cNvPr id="242" name="Rektangel 241">
                <a:extLst>
                  <a:ext uri="{FF2B5EF4-FFF2-40B4-BE49-F238E27FC236}">
                    <a16:creationId xmlns:a16="http://schemas.microsoft.com/office/drawing/2014/main" id="{AD94D359-FD71-4423-88E3-2269115F010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3" name="Lige forbindelse 242">
                <a:extLst>
                  <a:ext uri="{FF2B5EF4-FFF2-40B4-BE49-F238E27FC236}">
                    <a16:creationId xmlns:a16="http://schemas.microsoft.com/office/drawing/2014/main" id="{94206346-9F42-48C5-9279-598ACFC9471B}"/>
                  </a:ext>
                </a:extLst>
              </p:cNvPr>
              <p:cNvCxnSpPr>
                <a:cxnSpLocks/>
                <a:stCxn id="242" idx="0"/>
                <a:endCxn id="24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4" name="Lige forbindelse 243">
                <a:extLst>
                  <a:ext uri="{FF2B5EF4-FFF2-40B4-BE49-F238E27FC236}">
                    <a16:creationId xmlns:a16="http://schemas.microsoft.com/office/drawing/2014/main" id="{864EC479-7A69-4316-A19D-F4F30FB4D41B}"/>
                  </a:ext>
                </a:extLst>
              </p:cNvPr>
              <p:cNvCxnSpPr>
                <a:cxnSpLocks/>
                <a:stCxn id="242" idx="1"/>
                <a:endCxn id="24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5" name="Gruppe 64">
              <a:extLst>
                <a:ext uri="{FF2B5EF4-FFF2-40B4-BE49-F238E27FC236}">
                  <a16:creationId xmlns:a16="http://schemas.microsoft.com/office/drawing/2014/main" id="{58003A3F-35A8-48B4-8343-08DE85D44F11}"/>
                </a:ext>
              </a:extLst>
            </p:cNvPr>
            <p:cNvGrpSpPr/>
            <p:nvPr/>
          </p:nvGrpSpPr>
          <p:grpSpPr>
            <a:xfrm>
              <a:off x="5645037" y="5428729"/>
              <a:ext cx="110215" cy="202903"/>
              <a:chOff x="1758507" y="5170209"/>
              <a:chExt cx="156925" cy="285896"/>
            </a:xfrm>
          </p:grpSpPr>
          <p:sp>
            <p:nvSpPr>
              <p:cNvPr id="239" name="Rektangel 238">
                <a:extLst>
                  <a:ext uri="{FF2B5EF4-FFF2-40B4-BE49-F238E27FC236}">
                    <a16:creationId xmlns:a16="http://schemas.microsoft.com/office/drawing/2014/main" id="{FFC01AD3-F909-4A0D-8433-CF201BD829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0" name="Lige forbindelse 239">
                <a:extLst>
                  <a:ext uri="{FF2B5EF4-FFF2-40B4-BE49-F238E27FC236}">
                    <a16:creationId xmlns:a16="http://schemas.microsoft.com/office/drawing/2014/main" id="{5DDA54AE-8860-4F29-B866-ACC9A9D88A12}"/>
                  </a:ext>
                </a:extLst>
              </p:cNvPr>
              <p:cNvCxnSpPr>
                <a:cxnSpLocks/>
                <a:stCxn id="239" idx="0"/>
                <a:endCxn id="23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1" name="Lige forbindelse 240">
                <a:extLst>
                  <a:ext uri="{FF2B5EF4-FFF2-40B4-BE49-F238E27FC236}">
                    <a16:creationId xmlns:a16="http://schemas.microsoft.com/office/drawing/2014/main" id="{92FFC034-AAB3-4F48-A512-DD557891944F}"/>
                  </a:ext>
                </a:extLst>
              </p:cNvPr>
              <p:cNvCxnSpPr>
                <a:cxnSpLocks/>
                <a:stCxn id="239" idx="1"/>
                <a:endCxn id="23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6" name="Gruppe 65">
              <a:extLst>
                <a:ext uri="{FF2B5EF4-FFF2-40B4-BE49-F238E27FC236}">
                  <a16:creationId xmlns:a16="http://schemas.microsoft.com/office/drawing/2014/main" id="{548D451D-47B8-4F4F-9321-85671EB81E99}"/>
                </a:ext>
              </a:extLst>
            </p:cNvPr>
            <p:cNvGrpSpPr/>
            <p:nvPr/>
          </p:nvGrpSpPr>
          <p:grpSpPr>
            <a:xfrm>
              <a:off x="5835932" y="5428729"/>
              <a:ext cx="110215" cy="202903"/>
              <a:chOff x="1758507" y="5170209"/>
              <a:chExt cx="156925" cy="285896"/>
            </a:xfrm>
          </p:grpSpPr>
          <p:sp>
            <p:nvSpPr>
              <p:cNvPr id="236" name="Rektangel 235">
                <a:extLst>
                  <a:ext uri="{FF2B5EF4-FFF2-40B4-BE49-F238E27FC236}">
                    <a16:creationId xmlns:a16="http://schemas.microsoft.com/office/drawing/2014/main" id="{848D2872-24CF-4B26-87D4-511FA38B48E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7" name="Lige forbindelse 236">
                <a:extLst>
                  <a:ext uri="{FF2B5EF4-FFF2-40B4-BE49-F238E27FC236}">
                    <a16:creationId xmlns:a16="http://schemas.microsoft.com/office/drawing/2014/main" id="{AC52277D-A432-4CB7-99E9-F060D60E7D15}"/>
                  </a:ext>
                </a:extLst>
              </p:cNvPr>
              <p:cNvCxnSpPr>
                <a:cxnSpLocks/>
                <a:stCxn id="236" idx="0"/>
                <a:endCxn id="23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8" name="Lige forbindelse 237">
                <a:extLst>
                  <a:ext uri="{FF2B5EF4-FFF2-40B4-BE49-F238E27FC236}">
                    <a16:creationId xmlns:a16="http://schemas.microsoft.com/office/drawing/2014/main" id="{0B5F142C-CA63-412B-8F9A-151B278C3220}"/>
                  </a:ext>
                </a:extLst>
              </p:cNvPr>
              <p:cNvCxnSpPr>
                <a:cxnSpLocks/>
                <a:stCxn id="236" idx="1"/>
                <a:endCxn id="23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7" name="Gruppe 66">
              <a:extLst>
                <a:ext uri="{FF2B5EF4-FFF2-40B4-BE49-F238E27FC236}">
                  <a16:creationId xmlns:a16="http://schemas.microsoft.com/office/drawing/2014/main" id="{6B7E7A60-CAA1-4A33-AC4E-F28B59E6B980}"/>
                </a:ext>
              </a:extLst>
            </p:cNvPr>
            <p:cNvGrpSpPr/>
            <p:nvPr/>
          </p:nvGrpSpPr>
          <p:grpSpPr>
            <a:xfrm>
              <a:off x="1827227" y="5698878"/>
              <a:ext cx="110215" cy="202903"/>
              <a:chOff x="1758507" y="5170209"/>
              <a:chExt cx="156925" cy="285896"/>
            </a:xfrm>
          </p:grpSpPr>
          <p:sp>
            <p:nvSpPr>
              <p:cNvPr id="233" name="Rektangel 232">
                <a:extLst>
                  <a:ext uri="{FF2B5EF4-FFF2-40B4-BE49-F238E27FC236}">
                    <a16:creationId xmlns:a16="http://schemas.microsoft.com/office/drawing/2014/main" id="{520885DB-8674-4EEC-987E-0CE1B420985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4" name="Lige forbindelse 233">
                <a:extLst>
                  <a:ext uri="{FF2B5EF4-FFF2-40B4-BE49-F238E27FC236}">
                    <a16:creationId xmlns:a16="http://schemas.microsoft.com/office/drawing/2014/main" id="{A7F83B17-E4DB-4C57-9AEE-A76AEF37F1B6}"/>
                  </a:ext>
                </a:extLst>
              </p:cNvPr>
              <p:cNvCxnSpPr>
                <a:cxnSpLocks/>
                <a:stCxn id="233" idx="0"/>
                <a:endCxn id="23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5" name="Lige forbindelse 234">
                <a:extLst>
                  <a:ext uri="{FF2B5EF4-FFF2-40B4-BE49-F238E27FC236}">
                    <a16:creationId xmlns:a16="http://schemas.microsoft.com/office/drawing/2014/main" id="{949D4EC0-A1C5-4801-82A0-CBE44E561EB3}"/>
                  </a:ext>
                </a:extLst>
              </p:cNvPr>
              <p:cNvCxnSpPr>
                <a:cxnSpLocks/>
                <a:stCxn id="233" idx="1"/>
                <a:endCxn id="23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8" name="Gruppe 67">
              <a:extLst>
                <a:ext uri="{FF2B5EF4-FFF2-40B4-BE49-F238E27FC236}">
                  <a16:creationId xmlns:a16="http://schemas.microsoft.com/office/drawing/2014/main" id="{25926869-98BA-431E-987C-20E545763F0F}"/>
                </a:ext>
              </a:extLst>
            </p:cNvPr>
            <p:cNvGrpSpPr/>
            <p:nvPr/>
          </p:nvGrpSpPr>
          <p:grpSpPr>
            <a:xfrm>
              <a:off x="2018117" y="5698878"/>
              <a:ext cx="110215" cy="202903"/>
              <a:chOff x="1758507" y="5170209"/>
              <a:chExt cx="156925" cy="285896"/>
            </a:xfrm>
          </p:grpSpPr>
          <p:sp>
            <p:nvSpPr>
              <p:cNvPr id="230" name="Rektangel 229">
                <a:extLst>
                  <a:ext uri="{FF2B5EF4-FFF2-40B4-BE49-F238E27FC236}">
                    <a16:creationId xmlns:a16="http://schemas.microsoft.com/office/drawing/2014/main" id="{F8F41CD7-7D2D-41C8-8479-4D93ED3C51B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1" name="Lige forbindelse 230">
                <a:extLst>
                  <a:ext uri="{FF2B5EF4-FFF2-40B4-BE49-F238E27FC236}">
                    <a16:creationId xmlns:a16="http://schemas.microsoft.com/office/drawing/2014/main" id="{B2E49C0A-B36C-4C71-AEB4-B48F33E19F21}"/>
                  </a:ext>
                </a:extLst>
              </p:cNvPr>
              <p:cNvCxnSpPr>
                <a:cxnSpLocks/>
                <a:stCxn id="230" idx="0"/>
                <a:endCxn id="23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2" name="Lige forbindelse 231">
                <a:extLst>
                  <a:ext uri="{FF2B5EF4-FFF2-40B4-BE49-F238E27FC236}">
                    <a16:creationId xmlns:a16="http://schemas.microsoft.com/office/drawing/2014/main" id="{6F74CC4C-9BC7-486B-8232-BC4861E2338B}"/>
                  </a:ext>
                </a:extLst>
              </p:cNvPr>
              <p:cNvCxnSpPr>
                <a:cxnSpLocks/>
                <a:stCxn id="230" idx="1"/>
                <a:endCxn id="23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9" name="Gruppe 68">
              <a:extLst>
                <a:ext uri="{FF2B5EF4-FFF2-40B4-BE49-F238E27FC236}">
                  <a16:creationId xmlns:a16="http://schemas.microsoft.com/office/drawing/2014/main" id="{5C558299-98CC-43BD-8A9C-9896693852C7}"/>
                </a:ext>
              </a:extLst>
            </p:cNvPr>
            <p:cNvGrpSpPr/>
            <p:nvPr/>
          </p:nvGrpSpPr>
          <p:grpSpPr>
            <a:xfrm>
              <a:off x="2209008" y="5698878"/>
              <a:ext cx="110215" cy="202903"/>
              <a:chOff x="1758507" y="5170209"/>
              <a:chExt cx="156925" cy="285896"/>
            </a:xfrm>
          </p:grpSpPr>
          <p:sp>
            <p:nvSpPr>
              <p:cNvPr id="227" name="Rektangel 226">
                <a:extLst>
                  <a:ext uri="{FF2B5EF4-FFF2-40B4-BE49-F238E27FC236}">
                    <a16:creationId xmlns:a16="http://schemas.microsoft.com/office/drawing/2014/main" id="{4DB948B8-A056-4DC4-A5FB-309634CC8B2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8" name="Lige forbindelse 227">
                <a:extLst>
                  <a:ext uri="{FF2B5EF4-FFF2-40B4-BE49-F238E27FC236}">
                    <a16:creationId xmlns:a16="http://schemas.microsoft.com/office/drawing/2014/main" id="{E72309AB-7D46-42E9-A172-B38199B43AA6}"/>
                  </a:ext>
                </a:extLst>
              </p:cNvPr>
              <p:cNvCxnSpPr>
                <a:cxnSpLocks/>
                <a:stCxn id="227" idx="0"/>
                <a:endCxn id="22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9" name="Lige forbindelse 228">
                <a:extLst>
                  <a:ext uri="{FF2B5EF4-FFF2-40B4-BE49-F238E27FC236}">
                    <a16:creationId xmlns:a16="http://schemas.microsoft.com/office/drawing/2014/main" id="{39CC01BB-A581-4135-B621-ECBDCFC005E2}"/>
                  </a:ext>
                </a:extLst>
              </p:cNvPr>
              <p:cNvCxnSpPr>
                <a:cxnSpLocks/>
                <a:stCxn id="227" idx="1"/>
                <a:endCxn id="22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0" name="Gruppe 69">
              <a:extLst>
                <a:ext uri="{FF2B5EF4-FFF2-40B4-BE49-F238E27FC236}">
                  <a16:creationId xmlns:a16="http://schemas.microsoft.com/office/drawing/2014/main" id="{79412398-57CE-469D-B84A-188680BBE108}"/>
                </a:ext>
              </a:extLst>
            </p:cNvPr>
            <p:cNvGrpSpPr/>
            <p:nvPr/>
          </p:nvGrpSpPr>
          <p:grpSpPr>
            <a:xfrm>
              <a:off x="2399898" y="5698878"/>
              <a:ext cx="110215" cy="202903"/>
              <a:chOff x="1758507" y="5170209"/>
              <a:chExt cx="156925" cy="285896"/>
            </a:xfrm>
          </p:grpSpPr>
          <p:sp>
            <p:nvSpPr>
              <p:cNvPr id="224" name="Rektangel 223">
                <a:extLst>
                  <a:ext uri="{FF2B5EF4-FFF2-40B4-BE49-F238E27FC236}">
                    <a16:creationId xmlns:a16="http://schemas.microsoft.com/office/drawing/2014/main" id="{309443EA-C0B4-4123-9EEA-8B2ED976E92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5" name="Lige forbindelse 224">
                <a:extLst>
                  <a:ext uri="{FF2B5EF4-FFF2-40B4-BE49-F238E27FC236}">
                    <a16:creationId xmlns:a16="http://schemas.microsoft.com/office/drawing/2014/main" id="{19890AEB-0739-4024-85CC-4A19D52E7D7F}"/>
                  </a:ext>
                </a:extLst>
              </p:cNvPr>
              <p:cNvCxnSpPr>
                <a:cxnSpLocks/>
                <a:stCxn id="224" idx="0"/>
                <a:endCxn id="22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6" name="Lige forbindelse 225">
                <a:extLst>
                  <a:ext uri="{FF2B5EF4-FFF2-40B4-BE49-F238E27FC236}">
                    <a16:creationId xmlns:a16="http://schemas.microsoft.com/office/drawing/2014/main" id="{8D3B93F0-732B-4222-A3C3-294891B6FCCD}"/>
                  </a:ext>
                </a:extLst>
              </p:cNvPr>
              <p:cNvCxnSpPr>
                <a:cxnSpLocks/>
                <a:stCxn id="224" idx="1"/>
                <a:endCxn id="22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1" name="Gruppe 70">
              <a:extLst>
                <a:ext uri="{FF2B5EF4-FFF2-40B4-BE49-F238E27FC236}">
                  <a16:creationId xmlns:a16="http://schemas.microsoft.com/office/drawing/2014/main" id="{DE7AF65A-3BC3-4EC6-931C-B0266189F3FF}"/>
                </a:ext>
              </a:extLst>
            </p:cNvPr>
            <p:cNvGrpSpPr/>
            <p:nvPr/>
          </p:nvGrpSpPr>
          <p:grpSpPr>
            <a:xfrm>
              <a:off x="2590789" y="5698878"/>
              <a:ext cx="110215" cy="202903"/>
              <a:chOff x="1758507" y="5170209"/>
              <a:chExt cx="156925" cy="285896"/>
            </a:xfrm>
          </p:grpSpPr>
          <p:sp>
            <p:nvSpPr>
              <p:cNvPr id="221" name="Rektangel 220">
                <a:extLst>
                  <a:ext uri="{FF2B5EF4-FFF2-40B4-BE49-F238E27FC236}">
                    <a16:creationId xmlns:a16="http://schemas.microsoft.com/office/drawing/2014/main" id="{10580FAA-4526-479F-988C-204E105A95D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2" name="Lige forbindelse 221">
                <a:extLst>
                  <a:ext uri="{FF2B5EF4-FFF2-40B4-BE49-F238E27FC236}">
                    <a16:creationId xmlns:a16="http://schemas.microsoft.com/office/drawing/2014/main" id="{6AE6BE58-F489-4036-B675-3D263E45B0D9}"/>
                  </a:ext>
                </a:extLst>
              </p:cNvPr>
              <p:cNvCxnSpPr>
                <a:cxnSpLocks/>
                <a:stCxn id="221" idx="0"/>
                <a:endCxn id="22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3" name="Lige forbindelse 222">
                <a:extLst>
                  <a:ext uri="{FF2B5EF4-FFF2-40B4-BE49-F238E27FC236}">
                    <a16:creationId xmlns:a16="http://schemas.microsoft.com/office/drawing/2014/main" id="{9A6C6B0D-4262-4F06-AD5B-22CAE485CBAC}"/>
                  </a:ext>
                </a:extLst>
              </p:cNvPr>
              <p:cNvCxnSpPr>
                <a:cxnSpLocks/>
                <a:stCxn id="221" idx="1"/>
                <a:endCxn id="22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2" name="Gruppe 71">
              <a:extLst>
                <a:ext uri="{FF2B5EF4-FFF2-40B4-BE49-F238E27FC236}">
                  <a16:creationId xmlns:a16="http://schemas.microsoft.com/office/drawing/2014/main" id="{CEDA5E5E-9182-451C-BCBE-3D8B4E967AA5}"/>
                </a:ext>
              </a:extLst>
            </p:cNvPr>
            <p:cNvGrpSpPr/>
            <p:nvPr/>
          </p:nvGrpSpPr>
          <p:grpSpPr>
            <a:xfrm>
              <a:off x="2781680" y="5698878"/>
              <a:ext cx="110215" cy="202903"/>
              <a:chOff x="1758507" y="5170209"/>
              <a:chExt cx="156925" cy="285896"/>
            </a:xfrm>
          </p:grpSpPr>
          <p:sp>
            <p:nvSpPr>
              <p:cNvPr id="218" name="Rektangel 217">
                <a:extLst>
                  <a:ext uri="{FF2B5EF4-FFF2-40B4-BE49-F238E27FC236}">
                    <a16:creationId xmlns:a16="http://schemas.microsoft.com/office/drawing/2014/main" id="{9739ACA7-4F05-4978-A2A0-9850F7E676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9" name="Lige forbindelse 218">
                <a:extLst>
                  <a:ext uri="{FF2B5EF4-FFF2-40B4-BE49-F238E27FC236}">
                    <a16:creationId xmlns:a16="http://schemas.microsoft.com/office/drawing/2014/main" id="{B550D343-8C90-4E41-8929-7B8C925EC9E7}"/>
                  </a:ext>
                </a:extLst>
              </p:cNvPr>
              <p:cNvCxnSpPr>
                <a:cxnSpLocks/>
                <a:stCxn id="218" idx="0"/>
                <a:endCxn id="21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0" name="Lige forbindelse 219">
                <a:extLst>
                  <a:ext uri="{FF2B5EF4-FFF2-40B4-BE49-F238E27FC236}">
                    <a16:creationId xmlns:a16="http://schemas.microsoft.com/office/drawing/2014/main" id="{64E25249-4F1D-4E96-9E7D-69E11836C448}"/>
                  </a:ext>
                </a:extLst>
              </p:cNvPr>
              <p:cNvCxnSpPr>
                <a:cxnSpLocks/>
                <a:stCxn id="218" idx="1"/>
                <a:endCxn id="21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73" name="Rektangel 72">
              <a:extLst>
                <a:ext uri="{FF2B5EF4-FFF2-40B4-BE49-F238E27FC236}">
                  <a16:creationId xmlns:a16="http://schemas.microsoft.com/office/drawing/2014/main" id="{0B2E2B22-17B5-481D-9BF8-3F6422144569}"/>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74" name="Lige forbindelse 73">
              <a:extLst>
                <a:ext uri="{FF2B5EF4-FFF2-40B4-BE49-F238E27FC236}">
                  <a16:creationId xmlns:a16="http://schemas.microsoft.com/office/drawing/2014/main" id="{CBF87E4A-ABFE-42F3-BE41-6FEA17704D6E}"/>
                </a:ext>
              </a:extLst>
            </p:cNvPr>
            <p:cNvCxnSpPr>
              <a:cxnSpLocks/>
              <a:stCxn id="73" idx="0"/>
              <a:endCxn id="73"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75" name="Lige forbindelse 74">
              <a:extLst>
                <a:ext uri="{FF2B5EF4-FFF2-40B4-BE49-F238E27FC236}">
                  <a16:creationId xmlns:a16="http://schemas.microsoft.com/office/drawing/2014/main" id="{C903F28F-2203-438E-A996-0358E1DD5B06}"/>
                </a:ext>
              </a:extLst>
            </p:cNvPr>
            <p:cNvCxnSpPr>
              <a:cxnSpLocks/>
              <a:stCxn id="73" idx="1"/>
              <a:endCxn id="73"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76" name="Gruppe 75">
              <a:extLst>
                <a:ext uri="{FF2B5EF4-FFF2-40B4-BE49-F238E27FC236}">
                  <a16:creationId xmlns:a16="http://schemas.microsoft.com/office/drawing/2014/main" id="{9E6BA7C0-626D-48F3-A8B1-64DF0D6C52E5}"/>
                </a:ext>
              </a:extLst>
            </p:cNvPr>
            <p:cNvGrpSpPr/>
            <p:nvPr/>
          </p:nvGrpSpPr>
          <p:grpSpPr>
            <a:xfrm>
              <a:off x="4690585" y="5698878"/>
              <a:ext cx="110215" cy="202903"/>
              <a:chOff x="1758507" y="5170209"/>
              <a:chExt cx="156925" cy="285896"/>
            </a:xfrm>
          </p:grpSpPr>
          <p:sp>
            <p:nvSpPr>
              <p:cNvPr id="215" name="Rektangel 214">
                <a:extLst>
                  <a:ext uri="{FF2B5EF4-FFF2-40B4-BE49-F238E27FC236}">
                    <a16:creationId xmlns:a16="http://schemas.microsoft.com/office/drawing/2014/main" id="{20C6301B-7336-436C-B033-7D10BAE60C2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6" name="Lige forbindelse 215">
                <a:extLst>
                  <a:ext uri="{FF2B5EF4-FFF2-40B4-BE49-F238E27FC236}">
                    <a16:creationId xmlns:a16="http://schemas.microsoft.com/office/drawing/2014/main" id="{F1266211-A620-4E99-B957-EF4133756C75}"/>
                  </a:ext>
                </a:extLst>
              </p:cNvPr>
              <p:cNvCxnSpPr>
                <a:cxnSpLocks/>
                <a:stCxn id="215" idx="0"/>
                <a:endCxn id="21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7" name="Lige forbindelse 216">
                <a:extLst>
                  <a:ext uri="{FF2B5EF4-FFF2-40B4-BE49-F238E27FC236}">
                    <a16:creationId xmlns:a16="http://schemas.microsoft.com/office/drawing/2014/main" id="{956AFA8F-6FB6-4A4D-8842-A075D68611D1}"/>
                  </a:ext>
                </a:extLst>
              </p:cNvPr>
              <p:cNvCxnSpPr>
                <a:cxnSpLocks/>
                <a:stCxn id="215" idx="1"/>
                <a:endCxn id="21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7" name="Gruppe 76">
              <a:extLst>
                <a:ext uri="{FF2B5EF4-FFF2-40B4-BE49-F238E27FC236}">
                  <a16:creationId xmlns:a16="http://schemas.microsoft.com/office/drawing/2014/main" id="{E7D7446E-7491-4E23-B13E-FB13EDBB74C5}"/>
                </a:ext>
              </a:extLst>
            </p:cNvPr>
            <p:cNvGrpSpPr/>
            <p:nvPr/>
          </p:nvGrpSpPr>
          <p:grpSpPr>
            <a:xfrm>
              <a:off x="4881475" y="5698878"/>
              <a:ext cx="110215" cy="202903"/>
              <a:chOff x="1758507" y="5170209"/>
              <a:chExt cx="156925" cy="285896"/>
            </a:xfrm>
          </p:grpSpPr>
          <p:sp>
            <p:nvSpPr>
              <p:cNvPr id="212" name="Rektangel 211">
                <a:extLst>
                  <a:ext uri="{FF2B5EF4-FFF2-40B4-BE49-F238E27FC236}">
                    <a16:creationId xmlns:a16="http://schemas.microsoft.com/office/drawing/2014/main" id="{D149B102-273A-46CB-9147-BD5EEDD235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3" name="Lige forbindelse 212">
                <a:extLst>
                  <a:ext uri="{FF2B5EF4-FFF2-40B4-BE49-F238E27FC236}">
                    <a16:creationId xmlns:a16="http://schemas.microsoft.com/office/drawing/2014/main" id="{22A1D108-5D15-4493-9624-123DDC202308}"/>
                  </a:ext>
                </a:extLst>
              </p:cNvPr>
              <p:cNvCxnSpPr>
                <a:cxnSpLocks/>
                <a:stCxn id="212" idx="0"/>
                <a:endCxn id="21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4" name="Lige forbindelse 213">
                <a:extLst>
                  <a:ext uri="{FF2B5EF4-FFF2-40B4-BE49-F238E27FC236}">
                    <a16:creationId xmlns:a16="http://schemas.microsoft.com/office/drawing/2014/main" id="{C5B04482-50EE-4C41-B745-588760FD8799}"/>
                  </a:ext>
                </a:extLst>
              </p:cNvPr>
              <p:cNvCxnSpPr>
                <a:cxnSpLocks/>
                <a:stCxn id="212" idx="1"/>
                <a:endCxn id="21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80" name="Rektangel 79">
              <a:extLst>
                <a:ext uri="{FF2B5EF4-FFF2-40B4-BE49-F238E27FC236}">
                  <a16:creationId xmlns:a16="http://schemas.microsoft.com/office/drawing/2014/main" id="{3872869B-0B1E-49AB-A660-2D58E2A7CF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81" name="Gruppe 80">
              <a:extLst>
                <a:ext uri="{FF2B5EF4-FFF2-40B4-BE49-F238E27FC236}">
                  <a16:creationId xmlns:a16="http://schemas.microsoft.com/office/drawing/2014/main" id="{DA0B7959-AE0E-4464-98D8-5FA5A0CD5628}"/>
                </a:ext>
              </a:extLst>
            </p:cNvPr>
            <p:cNvGrpSpPr/>
            <p:nvPr/>
          </p:nvGrpSpPr>
          <p:grpSpPr>
            <a:xfrm>
              <a:off x="2895359" y="5971178"/>
              <a:ext cx="1982809" cy="63914"/>
              <a:chOff x="1209635" y="3152432"/>
              <a:chExt cx="9240230" cy="585788"/>
            </a:xfrm>
            <a:solidFill>
              <a:srgbClr val="D5D2C5"/>
            </a:solidFill>
          </p:grpSpPr>
          <p:sp>
            <p:nvSpPr>
              <p:cNvPr id="209" name="Retvinklet trekant 208">
                <a:extLst>
                  <a:ext uri="{FF2B5EF4-FFF2-40B4-BE49-F238E27FC236}">
                    <a16:creationId xmlns:a16="http://schemas.microsoft.com/office/drawing/2014/main" id="{036034FC-F371-4901-BD28-232A3E488629}"/>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0" name="Rektangel 209">
                <a:extLst>
                  <a:ext uri="{FF2B5EF4-FFF2-40B4-BE49-F238E27FC236}">
                    <a16:creationId xmlns:a16="http://schemas.microsoft.com/office/drawing/2014/main" id="{89FB11F0-4F75-44A2-A591-332D159696D0}"/>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1" name="Retvinklet trekant 210">
                <a:extLst>
                  <a:ext uri="{FF2B5EF4-FFF2-40B4-BE49-F238E27FC236}">
                    <a16:creationId xmlns:a16="http://schemas.microsoft.com/office/drawing/2014/main" id="{D878E3E8-2F51-4692-B422-9ED26B8CD75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82" name="Rektangel 81">
              <a:extLst>
                <a:ext uri="{FF2B5EF4-FFF2-40B4-BE49-F238E27FC236}">
                  <a16:creationId xmlns:a16="http://schemas.microsoft.com/office/drawing/2014/main" id="{00237A9A-19A6-47A1-9BAF-7704BF86A794}"/>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3" name="Rektangel 82">
              <a:extLst>
                <a:ext uri="{FF2B5EF4-FFF2-40B4-BE49-F238E27FC236}">
                  <a16:creationId xmlns:a16="http://schemas.microsoft.com/office/drawing/2014/main" id="{B1F3A220-CFF5-4780-AD1A-EA0ABEA414E6}"/>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4" name="Rektangel 83">
              <a:extLst>
                <a:ext uri="{FF2B5EF4-FFF2-40B4-BE49-F238E27FC236}">
                  <a16:creationId xmlns:a16="http://schemas.microsoft.com/office/drawing/2014/main" id="{BB1BEC76-ADA3-4A0E-AD14-3240524C8E73}"/>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5" name="Rektangel 84">
              <a:extLst>
                <a:ext uri="{FF2B5EF4-FFF2-40B4-BE49-F238E27FC236}">
                  <a16:creationId xmlns:a16="http://schemas.microsoft.com/office/drawing/2014/main" id="{F7D454BA-DA6A-4A91-B37D-E8E5E8AD030B}"/>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6" name="Rektangel 85">
              <a:extLst>
                <a:ext uri="{FF2B5EF4-FFF2-40B4-BE49-F238E27FC236}">
                  <a16:creationId xmlns:a16="http://schemas.microsoft.com/office/drawing/2014/main" id="{3902FF6F-B417-4D9A-8121-FBC7EDF2D97C}"/>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7" name="Rektangel 86">
              <a:extLst>
                <a:ext uri="{FF2B5EF4-FFF2-40B4-BE49-F238E27FC236}">
                  <a16:creationId xmlns:a16="http://schemas.microsoft.com/office/drawing/2014/main" id="{75E7B848-F53F-4B95-A260-BA58FF3D76F2}"/>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88" name="Lige forbindelse 87">
              <a:extLst>
                <a:ext uri="{FF2B5EF4-FFF2-40B4-BE49-F238E27FC236}">
                  <a16:creationId xmlns:a16="http://schemas.microsoft.com/office/drawing/2014/main" id="{3E484C43-02F7-40DE-B331-2D1050608A0F}"/>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89" name="Lige forbindelse 88">
              <a:extLst>
                <a:ext uri="{FF2B5EF4-FFF2-40B4-BE49-F238E27FC236}">
                  <a16:creationId xmlns:a16="http://schemas.microsoft.com/office/drawing/2014/main" id="{A5C62528-B7B2-4C08-B0B6-65DDC4159FF8}"/>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0" name="Lige forbindelse 89">
              <a:extLst>
                <a:ext uri="{FF2B5EF4-FFF2-40B4-BE49-F238E27FC236}">
                  <a16:creationId xmlns:a16="http://schemas.microsoft.com/office/drawing/2014/main" id="{A2864983-1F34-4086-AE99-1625555D2FC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1" name="Lige forbindelse 90">
              <a:extLst>
                <a:ext uri="{FF2B5EF4-FFF2-40B4-BE49-F238E27FC236}">
                  <a16:creationId xmlns:a16="http://schemas.microsoft.com/office/drawing/2014/main" id="{67123DCF-EB9F-47AE-BC69-0C3040B82562}"/>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2" name="Lige forbindelse 91">
              <a:extLst>
                <a:ext uri="{FF2B5EF4-FFF2-40B4-BE49-F238E27FC236}">
                  <a16:creationId xmlns:a16="http://schemas.microsoft.com/office/drawing/2014/main" id="{068379CF-7907-4333-AC74-C742365759D3}"/>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3" name="Lige forbindelse 92">
              <a:extLst>
                <a:ext uri="{FF2B5EF4-FFF2-40B4-BE49-F238E27FC236}">
                  <a16:creationId xmlns:a16="http://schemas.microsoft.com/office/drawing/2014/main" id="{5545A3DB-8F82-4680-AC64-CEBC2A118E88}"/>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94" name="Rektangel 93">
              <a:extLst>
                <a:ext uri="{FF2B5EF4-FFF2-40B4-BE49-F238E27FC236}">
                  <a16:creationId xmlns:a16="http://schemas.microsoft.com/office/drawing/2014/main" id="{8E317866-F936-48F8-A960-85514C5D63C9}"/>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5" name="Rektangel 94">
              <a:extLst>
                <a:ext uri="{FF2B5EF4-FFF2-40B4-BE49-F238E27FC236}">
                  <a16:creationId xmlns:a16="http://schemas.microsoft.com/office/drawing/2014/main" id="{7F750902-5C86-429A-8D4D-89879B7F46D3}"/>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6" name="Rektangel 95">
              <a:extLst>
                <a:ext uri="{FF2B5EF4-FFF2-40B4-BE49-F238E27FC236}">
                  <a16:creationId xmlns:a16="http://schemas.microsoft.com/office/drawing/2014/main" id="{68515BE6-412F-4A5F-87D3-727BED81E359}"/>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7" name="Rektangel 96">
              <a:extLst>
                <a:ext uri="{FF2B5EF4-FFF2-40B4-BE49-F238E27FC236}">
                  <a16:creationId xmlns:a16="http://schemas.microsoft.com/office/drawing/2014/main" id="{F88C5883-19F4-4B3A-9497-D1A3BA2723FE}"/>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8" name="Rektangel 97">
              <a:extLst>
                <a:ext uri="{FF2B5EF4-FFF2-40B4-BE49-F238E27FC236}">
                  <a16:creationId xmlns:a16="http://schemas.microsoft.com/office/drawing/2014/main" id="{F42E0502-98DB-4729-B3E4-3F0CFE41554E}"/>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 name="Rektangel 98">
              <a:extLst>
                <a:ext uri="{FF2B5EF4-FFF2-40B4-BE49-F238E27FC236}">
                  <a16:creationId xmlns:a16="http://schemas.microsoft.com/office/drawing/2014/main" id="{B6269E00-F7E5-4A54-B224-1FE4DC6AFA99}"/>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 name="Rektangel 99">
              <a:extLst>
                <a:ext uri="{FF2B5EF4-FFF2-40B4-BE49-F238E27FC236}">
                  <a16:creationId xmlns:a16="http://schemas.microsoft.com/office/drawing/2014/main" id="{E1D22BC0-5624-45A6-99E5-D2C7A347507B}"/>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 name="Rektangel 100">
              <a:extLst>
                <a:ext uri="{FF2B5EF4-FFF2-40B4-BE49-F238E27FC236}">
                  <a16:creationId xmlns:a16="http://schemas.microsoft.com/office/drawing/2014/main" id="{CC9A17F8-3C2F-4675-ACC3-2C6EC842BBDA}"/>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 name="Rektangel 101">
              <a:extLst>
                <a:ext uri="{FF2B5EF4-FFF2-40B4-BE49-F238E27FC236}">
                  <a16:creationId xmlns:a16="http://schemas.microsoft.com/office/drawing/2014/main" id="{BE903F92-0FBC-477C-880C-BE799DB34C0B}"/>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 name="Rektangel 102">
              <a:extLst>
                <a:ext uri="{FF2B5EF4-FFF2-40B4-BE49-F238E27FC236}">
                  <a16:creationId xmlns:a16="http://schemas.microsoft.com/office/drawing/2014/main" id="{098B225E-2147-4561-9455-F07A5DCAD454}"/>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 name="Rektangel 103">
              <a:extLst>
                <a:ext uri="{FF2B5EF4-FFF2-40B4-BE49-F238E27FC236}">
                  <a16:creationId xmlns:a16="http://schemas.microsoft.com/office/drawing/2014/main" id="{0408BD35-2591-4100-8D5F-5146CFEFC0B5}"/>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 name="Rektangel 104">
              <a:extLst>
                <a:ext uri="{FF2B5EF4-FFF2-40B4-BE49-F238E27FC236}">
                  <a16:creationId xmlns:a16="http://schemas.microsoft.com/office/drawing/2014/main" id="{1C276A9F-09C1-46F3-BF17-A64489A2B6C6}"/>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 name="Rektangel 105">
              <a:extLst>
                <a:ext uri="{FF2B5EF4-FFF2-40B4-BE49-F238E27FC236}">
                  <a16:creationId xmlns:a16="http://schemas.microsoft.com/office/drawing/2014/main" id="{C107F72B-CB0B-432C-89BD-564CB58D8B10}"/>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 name="Gruppe 106">
              <a:extLst>
                <a:ext uri="{FF2B5EF4-FFF2-40B4-BE49-F238E27FC236}">
                  <a16:creationId xmlns:a16="http://schemas.microsoft.com/office/drawing/2014/main" id="{E68D58C2-5BDF-4A2E-B028-AF3000FA2E9B}"/>
                </a:ext>
              </a:extLst>
            </p:cNvPr>
            <p:cNvGrpSpPr/>
            <p:nvPr/>
          </p:nvGrpSpPr>
          <p:grpSpPr>
            <a:xfrm>
              <a:off x="3076887" y="5908189"/>
              <a:ext cx="1620672" cy="63914"/>
              <a:chOff x="1209635" y="3152432"/>
              <a:chExt cx="9240230" cy="585788"/>
            </a:xfrm>
            <a:solidFill>
              <a:srgbClr val="C3C0B1"/>
            </a:solidFill>
          </p:grpSpPr>
          <p:sp>
            <p:nvSpPr>
              <p:cNvPr id="206" name="Retvinklet trekant 205">
                <a:extLst>
                  <a:ext uri="{FF2B5EF4-FFF2-40B4-BE49-F238E27FC236}">
                    <a16:creationId xmlns:a16="http://schemas.microsoft.com/office/drawing/2014/main" id="{36896126-6DB5-4D1D-8CB7-498615DD05AF}"/>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7" name="Rektangel 206">
                <a:extLst>
                  <a:ext uri="{FF2B5EF4-FFF2-40B4-BE49-F238E27FC236}">
                    <a16:creationId xmlns:a16="http://schemas.microsoft.com/office/drawing/2014/main" id="{C7EF0B0D-6615-4F98-B3C2-6F789A79D76C}"/>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8" name="Retvinklet trekant 207">
                <a:extLst>
                  <a:ext uri="{FF2B5EF4-FFF2-40B4-BE49-F238E27FC236}">
                    <a16:creationId xmlns:a16="http://schemas.microsoft.com/office/drawing/2014/main" id="{3F53A30D-9ED1-4CC5-AACB-1FC22C54FEA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8" name="Rektangel 107">
              <a:extLst>
                <a:ext uri="{FF2B5EF4-FFF2-40B4-BE49-F238E27FC236}">
                  <a16:creationId xmlns:a16="http://schemas.microsoft.com/office/drawing/2014/main" id="{4CDB21AE-4CB9-4521-9D1B-28EE8F3BEAF8}"/>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 name="Parallelogram 108">
              <a:extLst>
                <a:ext uri="{FF2B5EF4-FFF2-40B4-BE49-F238E27FC236}">
                  <a16:creationId xmlns:a16="http://schemas.microsoft.com/office/drawing/2014/main" id="{71E9FA46-B5AD-49C0-B724-6BFBE2B343A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 name="Parallelogram 109">
              <a:extLst>
                <a:ext uri="{FF2B5EF4-FFF2-40B4-BE49-F238E27FC236}">
                  <a16:creationId xmlns:a16="http://schemas.microsoft.com/office/drawing/2014/main" id="{CD40062A-7623-45B0-83C0-0E4C27D5E39D}"/>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 name="Rektangel 110">
              <a:extLst>
                <a:ext uri="{FF2B5EF4-FFF2-40B4-BE49-F238E27FC236}">
                  <a16:creationId xmlns:a16="http://schemas.microsoft.com/office/drawing/2014/main" id="{23C7CFBF-12CE-42CB-B458-597DB13A9751}"/>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 name="Parallelogram 111">
              <a:extLst>
                <a:ext uri="{FF2B5EF4-FFF2-40B4-BE49-F238E27FC236}">
                  <a16:creationId xmlns:a16="http://schemas.microsoft.com/office/drawing/2014/main" id="{F891D6B5-7D9D-409F-9D3E-6006B0AF1B39}"/>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3" name="Parallelogram 112">
              <a:extLst>
                <a:ext uri="{FF2B5EF4-FFF2-40B4-BE49-F238E27FC236}">
                  <a16:creationId xmlns:a16="http://schemas.microsoft.com/office/drawing/2014/main" id="{EC5E423A-03D0-4337-B049-C406D5235482}"/>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4" name="Parallelogram 113">
              <a:extLst>
                <a:ext uri="{FF2B5EF4-FFF2-40B4-BE49-F238E27FC236}">
                  <a16:creationId xmlns:a16="http://schemas.microsoft.com/office/drawing/2014/main" id="{8288655E-616E-49E4-88AA-5A3F97B10CC2}"/>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5" name="Parallelogram 114">
              <a:extLst>
                <a:ext uri="{FF2B5EF4-FFF2-40B4-BE49-F238E27FC236}">
                  <a16:creationId xmlns:a16="http://schemas.microsoft.com/office/drawing/2014/main" id="{647B616A-25C7-4749-B1F4-236C537E8C47}"/>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6" name="Parallelogram 115">
              <a:extLst>
                <a:ext uri="{FF2B5EF4-FFF2-40B4-BE49-F238E27FC236}">
                  <a16:creationId xmlns:a16="http://schemas.microsoft.com/office/drawing/2014/main" id="{A7CDF52C-3938-4B47-AA52-6F52425EC318}"/>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 name="Parallelogram 116">
              <a:extLst>
                <a:ext uri="{FF2B5EF4-FFF2-40B4-BE49-F238E27FC236}">
                  <a16:creationId xmlns:a16="http://schemas.microsoft.com/office/drawing/2014/main" id="{AD459CB2-52C2-40D7-B43E-57485E584690}"/>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8" name="Gruppe 117">
              <a:extLst>
                <a:ext uri="{FF2B5EF4-FFF2-40B4-BE49-F238E27FC236}">
                  <a16:creationId xmlns:a16="http://schemas.microsoft.com/office/drawing/2014/main" id="{7BB5A623-3AA3-4E63-97FC-EEF2C9EDC8EC}"/>
                </a:ext>
              </a:extLst>
            </p:cNvPr>
            <p:cNvGrpSpPr/>
            <p:nvPr/>
          </p:nvGrpSpPr>
          <p:grpSpPr>
            <a:xfrm flipH="1">
              <a:off x="5838296" y="3182733"/>
              <a:ext cx="173906" cy="295709"/>
              <a:chOff x="7286243" y="2703579"/>
              <a:chExt cx="197012" cy="333123"/>
            </a:xfrm>
          </p:grpSpPr>
          <p:sp>
            <p:nvSpPr>
              <p:cNvPr id="200" name="Parallelogram 199">
                <a:extLst>
                  <a:ext uri="{FF2B5EF4-FFF2-40B4-BE49-F238E27FC236}">
                    <a16:creationId xmlns:a16="http://schemas.microsoft.com/office/drawing/2014/main" id="{868AF180-79A2-4810-A252-C38983C5229A}"/>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1" name="Parallelogram 200">
                <a:extLst>
                  <a:ext uri="{FF2B5EF4-FFF2-40B4-BE49-F238E27FC236}">
                    <a16:creationId xmlns:a16="http://schemas.microsoft.com/office/drawing/2014/main" id="{4E4925F7-BD74-42DF-B2ED-F38CC549B8B7}"/>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2" name="Parallelogram 201">
                <a:extLst>
                  <a:ext uri="{FF2B5EF4-FFF2-40B4-BE49-F238E27FC236}">
                    <a16:creationId xmlns:a16="http://schemas.microsoft.com/office/drawing/2014/main" id="{FCBB5664-023A-44F1-BDE2-CA5A0FBA5ECC}"/>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3" name="Parallelogram 202">
                <a:extLst>
                  <a:ext uri="{FF2B5EF4-FFF2-40B4-BE49-F238E27FC236}">
                    <a16:creationId xmlns:a16="http://schemas.microsoft.com/office/drawing/2014/main" id="{C8C083B6-629E-40FA-B6DA-22B8172F9F1C}"/>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Parallelogram 203">
                <a:extLst>
                  <a:ext uri="{FF2B5EF4-FFF2-40B4-BE49-F238E27FC236}">
                    <a16:creationId xmlns:a16="http://schemas.microsoft.com/office/drawing/2014/main" id="{4B2E6C51-D874-4D0B-86AC-8A5B8D2168E8}"/>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5" name="Parallelogram 204">
                <a:extLst>
                  <a:ext uri="{FF2B5EF4-FFF2-40B4-BE49-F238E27FC236}">
                    <a16:creationId xmlns:a16="http://schemas.microsoft.com/office/drawing/2014/main" id="{D0EF0891-F367-43C0-8890-065B50CF453B}"/>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9" name="Rektangel 118">
              <a:extLst>
                <a:ext uri="{FF2B5EF4-FFF2-40B4-BE49-F238E27FC236}">
                  <a16:creationId xmlns:a16="http://schemas.microsoft.com/office/drawing/2014/main" id="{602D5AD5-6B86-4DD4-A959-CF393697E92D}"/>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0" name="Rektangel 119">
              <a:extLst>
                <a:ext uri="{FF2B5EF4-FFF2-40B4-BE49-F238E27FC236}">
                  <a16:creationId xmlns:a16="http://schemas.microsoft.com/office/drawing/2014/main" id="{86324B1A-7F81-481B-833B-29CBE5092DB9}"/>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 name="Rektangel 120">
              <a:extLst>
                <a:ext uri="{FF2B5EF4-FFF2-40B4-BE49-F238E27FC236}">
                  <a16:creationId xmlns:a16="http://schemas.microsoft.com/office/drawing/2014/main" id="{113AA0AC-7786-49D9-9F63-C90A92C18ADB}"/>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 name="Rektangel 121">
              <a:extLst>
                <a:ext uri="{FF2B5EF4-FFF2-40B4-BE49-F238E27FC236}">
                  <a16:creationId xmlns:a16="http://schemas.microsoft.com/office/drawing/2014/main" id="{FF60CAE8-C253-4790-B2A3-493171A00BF8}"/>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3" name="Rektangel 122">
              <a:extLst>
                <a:ext uri="{FF2B5EF4-FFF2-40B4-BE49-F238E27FC236}">
                  <a16:creationId xmlns:a16="http://schemas.microsoft.com/office/drawing/2014/main" id="{45961BAC-03FB-4A94-960C-C118112631FB}"/>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32E98A2F-AA69-41F0-A329-A4DF6167ADAC}"/>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5" name="Rektangel 124">
              <a:extLst>
                <a:ext uri="{FF2B5EF4-FFF2-40B4-BE49-F238E27FC236}">
                  <a16:creationId xmlns:a16="http://schemas.microsoft.com/office/drawing/2014/main" id="{3DD70109-EACD-4319-8CC5-BA631E2034B8}"/>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6" name="Rektangel 125">
              <a:extLst>
                <a:ext uri="{FF2B5EF4-FFF2-40B4-BE49-F238E27FC236}">
                  <a16:creationId xmlns:a16="http://schemas.microsoft.com/office/drawing/2014/main" id="{6E681FB1-5E1A-4368-A90D-9A321E5A3DC9}"/>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 name="Rektangel 126">
              <a:extLst>
                <a:ext uri="{FF2B5EF4-FFF2-40B4-BE49-F238E27FC236}">
                  <a16:creationId xmlns:a16="http://schemas.microsoft.com/office/drawing/2014/main" id="{E8151C4F-998E-4660-A638-4E6FFF33E8BC}"/>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8" name="Rektangel 127">
              <a:extLst>
                <a:ext uri="{FF2B5EF4-FFF2-40B4-BE49-F238E27FC236}">
                  <a16:creationId xmlns:a16="http://schemas.microsoft.com/office/drawing/2014/main" id="{0929167E-B96F-4FF3-A79B-201D102AD18E}"/>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8AB8683A-3E4B-4D0C-8B24-27662454E06F}"/>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0" name="Rektangel 129">
              <a:extLst>
                <a:ext uri="{FF2B5EF4-FFF2-40B4-BE49-F238E27FC236}">
                  <a16:creationId xmlns:a16="http://schemas.microsoft.com/office/drawing/2014/main" id="{09596001-3CA5-4973-8D31-4E0331169763}"/>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1" name="Rektangel 130">
              <a:extLst>
                <a:ext uri="{FF2B5EF4-FFF2-40B4-BE49-F238E27FC236}">
                  <a16:creationId xmlns:a16="http://schemas.microsoft.com/office/drawing/2014/main" id="{422B8AA9-E809-47AE-8372-DAA3B422B5A0}"/>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4D8162BA-37CB-410D-A0D7-3F3B0E6B31C9}"/>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52B32E93-051B-4D7F-AFDC-F26584717848}"/>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29E675B3-D4F4-4A6E-B2A1-4D3A46354E05}"/>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74B50A29-2D75-42ED-8248-22F40C748C39}"/>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6" name="Rektangel 135">
              <a:extLst>
                <a:ext uri="{FF2B5EF4-FFF2-40B4-BE49-F238E27FC236}">
                  <a16:creationId xmlns:a16="http://schemas.microsoft.com/office/drawing/2014/main" id="{CDA77F4E-BFE4-47A0-95F7-F57CA848D98C}"/>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7" name="Rektangel 136">
              <a:extLst>
                <a:ext uri="{FF2B5EF4-FFF2-40B4-BE49-F238E27FC236}">
                  <a16:creationId xmlns:a16="http://schemas.microsoft.com/office/drawing/2014/main" id="{42EB7114-E2FD-4BEF-A56C-9F069AE590C2}"/>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8" name="Rektangel 137">
              <a:extLst>
                <a:ext uri="{FF2B5EF4-FFF2-40B4-BE49-F238E27FC236}">
                  <a16:creationId xmlns:a16="http://schemas.microsoft.com/office/drawing/2014/main" id="{485E27FA-874D-4920-9427-5E7980873D2F}"/>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9" name="Rektangel 138">
              <a:extLst>
                <a:ext uri="{FF2B5EF4-FFF2-40B4-BE49-F238E27FC236}">
                  <a16:creationId xmlns:a16="http://schemas.microsoft.com/office/drawing/2014/main" id="{A50BE175-1980-4A00-98C2-F3D2C2551986}"/>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0" name="Rektangel 139">
              <a:extLst>
                <a:ext uri="{FF2B5EF4-FFF2-40B4-BE49-F238E27FC236}">
                  <a16:creationId xmlns:a16="http://schemas.microsoft.com/office/drawing/2014/main" id="{57F1DEE3-7C18-4461-8071-33EAD7BE6ED6}"/>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1" name="Gruppe 140">
              <a:extLst>
                <a:ext uri="{FF2B5EF4-FFF2-40B4-BE49-F238E27FC236}">
                  <a16:creationId xmlns:a16="http://schemas.microsoft.com/office/drawing/2014/main" id="{8D2E5048-FCC3-41BB-8250-66A802451D77}"/>
                </a:ext>
              </a:extLst>
            </p:cNvPr>
            <p:cNvGrpSpPr/>
            <p:nvPr/>
          </p:nvGrpSpPr>
          <p:grpSpPr>
            <a:xfrm>
              <a:off x="5186504" y="5766771"/>
              <a:ext cx="801793" cy="53671"/>
              <a:chOff x="1209635" y="3152432"/>
              <a:chExt cx="9240230" cy="585788"/>
            </a:xfrm>
          </p:grpSpPr>
          <p:sp>
            <p:nvSpPr>
              <p:cNvPr id="197" name="Retvinklet trekant 196">
                <a:extLst>
                  <a:ext uri="{FF2B5EF4-FFF2-40B4-BE49-F238E27FC236}">
                    <a16:creationId xmlns:a16="http://schemas.microsoft.com/office/drawing/2014/main" id="{BE271E4E-4827-42F8-B2BC-6889C32CB07A}"/>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8" name="Rektangel 197">
                <a:extLst>
                  <a:ext uri="{FF2B5EF4-FFF2-40B4-BE49-F238E27FC236}">
                    <a16:creationId xmlns:a16="http://schemas.microsoft.com/office/drawing/2014/main" id="{EB6872E7-D894-4A77-BCAB-A033D0134E26}"/>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9" name="Retvinklet trekant 198">
                <a:extLst>
                  <a:ext uri="{FF2B5EF4-FFF2-40B4-BE49-F238E27FC236}">
                    <a16:creationId xmlns:a16="http://schemas.microsoft.com/office/drawing/2014/main" id="{BC0DBBC1-A76F-499C-8632-AE51F57A8589}"/>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2" name="Gruppe 141">
              <a:extLst>
                <a:ext uri="{FF2B5EF4-FFF2-40B4-BE49-F238E27FC236}">
                  <a16:creationId xmlns:a16="http://schemas.microsoft.com/office/drawing/2014/main" id="{596376F0-2D38-4EA3-ACC9-97D0FFEACC07}"/>
                </a:ext>
              </a:extLst>
            </p:cNvPr>
            <p:cNvGrpSpPr/>
            <p:nvPr/>
          </p:nvGrpSpPr>
          <p:grpSpPr>
            <a:xfrm>
              <a:off x="5835932" y="4454540"/>
              <a:ext cx="110215" cy="202903"/>
              <a:chOff x="1758507" y="5170209"/>
              <a:chExt cx="156925" cy="285896"/>
            </a:xfrm>
          </p:grpSpPr>
          <p:sp>
            <p:nvSpPr>
              <p:cNvPr id="194" name="Rektangel 193">
                <a:extLst>
                  <a:ext uri="{FF2B5EF4-FFF2-40B4-BE49-F238E27FC236}">
                    <a16:creationId xmlns:a16="http://schemas.microsoft.com/office/drawing/2014/main" id="{04EBB067-FD5A-4CE8-BAFD-6E5EDDC7B1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5" name="Lige forbindelse 194">
                <a:extLst>
                  <a:ext uri="{FF2B5EF4-FFF2-40B4-BE49-F238E27FC236}">
                    <a16:creationId xmlns:a16="http://schemas.microsoft.com/office/drawing/2014/main" id="{5858AE48-A497-4572-83FE-FDA99DE6E2C5}"/>
                  </a:ext>
                </a:extLst>
              </p:cNvPr>
              <p:cNvCxnSpPr>
                <a:cxnSpLocks/>
                <a:stCxn id="194" idx="0"/>
                <a:endCxn id="19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6" name="Lige forbindelse 195">
                <a:extLst>
                  <a:ext uri="{FF2B5EF4-FFF2-40B4-BE49-F238E27FC236}">
                    <a16:creationId xmlns:a16="http://schemas.microsoft.com/office/drawing/2014/main" id="{14F3C45F-70D1-4B43-B989-445928981992}"/>
                  </a:ext>
                </a:extLst>
              </p:cNvPr>
              <p:cNvCxnSpPr>
                <a:cxnSpLocks/>
                <a:stCxn id="194" idx="1"/>
                <a:endCxn id="19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3" name="Gruppe 142">
              <a:extLst>
                <a:ext uri="{FF2B5EF4-FFF2-40B4-BE49-F238E27FC236}">
                  <a16:creationId xmlns:a16="http://schemas.microsoft.com/office/drawing/2014/main" id="{A3448145-FF0F-4320-8956-C6D10984C338}"/>
                </a:ext>
              </a:extLst>
            </p:cNvPr>
            <p:cNvGrpSpPr/>
            <p:nvPr/>
          </p:nvGrpSpPr>
          <p:grpSpPr>
            <a:xfrm>
              <a:off x="5454147" y="3745047"/>
              <a:ext cx="110215" cy="202903"/>
              <a:chOff x="1758507" y="5170209"/>
              <a:chExt cx="156925" cy="285896"/>
            </a:xfrm>
          </p:grpSpPr>
          <p:sp>
            <p:nvSpPr>
              <p:cNvPr id="191" name="Rektangel 190">
                <a:extLst>
                  <a:ext uri="{FF2B5EF4-FFF2-40B4-BE49-F238E27FC236}">
                    <a16:creationId xmlns:a16="http://schemas.microsoft.com/office/drawing/2014/main" id="{50A65369-7247-421D-B24A-DDC3621BA94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2" name="Lige forbindelse 191">
                <a:extLst>
                  <a:ext uri="{FF2B5EF4-FFF2-40B4-BE49-F238E27FC236}">
                    <a16:creationId xmlns:a16="http://schemas.microsoft.com/office/drawing/2014/main" id="{6B49FA1A-6A2B-4DBB-8A1E-FCDB758709F6}"/>
                  </a:ext>
                </a:extLst>
              </p:cNvPr>
              <p:cNvCxnSpPr>
                <a:cxnSpLocks/>
                <a:stCxn id="191" idx="0"/>
                <a:endCxn id="19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3" name="Lige forbindelse 192">
                <a:extLst>
                  <a:ext uri="{FF2B5EF4-FFF2-40B4-BE49-F238E27FC236}">
                    <a16:creationId xmlns:a16="http://schemas.microsoft.com/office/drawing/2014/main" id="{480BD208-0EEB-4431-AF48-471A3EB42021}"/>
                  </a:ext>
                </a:extLst>
              </p:cNvPr>
              <p:cNvCxnSpPr>
                <a:cxnSpLocks/>
                <a:stCxn id="191" idx="1"/>
                <a:endCxn id="19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4" name="Gruppe 143">
              <a:extLst>
                <a:ext uri="{FF2B5EF4-FFF2-40B4-BE49-F238E27FC236}">
                  <a16:creationId xmlns:a16="http://schemas.microsoft.com/office/drawing/2014/main" id="{85177B18-5E6C-4D6F-8DA0-DBF5BB0CC26D}"/>
                </a:ext>
              </a:extLst>
            </p:cNvPr>
            <p:cNvGrpSpPr/>
            <p:nvPr/>
          </p:nvGrpSpPr>
          <p:grpSpPr>
            <a:xfrm>
              <a:off x="5369458" y="3940570"/>
              <a:ext cx="635558" cy="437035"/>
              <a:chOff x="6776638" y="3675567"/>
              <a:chExt cx="720000" cy="492329"/>
            </a:xfrm>
          </p:grpSpPr>
          <p:grpSp>
            <p:nvGrpSpPr>
              <p:cNvPr id="180" name="Gruppe 179">
                <a:extLst>
                  <a:ext uri="{FF2B5EF4-FFF2-40B4-BE49-F238E27FC236}">
                    <a16:creationId xmlns:a16="http://schemas.microsoft.com/office/drawing/2014/main" id="{C6CB4D29-5512-45AB-8AE7-54A2B24FFDAB}"/>
                  </a:ext>
                </a:extLst>
              </p:cNvPr>
              <p:cNvGrpSpPr/>
              <p:nvPr/>
            </p:nvGrpSpPr>
            <p:grpSpPr>
              <a:xfrm>
                <a:off x="7053110" y="3917891"/>
                <a:ext cx="168029" cy="213816"/>
                <a:chOff x="4852454" y="2916519"/>
                <a:chExt cx="278597" cy="366599"/>
              </a:xfrm>
            </p:grpSpPr>
            <p:sp>
              <p:nvSpPr>
                <p:cNvPr id="189" name="Rektangel 188">
                  <a:extLst>
                    <a:ext uri="{FF2B5EF4-FFF2-40B4-BE49-F238E27FC236}">
                      <a16:creationId xmlns:a16="http://schemas.microsoft.com/office/drawing/2014/main" id="{690EF926-8E4E-4C94-81BA-B39126A21538}"/>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Rektangel: afrundede hjørner 189">
                  <a:extLst>
                    <a:ext uri="{FF2B5EF4-FFF2-40B4-BE49-F238E27FC236}">
                      <a16:creationId xmlns:a16="http://schemas.microsoft.com/office/drawing/2014/main" id="{1C76BCB5-DD3C-48FD-81DC-501F4BA3F9A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1" name="Rektangel 180">
                <a:extLst>
                  <a:ext uri="{FF2B5EF4-FFF2-40B4-BE49-F238E27FC236}">
                    <a16:creationId xmlns:a16="http://schemas.microsoft.com/office/drawing/2014/main" id="{0483E261-BDD8-44FB-939D-BDD77A12A50C}"/>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2" name="Rektangel 181">
                <a:extLst>
                  <a:ext uri="{FF2B5EF4-FFF2-40B4-BE49-F238E27FC236}">
                    <a16:creationId xmlns:a16="http://schemas.microsoft.com/office/drawing/2014/main" id="{B7AB85DD-0B94-4719-B8E1-FF84C9725650}"/>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3" name="Rektangel 182">
                <a:extLst>
                  <a:ext uri="{FF2B5EF4-FFF2-40B4-BE49-F238E27FC236}">
                    <a16:creationId xmlns:a16="http://schemas.microsoft.com/office/drawing/2014/main" id="{0433F364-EE0A-41B1-910B-4285E6AB8EFD}"/>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4" name="Rektangel 183">
                <a:extLst>
                  <a:ext uri="{FF2B5EF4-FFF2-40B4-BE49-F238E27FC236}">
                    <a16:creationId xmlns:a16="http://schemas.microsoft.com/office/drawing/2014/main" id="{5CDA2FC1-7ECD-4A66-8992-D7191F6B98ED}"/>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5" name="Rektangel 184">
                <a:extLst>
                  <a:ext uri="{FF2B5EF4-FFF2-40B4-BE49-F238E27FC236}">
                    <a16:creationId xmlns:a16="http://schemas.microsoft.com/office/drawing/2014/main" id="{5FC233F3-5F8F-4777-A426-F5690D25C95E}"/>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6" name="Rektangel 185">
                <a:extLst>
                  <a:ext uri="{FF2B5EF4-FFF2-40B4-BE49-F238E27FC236}">
                    <a16:creationId xmlns:a16="http://schemas.microsoft.com/office/drawing/2014/main" id="{822C826F-8FED-47E2-93A6-1C14547E4FD6}"/>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7" name="Rektangel 186">
                <a:extLst>
                  <a:ext uri="{FF2B5EF4-FFF2-40B4-BE49-F238E27FC236}">
                    <a16:creationId xmlns:a16="http://schemas.microsoft.com/office/drawing/2014/main" id="{FBBB47B7-FD89-4844-AC73-A651287E6E50}"/>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8" name="Ellipse 187">
                <a:extLst>
                  <a:ext uri="{FF2B5EF4-FFF2-40B4-BE49-F238E27FC236}">
                    <a16:creationId xmlns:a16="http://schemas.microsoft.com/office/drawing/2014/main" id="{60E693F6-19A1-4633-AD83-6F6F08114A3D}"/>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5" name="Gruppe 144">
              <a:extLst>
                <a:ext uri="{FF2B5EF4-FFF2-40B4-BE49-F238E27FC236}">
                  <a16:creationId xmlns:a16="http://schemas.microsoft.com/office/drawing/2014/main" id="{FAED5B3F-8003-4409-9170-7DF78B6424A2}"/>
                </a:ext>
              </a:extLst>
            </p:cNvPr>
            <p:cNvGrpSpPr/>
            <p:nvPr/>
          </p:nvGrpSpPr>
          <p:grpSpPr>
            <a:xfrm>
              <a:off x="712082" y="5057418"/>
              <a:ext cx="1167307" cy="975758"/>
              <a:chOff x="1501738" y="4933721"/>
              <a:chExt cx="1322399" cy="1099213"/>
            </a:xfrm>
          </p:grpSpPr>
          <p:grpSp>
            <p:nvGrpSpPr>
              <p:cNvPr id="172" name="Gruppe 171">
                <a:extLst>
                  <a:ext uri="{FF2B5EF4-FFF2-40B4-BE49-F238E27FC236}">
                    <a16:creationId xmlns:a16="http://schemas.microsoft.com/office/drawing/2014/main" id="{111E8D71-F817-44D6-9C1D-191C7304314D}"/>
                  </a:ext>
                </a:extLst>
              </p:cNvPr>
              <p:cNvGrpSpPr/>
              <p:nvPr/>
            </p:nvGrpSpPr>
            <p:grpSpPr>
              <a:xfrm>
                <a:off x="2145228" y="5613320"/>
                <a:ext cx="165543" cy="419614"/>
                <a:chOff x="4852454" y="2916519"/>
                <a:chExt cx="278597" cy="366599"/>
              </a:xfrm>
            </p:grpSpPr>
            <p:sp>
              <p:nvSpPr>
                <p:cNvPr id="178" name="Rektangel 177">
                  <a:extLst>
                    <a:ext uri="{FF2B5EF4-FFF2-40B4-BE49-F238E27FC236}">
                      <a16:creationId xmlns:a16="http://schemas.microsoft.com/office/drawing/2014/main" id="{B8AFAFE2-DB25-4CD0-B456-D5BBCB39B7EE}"/>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Rektangel: afrundede hjørner 178">
                  <a:extLst>
                    <a:ext uri="{FF2B5EF4-FFF2-40B4-BE49-F238E27FC236}">
                      <a16:creationId xmlns:a16="http://schemas.microsoft.com/office/drawing/2014/main" id="{CD844FBB-3353-489A-8EDC-24B7A72EC89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3" name="Ellipse 172">
                <a:extLst>
                  <a:ext uri="{FF2B5EF4-FFF2-40B4-BE49-F238E27FC236}">
                    <a16:creationId xmlns:a16="http://schemas.microsoft.com/office/drawing/2014/main" id="{D03D8823-20D2-4737-9209-AD33B0A585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4" name="Ellipse 173">
                <a:extLst>
                  <a:ext uri="{FF2B5EF4-FFF2-40B4-BE49-F238E27FC236}">
                    <a16:creationId xmlns:a16="http://schemas.microsoft.com/office/drawing/2014/main" id="{E49D68FA-965B-468E-8A31-ED2458CB1CFD}"/>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5" name="Ellipse 174">
                <a:extLst>
                  <a:ext uri="{FF2B5EF4-FFF2-40B4-BE49-F238E27FC236}">
                    <a16:creationId xmlns:a16="http://schemas.microsoft.com/office/drawing/2014/main" id="{44B1EABF-B18F-40F9-8F2F-8107C776C934}"/>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6" name="Ellipse 175">
                <a:extLst>
                  <a:ext uri="{FF2B5EF4-FFF2-40B4-BE49-F238E27FC236}">
                    <a16:creationId xmlns:a16="http://schemas.microsoft.com/office/drawing/2014/main" id="{464E1F01-9AB4-4B9B-B379-88CEFDCC3C9B}"/>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7" name="Ellipse 176">
                <a:extLst>
                  <a:ext uri="{FF2B5EF4-FFF2-40B4-BE49-F238E27FC236}">
                    <a16:creationId xmlns:a16="http://schemas.microsoft.com/office/drawing/2014/main" id="{131760AE-5ABA-4180-A58E-590E4BC68C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6" name="Gruppe 145">
              <a:extLst>
                <a:ext uri="{FF2B5EF4-FFF2-40B4-BE49-F238E27FC236}">
                  <a16:creationId xmlns:a16="http://schemas.microsoft.com/office/drawing/2014/main" id="{B1C0BE65-3403-46C3-946B-607FBB2997DB}"/>
                </a:ext>
              </a:extLst>
            </p:cNvPr>
            <p:cNvGrpSpPr/>
            <p:nvPr/>
          </p:nvGrpSpPr>
          <p:grpSpPr>
            <a:xfrm flipH="1">
              <a:off x="5755173" y="5057418"/>
              <a:ext cx="1032122" cy="975758"/>
              <a:chOff x="1610213" y="4933721"/>
              <a:chExt cx="1169253" cy="1099213"/>
            </a:xfrm>
          </p:grpSpPr>
          <p:grpSp>
            <p:nvGrpSpPr>
              <p:cNvPr id="164" name="Gruppe 163">
                <a:extLst>
                  <a:ext uri="{FF2B5EF4-FFF2-40B4-BE49-F238E27FC236}">
                    <a16:creationId xmlns:a16="http://schemas.microsoft.com/office/drawing/2014/main" id="{99A420E6-34AA-48FC-9927-7AF957A63B33}"/>
                  </a:ext>
                </a:extLst>
              </p:cNvPr>
              <p:cNvGrpSpPr/>
              <p:nvPr/>
            </p:nvGrpSpPr>
            <p:grpSpPr>
              <a:xfrm>
                <a:off x="2145228" y="5613320"/>
                <a:ext cx="165543" cy="419614"/>
                <a:chOff x="4852454" y="2916519"/>
                <a:chExt cx="278597" cy="366599"/>
              </a:xfrm>
            </p:grpSpPr>
            <p:sp>
              <p:nvSpPr>
                <p:cNvPr id="170" name="Rektangel 169">
                  <a:extLst>
                    <a:ext uri="{FF2B5EF4-FFF2-40B4-BE49-F238E27FC236}">
                      <a16:creationId xmlns:a16="http://schemas.microsoft.com/office/drawing/2014/main" id="{DA016C5C-B198-4525-AA9E-D78B08C1E03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1" name="Rektangel: afrundede hjørner 170">
                  <a:extLst>
                    <a:ext uri="{FF2B5EF4-FFF2-40B4-BE49-F238E27FC236}">
                      <a16:creationId xmlns:a16="http://schemas.microsoft.com/office/drawing/2014/main" id="{10A841C0-B85D-4404-A7CD-00C7FCE9FC5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Ellipse 164">
                <a:extLst>
                  <a:ext uri="{FF2B5EF4-FFF2-40B4-BE49-F238E27FC236}">
                    <a16:creationId xmlns:a16="http://schemas.microsoft.com/office/drawing/2014/main" id="{8E24071E-8529-448E-9172-7BB114A254CF}"/>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6" name="Ellipse 165">
                <a:extLst>
                  <a:ext uri="{FF2B5EF4-FFF2-40B4-BE49-F238E27FC236}">
                    <a16:creationId xmlns:a16="http://schemas.microsoft.com/office/drawing/2014/main" id="{DE62949D-E411-42F2-820A-145BD03EB61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7" name="Ellipse 166">
                <a:extLst>
                  <a:ext uri="{FF2B5EF4-FFF2-40B4-BE49-F238E27FC236}">
                    <a16:creationId xmlns:a16="http://schemas.microsoft.com/office/drawing/2014/main" id="{C2B32690-FDF5-489D-A263-1F92698A2354}"/>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8" name="Ellipse 167">
                <a:extLst>
                  <a:ext uri="{FF2B5EF4-FFF2-40B4-BE49-F238E27FC236}">
                    <a16:creationId xmlns:a16="http://schemas.microsoft.com/office/drawing/2014/main" id="{04ECD115-AB36-4B6D-A02E-930C80A41417}"/>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9" name="Ellipse 168">
                <a:extLst>
                  <a:ext uri="{FF2B5EF4-FFF2-40B4-BE49-F238E27FC236}">
                    <a16:creationId xmlns:a16="http://schemas.microsoft.com/office/drawing/2014/main" id="{39EE2EDA-9870-479C-B06E-51055C61B372}"/>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 name="Rektangel 146">
              <a:extLst>
                <a:ext uri="{FF2B5EF4-FFF2-40B4-BE49-F238E27FC236}">
                  <a16:creationId xmlns:a16="http://schemas.microsoft.com/office/drawing/2014/main" id="{BCAAEF0F-C32B-4F48-91FA-B449C2DFFDE8}"/>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 name="Rektangel 147">
              <a:extLst>
                <a:ext uri="{FF2B5EF4-FFF2-40B4-BE49-F238E27FC236}">
                  <a16:creationId xmlns:a16="http://schemas.microsoft.com/office/drawing/2014/main" id="{3B8D0766-FAB3-4C51-89B7-01073DAD33E5}"/>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 name="Ellipse 148">
              <a:extLst>
                <a:ext uri="{FF2B5EF4-FFF2-40B4-BE49-F238E27FC236}">
                  <a16:creationId xmlns:a16="http://schemas.microsoft.com/office/drawing/2014/main" id="{22DF7275-8392-4902-9E0D-39CACFDD0C6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 name="Heksagon 149">
              <a:extLst>
                <a:ext uri="{FF2B5EF4-FFF2-40B4-BE49-F238E27FC236}">
                  <a16:creationId xmlns:a16="http://schemas.microsoft.com/office/drawing/2014/main" id="{728DE976-C40B-4661-9EF6-6411BFE5238F}"/>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1" name="Grafik 150" descr="Ringelyd">
              <a:extLst>
                <a:ext uri="{FF2B5EF4-FFF2-40B4-BE49-F238E27FC236}">
                  <a16:creationId xmlns:a16="http://schemas.microsoft.com/office/drawing/2014/main" id="{9706CE64-B29E-4A17-8707-024B488F73B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52" name="Rektangel 151">
              <a:extLst>
                <a:ext uri="{FF2B5EF4-FFF2-40B4-BE49-F238E27FC236}">
                  <a16:creationId xmlns:a16="http://schemas.microsoft.com/office/drawing/2014/main" id="{8C63612E-0EE9-4B19-9F95-9C65637D304C}"/>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 name="Rektangel 152">
              <a:extLst>
                <a:ext uri="{FF2B5EF4-FFF2-40B4-BE49-F238E27FC236}">
                  <a16:creationId xmlns:a16="http://schemas.microsoft.com/office/drawing/2014/main" id="{F75AE1EC-4D45-4AC6-8C18-F3BE9E007902}"/>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 name="Rektangel 153">
              <a:extLst>
                <a:ext uri="{FF2B5EF4-FFF2-40B4-BE49-F238E27FC236}">
                  <a16:creationId xmlns:a16="http://schemas.microsoft.com/office/drawing/2014/main" id="{2B41A3BA-47C3-4CF8-9945-63100F06EB65}"/>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 name="Rektangel 154">
              <a:extLst>
                <a:ext uri="{FF2B5EF4-FFF2-40B4-BE49-F238E27FC236}">
                  <a16:creationId xmlns:a16="http://schemas.microsoft.com/office/drawing/2014/main" id="{42C193EA-6FEC-4CE2-9D3E-F1FDAD6F5874}"/>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6" name="Rektangel: øverste hjørner afklippet 155">
              <a:extLst>
                <a:ext uri="{FF2B5EF4-FFF2-40B4-BE49-F238E27FC236}">
                  <a16:creationId xmlns:a16="http://schemas.microsoft.com/office/drawing/2014/main" id="{2A8E9387-FFB2-4CAF-86CA-9E5122C4AD0D}"/>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7" name="Retvinklet trekant 156">
              <a:extLst>
                <a:ext uri="{FF2B5EF4-FFF2-40B4-BE49-F238E27FC236}">
                  <a16:creationId xmlns:a16="http://schemas.microsoft.com/office/drawing/2014/main" id="{9A284725-A64A-4558-A02E-F9DC6416C325}"/>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8" name="Retvinklet trekant 157">
              <a:extLst>
                <a:ext uri="{FF2B5EF4-FFF2-40B4-BE49-F238E27FC236}">
                  <a16:creationId xmlns:a16="http://schemas.microsoft.com/office/drawing/2014/main" id="{C5C8DD70-CDFC-4480-9A6D-F825C35CE4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9" name="Ellipse 158">
              <a:extLst>
                <a:ext uri="{FF2B5EF4-FFF2-40B4-BE49-F238E27FC236}">
                  <a16:creationId xmlns:a16="http://schemas.microsoft.com/office/drawing/2014/main" id="{E078AA53-43B3-4F41-A565-8C932C239DC8}"/>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0" name="Rektangel 159">
              <a:extLst>
                <a:ext uri="{FF2B5EF4-FFF2-40B4-BE49-F238E27FC236}">
                  <a16:creationId xmlns:a16="http://schemas.microsoft.com/office/drawing/2014/main" id="{CEE1567E-D6C1-469B-AD3A-08D8EC17F332}"/>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1" name="Rektangel 160">
              <a:extLst>
                <a:ext uri="{FF2B5EF4-FFF2-40B4-BE49-F238E27FC236}">
                  <a16:creationId xmlns:a16="http://schemas.microsoft.com/office/drawing/2014/main" id="{595B5B60-D7B2-48B0-AA7C-FF0BD61D8455}"/>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2" name="Rektangel 161">
              <a:extLst>
                <a:ext uri="{FF2B5EF4-FFF2-40B4-BE49-F238E27FC236}">
                  <a16:creationId xmlns:a16="http://schemas.microsoft.com/office/drawing/2014/main" id="{0C9CD93A-78D8-47CA-AD1A-D6774ED75842}"/>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3" name="Rektangel 162">
              <a:extLst>
                <a:ext uri="{FF2B5EF4-FFF2-40B4-BE49-F238E27FC236}">
                  <a16:creationId xmlns:a16="http://schemas.microsoft.com/office/drawing/2014/main" id="{53374892-E148-42EA-A894-C96186644786}"/>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95" name="Rektangel 394">
            <a:extLst>
              <a:ext uri="{FF2B5EF4-FFF2-40B4-BE49-F238E27FC236}">
                <a16:creationId xmlns:a16="http://schemas.microsoft.com/office/drawing/2014/main" id="{BB8396C8-7C89-4E07-87F1-4EA318B96B10}"/>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396" name="Pladsholder til tekst 5">
            <a:extLst>
              <a:ext uri="{FF2B5EF4-FFF2-40B4-BE49-F238E27FC236}">
                <a16:creationId xmlns:a16="http://schemas.microsoft.com/office/drawing/2014/main" id="{7F4250AC-C85F-4804-9C4A-1E7F8D951B43}"/>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grpSp>
        <p:nvGrpSpPr>
          <p:cNvPr id="404" name="Gruppe 403">
            <a:extLst>
              <a:ext uri="{FF2B5EF4-FFF2-40B4-BE49-F238E27FC236}">
                <a16:creationId xmlns:a16="http://schemas.microsoft.com/office/drawing/2014/main" id="{4EF02B02-D504-4DF3-9737-4A49E339ED23}"/>
              </a:ext>
            </a:extLst>
          </p:cNvPr>
          <p:cNvGrpSpPr/>
          <p:nvPr userDrawn="1"/>
        </p:nvGrpSpPr>
        <p:grpSpPr>
          <a:xfrm>
            <a:off x="6270980" y="1977069"/>
            <a:ext cx="2046398" cy="794493"/>
            <a:chOff x="6270980" y="1977069"/>
            <a:chExt cx="2046398" cy="794493"/>
          </a:xfrm>
        </p:grpSpPr>
        <p:sp>
          <p:nvSpPr>
            <p:cNvPr id="405" name="Ellipse 404">
              <a:extLst>
                <a:ext uri="{FF2B5EF4-FFF2-40B4-BE49-F238E27FC236}">
                  <a16:creationId xmlns:a16="http://schemas.microsoft.com/office/drawing/2014/main" id="{475692B7-9452-4DE7-8219-6569140AA5D7}"/>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8B68476A-CFB8-46C2-AAA5-AECB012FBA4B}"/>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4BB6AB6C-8B2D-413E-B193-7B5838077802}"/>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0BE6590B-68FE-44FE-BC8B-60F7ABE8CCF4}"/>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9" name="Ellipse 408">
              <a:extLst>
                <a:ext uri="{FF2B5EF4-FFF2-40B4-BE49-F238E27FC236}">
                  <a16:creationId xmlns:a16="http://schemas.microsoft.com/office/drawing/2014/main" id="{02685461-41A7-4ADE-A5EC-D5747F5AE330}"/>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0" name="Ellipse 409">
              <a:extLst>
                <a:ext uri="{FF2B5EF4-FFF2-40B4-BE49-F238E27FC236}">
                  <a16:creationId xmlns:a16="http://schemas.microsoft.com/office/drawing/2014/main" id="{3DA339FA-3940-4018-8DA6-B36BE355F25E}"/>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Tree>
    <p:extLst>
      <p:ext uri="{BB962C8B-B14F-4D97-AF65-F5344CB8AC3E}">
        <p14:creationId xmlns:p14="http://schemas.microsoft.com/office/powerpoint/2010/main" val="8119210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rederiksberg 1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9" name="Gruppe 408">
            <a:extLst>
              <a:ext uri="{FF2B5EF4-FFF2-40B4-BE49-F238E27FC236}">
                <a16:creationId xmlns:a16="http://schemas.microsoft.com/office/drawing/2014/main" id="{C7A352E4-A5C6-4A63-B76E-74A0064E1078}"/>
              </a:ext>
            </a:extLst>
          </p:cNvPr>
          <p:cNvGrpSpPr>
            <a:grpSpLocks noChangeAspect="1"/>
          </p:cNvGrpSpPr>
          <p:nvPr userDrawn="1"/>
        </p:nvGrpSpPr>
        <p:grpSpPr>
          <a:xfrm flipH="1">
            <a:off x="9330607" y="2687650"/>
            <a:ext cx="1892210" cy="693435"/>
            <a:chOff x="7698172" y="1860827"/>
            <a:chExt cx="2046398" cy="794493"/>
          </a:xfrm>
        </p:grpSpPr>
        <p:sp>
          <p:nvSpPr>
            <p:cNvPr id="410" name="Ellipse 409">
              <a:extLst>
                <a:ext uri="{FF2B5EF4-FFF2-40B4-BE49-F238E27FC236}">
                  <a16:creationId xmlns:a16="http://schemas.microsoft.com/office/drawing/2014/main" id="{F270DDC4-5F4A-422C-A11A-6A2537121524}"/>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1" name="Ellipse 410">
              <a:extLst>
                <a:ext uri="{FF2B5EF4-FFF2-40B4-BE49-F238E27FC236}">
                  <a16:creationId xmlns:a16="http://schemas.microsoft.com/office/drawing/2014/main" id="{733AFB7D-F4E7-4BBD-A28B-D48718E592EE}"/>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2" name="Ellipse 411">
              <a:extLst>
                <a:ext uri="{FF2B5EF4-FFF2-40B4-BE49-F238E27FC236}">
                  <a16:creationId xmlns:a16="http://schemas.microsoft.com/office/drawing/2014/main" id="{46338556-16B1-4920-BB26-EF31250257E1}"/>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3" name="Ellipse 412">
              <a:extLst>
                <a:ext uri="{FF2B5EF4-FFF2-40B4-BE49-F238E27FC236}">
                  <a16:creationId xmlns:a16="http://schemas.microsoft.com/office/drawing/2014/main" id="{A989BD7E-EBB5-4FD6-9003-86B1B1BCA0DD}"/>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4" name="Ellipse 413">
              <a:extLst>
                <a:ext uri="{FF2B5EF4-FFF2-40B4-BE49-F238E27FC236}">
                  <a16:creationId xmlns:a16="http://schemas.microsoft.com/office/drawing/2014/main" id="{660F0352-CA9A-407A-8F34-8B99EA4D7173}"/>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5" name="Ellipse 414">
              <a:extLst>
                <a:ext uri="{FF2B5EF4-FFF2-40B4-BE49-F238E27FC236}">
                  <a16:creationId xmlns:a16="http://schemas.microsoft.com/office/drawing/2014/main" id="{41F63CD6-B579-4649-B389-B33C43B2637D}"/>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3" name="Pladsholder til tekst 2">
            <a:extLst>
              <a:ext uri="{FF2B5EF4-FFF2-40B4-BE49-F238E27FC236}">
                <a16:creationId xmlns:a16="http://schemas.microsoft.com/office/drawing/2014/main" id="{17BA97FD-0759-40B5-B7C4-F9AE62B5283A}"/>
              </a:ext>
            </a:extLst>
          </p:cNvPr>
          <p:cNvSpPr>
            <a:spLocks noGrp="1"/>
          </p:cNvSpPr>
          <p:nvPr>
            <p:ph type="body" sz="quarter" idx="12"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grpSp>
        <p:nvGrpSpPr>
          <p:cNvPr id="402" name="Gruppe 401">
            <a:extLst>
              <a:ext uri="{FF2B5EF4-FFF2-40B4-BE49-F238E27FC236}">
                <a16:creationId xmlns:a16="http://schemas.microsoft.com/office/drawing/2014/main" id="{BBCD4F5C-CE7E-4168-A21E-C023293FE903}"/>
              </a:ext>
            </a:extLst>
          </p:cNvPr>
          <p:cNvGrpSpPr/>
          <p:nvPr userDrawn="1"/>
        </p:nvGrpSpPr>
        <p:grpSpPr>
          <a:xfrm>
            <a:off x="6270980" y="2317062"/>
            <a:ext cx="2046398" cy="794493"/>
            <a:chOff x="6270980" y="1977069"/>
            <a:chExt cx="2046398" cy="794493"/>
          </a:xfrm>
        </p:grpSpPr>
        <p:sp>
          <p:nvSpPr>
            <p:cNvPr id="403" name="Ellipse 402">
              <a:extLst>
                <a:ext uri="{FF2B5EF4-FFF2-40B4-BE49-F238E27FC236}">
                  <a16:creationId xmlns:a16="http://schemas.microsoft.com/office/drawing/2014/main" id="{549A09DB-0CAB-40AC-9466-AB0D31C62650}"/>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Ellipse 403">
              <a:extLst>
                <a:ext uri="{FF2B5EF4-FFF2-40B4-BE49-F238E27FC236}">
                  <a16:creationId xmlns:a16="http://schemas.microsoft.com/office/drawing/2014/main" id="{76660E34-E935-42CA-A4E0-98198D2AF10E}"/>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Ellipse 404">
              <a:extLst>
                <a:ext uri="{FF2B5EF4-FFF2-40B4-BE49-F238E27FC236}">
                  <a16:creationId xmlns:a16="http://schemas.microsoft.com/office/drawing/2014/main" id="{C6B804D5-93C9-4B96-91CE-CB049CD80C51}"/>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2BE294E7-7F92-4AEC-BD2C-AC06B8CFAB0E}"/>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E881BD8C-4992-428B-9BE0-DA6B564DFC2A}"/>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661A7E59-9B48-4EEA-AB1B-ED5E9A7989E2}"/>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986" name="Gruppe 985">
            <a:extLst>
              <a:ext uri="{FF2B5EF4-FFF2-40B4-BE49-F238E27FC236}">
                <a16:creationId xmlns:a16="http://schemas.microsoft.com/office/drawing/2014/main" id="{29DF4ADD-E9D0-4640-85BD-29A6072E9975}"/>
              </a:ext>
            </a:extLst>
          </p:cNvPr>
          <p:cNvGrpSpPr>
            <a:grpSpLocks noChangeAspect="1"/>
          </p:cNvGrpSpPr>
          <p:nvPr userDrawn="1"/>
        </p:nvGrpSpPr>
        <p:grpSpPr>
          <a:xfrm>
            <a:off x="5979654" y="3766675"/>
            <a:ext cx="5469784" cy="2055245"/>
            <a:chOff x="1555638" y="3004456"/>
            <a:chExt cx="8187846" cy="3076544"/>
          </a:xfrm>
        </p:grpSpPr>
        <p:grpSp>
          <p:nvGrpSpPr>
            <p:cNvPr id="987" name="Gruppe 986">
              <a:extLst>
                <a:ext uri="{FF2B5EF4-FFF2-40B4-BE49-F238E27FC236}">
                  <a16:creationId xmlns:a16="http://schemas.microsoft.com/office/drawing/2014/main" id="{FC26A337-80EB-406B-A10C-9ECBD8932312}"/>
                </a:ext>
              </a:extLst>
            </p:cNvPr>
            <p:cNvGrpSpPr/>
            <p:nvPr/>
          </p:nvGrpSpPr>
          <p:grpSpPr>
            <a:xfrm flipH="1">
              <a:off x="3642164" y="4610371"/>
              <a:ext cx="710658" cy="850217"/>
              <a:chOff x="1610213" y="4933721"/>
              <a:chExt cx="1169253" cy="1099213"/>
            </a:xfrm>
          </p:grpSpPr>
          <p:grpSp>
            <p:nvGrpSpPr>
              <p:cNvPr id="1545" name="Gruppe 1544">
                <a:extLst>
                  <a:ext uri="{FF2B5EF4-FFF2-40B4-BE49-F238E27FC236}">
                    <a16:creationId xmlns:a16="http://schemas.microsoft.com/office/drawing/2014/main" id="{A2E3FC3D-482B-4559-8C44-66A0320B4DBB}"/>
                  </a:ext>
                </a:extLst>
              </p:cNvPr>
              <p:cNvGrpSpPr/>
              <p:nvPr/>
            </p:nvGrpSpPr>
            <p:grpSpPr>
              <a:xfrm>
                <a:off x="2145228" y="5613320"/>
                <a:ext cx="165543" cy="419614"/>
                <a:chOff x="4852454" y="2916519"/>
                <a:chExt cx="278597" cy="366599"/>
              </a:xfrm>
            </p:grpSpPr>
            <p:sp>
              <p:nvSpPr>
                <p:cNvPr id="1551" name="Rektangel 1550">
                  <a:extLst>
                    <a:ext uri="{FF2B5EF4-FFF2-40B4-BE49-F238E27FC236}">
                      <a16:creationId xmlns:a16="http://schemas.microsoft.com/office/drawing/2014/main" id="{C93B264C-3AF0-4E42-9C27-2F0EE2764C8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2" name="Rektangel: afrundede hjørner 1551">
                  <a:extLst>
                    <a:ext uri="{FF2B5EF4-FFF2-40B4-BE49-F238E27FC236}">
                      <a16:creationId xmlns:a16="http://schemas.microsoft.com/office/drawing/2014/main" id="{CD3C570A-3AC9-40EF-8955-8A06FD013EC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46" name="Ellipse 1545">
                <a:extLst>
                  <a:ext uri="{FF2B5EF4-FFF2-40B4-BE49-F238E27FC236}">
                    <a16:creationId xmlns:a16="http://schemas.microsoft.com/office/drawing/2014/main" id="{F22EF257-D7CC-47C8-A9EA-842BC63CAAB5}"/>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7" name="Ellipse 1546">
                <a:extLst>
                  <a:ext uri="{FF2B5EF4-FFF2-40B4-BE49-F238E27FC236}">
                    <a16:creationId xmlns:a16="http://schemas.microsoft.com/office/drawing/2014/main" id="{7A3D925C-C238-4F92-AE59-DA95D071BC6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8" name="Ellipse 1547">
                <a:extLst>
                  <a:ext uri="{FF2B5EF4-FFF2-40B4-BE49-F238E27FC236}">
                    <a16:creationId xmlns:a16="http://schemas.microsoft.com/office/drawing/2014/main" id="{E105A605-DF02-4F05-B1A0-CD288856BA2B}"/>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9" name="Ellipse 1548">
                <a:extLst>
                  <a:ext uri="{FF2B5EF4-FFF2-40B4-BE49-F238E27FC236}">
                    <a16:creationId xmlns:a16="http://schemas.microsoft.com/office/drawing/2014/main" id="{057FE4E1-4BD4-4CD5-8FFF-C65D8C901884}"/>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0" name="Ellipse 1549">
                <a:extLst>
                  <a:ext uri="{FF2B5EF4-FFF2-40B4-BE49-F238E27FC236}">
                    <a16:creationId xmlns:a16="http://schemas.microsoft.com/office/drawing/2014/main" id="{48FB07C0-46FD-4BC5-B50F-D188DDEC28A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8" name="Gruppe 987">
              <a:extLst>
                <a:ext uri="{FF2B5EF4-FFF2-40B4-BE49-F238E27FC236}">
                  <a16:creationId xmlns:a16="http://schemas.microsoft.com/office/drawing/2014/main" id="{19FD6E1E-4FFE-4BC6-A492-16A61BBA1A9D}"/>
                </a:ext>
              </a:extLst>
            </p:cNvPr>
            <p:cNvGrpSpPr/>
            <p:nvPr/>
          </p:nvGrpSpPr>
          <p:grpSpPr>
            <a:xfrm flipH="1">
              <a:off x="1555638" y="4882352"/>
              <a:ext cx="1169253" cy="1099213"/>
              <a:chOff x="1610213" y="4933721"/>
              <a:chExt cx="1169253" cy="1099213"/>
            </a:xfrm>
          </p:grpSpPr>
          <p:grpSp>
            <p:nvGrpSpPr>
              <p:cNvPr id="1537" name="Gruppe 1536">
                <a:extLst>
                  <a:ext uri="{FF2B5EF4-FFF2-40B4-BE49-F238E27FC236}">
                    <a16:creationId xmlns:a16="http://schemas.microsoft.com/office/drawing/2014/main" id="{A97C3891-16CC-4713-ACAB-983E47B54F60}"/>
                  </a:ext>
                </a:extLst>
              </p:cNvPr>
              <p:cNvGrpSpPr/>
              <p:nvPr/>
            </p:nvGrpSpPr>
            <p:grpSpPr>
              <a:xfrm>
                <a:off x="2145228" y="5613320"/>
                <a:ext cx="165543" cy="419614"/>
                <a:chOff x="4852454" y="2916519"/>
                <a:chExt cx="278597" cy="366599"/>
              </a:xfrm>
            </p:grpSpPr>
            <p:sp>
              <p:nvSpPr>
                <p:cNvPr id="1543" name="Rektangel 1542">
                  <a:extLst>
                    <a:ext uri="{FF2B5EF4-FFF2-40B4-BE49-F238E27FC236}">
                      <a16:creationId xmlns:a16="http://schemas.microsoft.com/office/drawing/2014/main" id="{C2593D32-1577-433D-8661-42D407B39CC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4" name="Rektangel: afrundede hjørner 1543">
                  <a:extLst>
                    <a:ext uri="{FF2B5EF4-FFF2-40B4-BE49-F238E27FC236}">
                      <a16:creationId xmlns:a16="http://schemas.microsoft.com/office/drawing/2014/main" id="{DF7D0025-5E1C-4DB3-83BB-C575CE34DBD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38" name="Ellipse 1537">
                <a:extLst>
                  <a:ext uri="{FF2B5EF4-FFF2-40B4-BE49-F238E27FC236}">
                    <a16:creationId xmlns:a16="http://schemas.microsoft.com/office/drawing/2014/main" id="{0516620D-625D-4696-962E-A5F83F71EB0C}"/>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9" name="Ellipse 1538">
                <a:extLst>
                  <a:ext uri="{FF2B5EF4-FFF2-40B4-BE49-F238E27FC236}">
                    <a16:creationId xmlns:a16="http://schemas.microsoft.com/office/drawing/2014/main" id="{7C561D4D-28BA-482D-8E3C-C71EDE416BB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0" name="Ellipse 1539">
                <a:extLst>
                  <a:ext uri="{FF2B5EF4-FFF2-40B4-BE49-F238E27FC236}">
                    <a16:creationId xmlns:a16="http://schemas.microsoft.com/office/drawing/2014/main" id="{135D7A2F-1AB1-48F3-BF80-A91F0C514101}"/>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1" name="Ellipse 1540">
                <a:extLst>
                  <a:ext uri="{FF2B5EF4-FFF2-40B4-BE49-F238E27FC236}">
                    <a16:creationId xmlns:a16="http://schemas.microsoft.com/office/drawing/2014/main" id="{51F29FB4-1D01-4BF1-B968-12210E7621B2}"/>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2" name="Ellipse 1541">
                <a:extLst>
                  <a:ext uri="{FF2B5EF4-FFF2-40B4-BE49-F238E27FC236}">
                    <a16:creationId xmlns:a16="http://schemas.microsoft.com/office/drawing/2014/main" id="{A1562239-857E-4FC2-BFC0-11479A76CAB4}"/>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9" name="Gruppe 988">
              <a:extLst>
                <a:ext uri="{FF2B5EF4-FFF2-40B4-BE49-F238E27FC236}">
                  <a16:creationId xmlns:a16="http://schemas.microsoft.com/office/drawing/2014/main" id="{BB73338B-C398-4580-B5AA-C90DC436F3CC}"/>
                </a:ext>
              </a:extLst>
            </p:cNvPr>
            <p:cNvGrpSpPr/>
            <p:nvPr/>
          </p:nvGrpSpPr>
          <p:grpSpPr>
            <a:xfrm>
              <a:off x="2199991" y="4956747"/>
              <a:ext cx="2185717" cy="1019561"/>
              <a:chOff x="1301751" y="4539266"/>
              <a:chExt cx="2540922" cy="1160633"/>
            </a:xfrm>
          </p:grpSpPr>
          <p:sp>
            <p:nvSpPr>
              <p:cNvPr id="1481" name="Rektangel 1480">
                <a:extLst>
                  <a:ext uri="{FF2B5EF4-FFF2-40B4-BE49-F238E27FC236}">
                    <a16:creationId xmlns:a16="http://schemas.microsoft.com/office/drawing/2014/main" id="{003EDE3B-BBAE-49CA-A63D-81DAC76C590C}"/>
                  </a:ext>
                </a:extLst>
              </p:cNvPr>
              <p:cNvSpPr/>
              <p:nvPr/>
            </p:nvSpPr>
            <p:spPr>
              <a:xfrm>
                <a:off x="2616201" y="483785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82" name="Gruppe 1481">
                <a:extLst>
                  <a:ext uri="{FF2B5EF4-FFF2-40B4-BE49-F238E27FC236}">
                    <a16:creationId xmlns:a16="http://schemas.microsoft.com/office/drawing/2014/main" id="{CE03396B-C23E-4796-BE2F-9588CD01F1D4}"/>
                  </a:ext>
                </a:extLst>
              </p:cNvPr>
              <p:cNvGrpSpPr/>
              <p:nvPr/>
            </p:nvGrpSpPr>
            <p:grpSpPr>
              <a:xfrm>
                <a:off x="3068357" y="5058181"/>
                <a:ext cx="45719" cy="171705"/>
                <a:chOff x="4852454" y="2916519"/>
                <a:chExt cx="278597" cy="366599"/>
              </a:xfrm>
            </p:grpSpPr>
            <p:sp>
              <p:nvSpPr>
                <p:cNvPr id="1535" name="Rektangel 1534">
                  <a:extLst>
                    <a:ext uri="{FF2B5EF4-FFF2-40B4-BE49-F238E27FC236}">
                      <a16:creationId xmlns:a16="http://schemas.microsoft.com/office/drawing/2014/main" id="{4D716B56-A185-4D2B-B8C0-996030ECEE2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6" name="Rektangel: afrundede hjørner 1535">
                  <a:extLst>
                    <a:ext uri="{FF2B5EF4-FFF2-40B4-BE49-F238E27FC236}">
                      <a16:creationId xmlns:a16="http://schemas.microsoft.com/office/drawing/2014/main" id="{52C2AEE8-3E06-4BD7-B0C7-A5DB5A2AE73C}"/>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83" name="Rektangel 1482">
                <a:extLst>
                  <a:ext uri="{FF2B5EF4-FFF2-40B4-BE49-F238E27FC236}">
                    <a16:creationId xmlns:a16="http://schemas.microsoft.com/office/drawing/2014/main" id="{795076BB-7A65-45B0-8BBD-CA6C70627D8F}"/>
                  </a:ext>
                </a:extLst>
              </p:cNvPr>
              <p:cNvSpPr/>
              <p:nvPr/>
            </p:nvSpPr>
            <p:spPr>
              <a:xfrm>
                <a:off x="2616201" y="5146908"/>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4" name="Ellipse 1483">
                <a:extLst>
                  <a:ext uri="{FF2B5EF4-FFF2-40B4-BE49-F238E27FC236}">
                    <a16:creationId xmlns:a16="http://schemas.microsoft.com/office/drawing/2014/main" id="{C8F19F26-3903-4666-9338-E21235E3C22F}"/>
                  </a:ext>
                </a:extLst>
              </p:cNvPr>
              <p:cNvSpPr/>
              <p:nvPr/>
            </p:nvSpPr>
            <p:spPr>
              <a:xfrm>
                <a:off x="3036544" y="5466105"/>
                <a:ext cx="80273" cy="7538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5" name="Ellipse 1484">
                <a:extLst>
                  <a:ext uri="{FF2B5EF4-FFF2-40B4-BE49-F238E27FC236}">
                    <a16:creationId xmlns:a16="http://schemas.microsoft.com/office/drawing/2014/main" id="{FCC090FE-456D-46CF-8F54-A4D17D1F19DA}"/>
                  </a:ext>
                </a:extLst>
              </p:cNvPr>
              <p:cNvSpPr/>
              <p:nvPr/>
            </p:nvSpPr>
            <p:spPr>
              <a:xfrm>
                <a:off x="2993094" y="5393088"/>
                <a:ext cx="149555" cy="9679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6" name="Rektangel 1485">
                <a:extLst>
                  <a:ext uri="{FF2B5EF4-FFF2-40B4-BE49-F238E27FC236}">
                    <a16:creationId xmlns:a16="http://schemas.microsoft.com/office/drawing/2014/main" id="{6DA1DAD9-2A07-4924-AC6D-150C0D483F26}"/>
                  </a:ext>
                </a:extLst>
              </p:cNvPr>
              <p:cNvSpPr/>
              <p:nvPr/>
            </p:nvSpPr>
            <p:spPr>
              <a:xfrm>
                <a:off x="2616201" y="546072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7" name="Rektangel 1486">
                <a:extLst>
                  <a:ext uri="{FF2B5EF4-FFF2-40B4-BE49-F238E27FC236}">
                    <a16:creationId xmlns:a16="http://schemas.microsoft.com/office/drawing/2014/main" id="{8EB91C25-A44F-4B40-B02B-A0083A4A685B}"/>
                  </a:ext>
                </a:extLst>
              </p:cNvPr>
              <p:cNvSpPr/>
              <p:nvPr/>
            </p:nvSpPr>
            <p:spPr>
              <a:xfrm>
                <a:off x="2616201" y="55417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8" name="Rektangel 1487">
                <a:extLst>
                  <a:ext uri="{FF2B5EF4-FFF2-40B4-BE49-F238E27FC236}">
                    <a16:creationId xmlns:a16="http://schemas.microsoft.com/office/drawing/2014/main" id="{B52853A3-3A4B-4815-8F62-6FEACDCB07F9}"/>
                  </a:ext>
                </a:extLst>
              </p:cNvPr>
              <p:cNvSpPr/>
              <p:nvPr/>
            </p:nvSpPr>
            <p:spPr>
              <a:xfrm>
                <a:off x="2616201" y="52301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9" name="Rektangel 1488">
                <a:extLst>
                  <a:ext uri="{FF2B5EF4-FFF2-40B4-BE49-F238E27FC236}">
                    <a16:creationId xmlns:a16="http://schemas.microsoft.com/office/drawing/2014/main" id="{465F7D9A-FEB8-448B-B1E0-2A5AC035054D}"/>
                  </a:ext>
                </a:extLst>
              </p:cNvPr>
              <p:cNvSpPr/>
              <p:nvPr/>
            </p:nvSpPr>
            <p:spPr>
              <a:xfrm>
                <a:off x="2616201" y="4924904"/>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90" name="Gruppe 1489">
                <a:extLst>
                  <a:ext uri="{FF2B5EF4-FFF2-40B4-BE49-F238E27FC236}">
                    <a16:creationId xmlns:a16="http://schemas.microsoft.com/office/drawing/2014/main" id="{DFF9237E-6CA6-4F75-8E0C-385D451D5FF0}"/>
                  </a:ext>
                </a:extLst>
              </p:cNvPr>
              <p:cNvGrpSpPr/>
              <p:nvPr/>
            </p:nvGrpSpPr>
            <p:grpSpPr>
              <a:xfrm>
                <a:off x="1301751" y="4539266"/>
                <a:ext cx="1816100" cy="1160633"/>
                <a:chOff x="1301750" y="4539266"/>
                <a:chExt cx="2703513" cy="1160633"/>
              </a:xfrm>
            </p:grpSpPr>
            <p:sp>
              <p:nvSpPr>
                <p:cNvPr id="1529" name="Rektangel: afrundede hjørner 1528">
                  <a:extLst>
                    <a:ext uri="{FF2B5EF4-FFF2-40B4-BE49-F238E27FC236}">
                      <a16:creationId xmlns:a16="http://schemas.microsoft.com/office/drawing/2014/main" id="{4318D866-F4F1-49E9-89CE-1B3541B66D24}"/>
                    </a:ext>
                  </a:extLst>
                </p:cNvPr>
                <p:cNvSpPr/>
                <p:nvPr/>
              </p:nvSpPr>
              <p:spPr>
                <a:xfrm>
                  <a:off x="1301750" y="4539266"/>
                  <a:ext cx="1399019" cy="753249"/>
                </a:xfrm>
                <a:prstGeom prst="roundRect">
                  <a:avLst>
                    <a:gd name="adj" fmla="val 50000"/>
                  </a:avLst>
                </a:prstGeom>
                <a:solidFill>
                  <a:srgbClr val="646464"/>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30" name="Rektangel 1529">
                  <a:extLst>
                    <a:ext uri="{FF2B5EF4-FFF2-40B4-BE49-F238E27FC236}">
                      <a16:creationId xmlns:a16="http://schemas.microsoft.com/office/drawing/2014/main" id="{6D7F2756-1200-4612-A7FB-5EC7AF57750C}"/>
                    </a:ext>
                  </a:extLst>
                </p:cNvPr>
                <p:cNvSpPr/>
                <p:nvPr/>
              </p:nvSpPr>
              <p:spPr>
                <a:xfrm>
                  <a:off x="2006600" y="4539267"/>
                  <a:ext cx="15557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1" name="Rektangel 1530">
                  <a:extLst>
                    <a:ext uri="{FF2B5EF4-FFF2-40B4-BE49-F238E27FC236}">
                      <a16:creationId xmlns:a16="http://schemas.microsoft.com/office/drawing/2014/main" id="{5E3EC3D8-5A8C-4A7B-8410-5E72B409319F}"/>
                    </a:ext>
                  </a:extLst>
                </p:cNvPr>
                <p:cNvSpPr/>
                <p:nvPr/>
              </p:nvSpPr>
              <p:spPr>
                <a:xfrm>
                  <a:off x="1301750" y="4946649"/>
                  <a:ext cx="704850" cy="753249"/>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532" name="Lige forbindelse 1531">
                  <a:extLst>
                    <a:ext uri="{FF2B5EF4-FFF2-40B4-BE49-F238E27FC236}">
                      <a16:creationId xmlns:a16="http://schemas.microsoft.com/office/drawing/2014/main" id="{2B229DBB-EF93-46AE-A37A-9F13C5A2ED1C}"/>
                    </a:ext>
                  </a:extLst>
                </p:cNvPr>
                <p:cNvCxnSpPr>
                  <a:cxnSpLocks/>
                  <a:stCxn id="1529" idx="1"/>
                </p:cNvCxnSpPr>
                <p:nvPr/>
              </p:nvCxnSpPr>
              <p:spPr>
                <a:xfrm>
                  <a:off x="1301750" y="4915891"/>
                  <a:ext cx="0" cy="784007"/>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33" name="Retvinklet trekant 1532">
                  <a:extLst>
                    <a:ext uri="{FF2B5EF4-FFF2-40B4-BE49-F238E27FC236}">
                      <a16:creationId xmlns:a16="http://schemas.microsoft.com/office/drawing/2014/main" id="{40497C40-CC6A-41A1-AA86-409297CCE623}"/>
                    </a:ext>
                  </a:extLst>
                </p:cNvPr>
                <p:cNvSpPr/>
                <p:nvPr/>
              </p:nvSpPr>
              <p:spPr>
                <a:xfrm rot="5400000">
                  <a:off x="3203492" y="4898127"/>
                  <a:ext cx="1160629" cy="442913"/>
                </a:xfrm>
                <a:prstGeom prst="rtTriangle">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cxnSp>
              <p:nvCxnSpPr>
                <p:cNvPr id="1534" name="Lige forbindelse 1533">
                  <a:extLst>
                    <a:ext uri="{FF2B5EF4-FFF2-40B4-BE49-F238E27FC236}">
                      <a16:creationId xmlns:a16="http://schemas.microsoft.com/office/drawing/2014/main" id="{11D2D4E1-7982-4345-8324-2260B19A6F40}"/>
                    </a:ext>
                  </a:extLst>
                </p:cNvPr>
                <p:cNvCxnSpPr>
                  <a:cxnSpLocks/>
                </p:cNvCxnSpPr>
                <p:nvPr/>
              </p:nvCxnSpPr>
              <p:spPr>
                <a:xfrm>
                  <a:off x="2006600" y="4539266"/>
                  <a:ext cx="199866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91" name="Rektangel 1490">
                <a:extLst>
                  <a:ext uri="{FF2B5EF4-FFF2-40B4-BE49-F238E27FC236}">
                    <a16:creationId xmlns:a16="http://schemas.microsoft.com/office/drawing/2014/main" id="{1287AC5B-DB22-4F11-9F3B-4BB06308D426}"/>
                  </a:ext>
                </a:extLst>
              </p:cNvPr>
              <p:cNvSpPr/>
              <p:nvPr/>
            </p:nvSpPr>
            <p:spPr>
              <a:xfrm>
                <a:off x="3341023" y="4539267"/>
                <a:ext cx="5016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92" name="Lige forbindelse 1491">
                <a:extLst>
                  <a:ext uri="{FF2B5EF4-FFF2-40B4-BE49-F238E27FC236}">
                    <a16:creationId xmlns:a16="http://schemas.microsoft.com/office/drawing/2014/main" id="{3CE57A74-89AB-46D7-931E-C0814B256FB8}"/>
                  </a:ext>
                </a:extLst>
              </p:cNvPr>
              <p:cNvCxnSpPr>
                <a:cxnSpLocks/>
              </p:cNvCxnSpPr>
              <p:nvPr/>
            </p:nvCxnSpPr>
            <p:spPr>
              <a:xfrm>
                <a:off x="3341023" y="4539266"/>
                <a:ext cx="5016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93" name="Rektangel 1492">
                <a:extLst>
                  <a:ext uri="{FF2B5EF4-FFF2-40B4-BE49-F238E27FC236}">
                    <a16:creationId xmlns:a16="http://schemas.microsoft.com/office/drawing/2014/main" id="{5D0B2647-A614-4881-A4FB-458233884446}"/>
                  </a:ext>
                </a:extLst>
              </p:cNvPr>
              <p:cNvSpPr/>
              <p:nvPr/>
            </p:nvSpPr>
            <p:spPr>
              <a:xfrm>
                <a:off x="1423856"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4" name="Rektangel 1493">
                <a:extLst>
                  <a:ext uri="{FF2B5EF4-FFF2-40B4-BE49-F238E27FC236}">
                    <a16:creationId xmlns:a16="http://schemas.microsoft.com/office/drawing/2014/main" id="{C1E3F4EE-FD12-4982-B531-A1E89F9998F6}"/>
                  </a:ext>
                </a:extLst>
              </p:cNvPr>
              <p:cNvSpPr/>
              <p:nvPr/>
            </p:nvSpPr>
            <p:spPr>
              <a:xfrm>
                <a:off x="1562149"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5" name="Rektangel 1494">
                <a:extLst>
                  <a:ext uri="{FF2B5EF4-FFF2-40B4-BE49-F238E27FC236}">
                    <a16:creationId xmlns:a16="http://schemas.microsoft.com/office/drawing/2014/main" id="{E3C7FBF8-86BB-4318-9497-23BF955B6863}"/>
                  </a:ext>
                </a:extLst>
              </p:cNvPr>
              <p:cNvSpPr/>
              <p:nvPr/>
            </p:nvSpPr>
            <p:spPr>
              <a:xfrm>
                <a:off x="1755402"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6" name="Rektangel 1495">
                <a:extLst>
                  <a:ext uri="{FF2B5EF4-FFF2-40B4-BE49-F238E27FC236}">
                    <a16:creationId xmlns:a16="http://schemas.microsoft.com/office/drawing/2014/main" id="{AF3CF836-704E-4D3E-BE81-80E61C838086}"/>
                  </a:ext>
                </a:extLst>
              </p:cNvPr>
              <p:cNvSpPr/>
              <p:nvPr/>
            </p:nvSpPr>
            <p:spPr>
              <a:xfrm>
                <a:off x="1838735"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7" name="Rektangel 1496">
                <a:extLst>
                  <a:ext uri="{FF2B5EF4-FFF2-40B4-BE49-F238E27FC236}">
                    <a16:creationId xmlns:a16="http://schemas.microsoft.com/office/drawing/2014/main" id="{AEB6850D-419A-4406-9F1D-5328A4DBB6D8}"/>
                  </a:ext>
                </a:extLst>
              </p:cNvPr>
              <p:cNvSpPr/>
              <p:nvPr/>
            </p:nvSpPr>
            <p:spPr>
              <a:xfrm>
                <a:off x="225361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8" name="Rektangel 1497">
                <a:extLst>
                  <a:ext uri="{FF2B5EF4-FFF2-40B4-BE49-F238E27FC236}">
                    <a16:creationId xmlns:a16="http://schemas.microsoft.com/office/drawing/2014/main" id="{BC44FC20-7060-44F4-9627-1EF1FBB57DC2}"/>
                  </a:ext>
                </a:extLst>
              </p:cNvPr>
              <p:cNvSpPr/>
              <p:nvPr/>
            </p:nvSpPr>
            <p:spPr>
              <a:xfrm>
                <a:off x="1977028"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9" name="Rektangel 1498">
                <a:extLst>
                  <a:ext uri="{FF2B5EF4-FFF2-40B4-BE49-F238E27FC236}">
                    <a16:creationId xmlns:a16="http://schemas.microsoft.com/office/drawing/2014/main" id="{2E0ED860-D01F-4912-91C3-6A2FFE39A169}"/>
                  </a:ext>
                </a:extLst>
              </p:cNvPr>
              <p:cNvSpPr/>
              <p:nvPr/>
            </p:nvSpPr>
            <p:spPr>
              <a:xfrm>
                <a:off x="239190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0" name="Rektangel 1499">
                <a:extLst>
                  <a:ext uri="{FF2B5EF4-FFF2-40B4-BE49-F238E27FC236}">
                    <a16:creationId xmlns:a16="http://schemas.microsoft.com/office/drawing/2014/main" id="{B9907D91-92BD-4E50-B4B9-E911AED3EF85}"/>
                  </a:ext>
                </a:extLst>
              </p:cNvPr>
              <p:cNvSpPr/>
              <p:nvPr/>
            </p:nvSpPr>
            <p:spPr>
              <a:xfrm>
                <a:off x="2497994"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1" name="Rektangel 1500">
                <a:extLst>
                  <a:ext uri="{FF2B5EF4-FFF2-40B4-BE49-F238E27FC236}">
                    <a16:creationId xmlns:a16="http://schemas.microsoft.com/office/drawing/2014/main" id="{AEDDE06B-D126-4F23-BAE0-72F7F10D5BF7}"/>
                  </a:ext>
                </a:extLst>
              </p:cNvPr>
              <p:cNvSpPr/>
              <p:nvPr/>
            </p:nvSpPr>
            <p:spPr>
              <a:xfrm>
                <a:off x="142385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2" name="Rektangel 1501">
                <a:extLst>
                  <a:ext uri="{FF2B5EF4-FFF2-40B4-BE49-F238E27FC236}">
                    <a16:creationId xmlns:a16="http://schemas.microsoft.com/office/drawing/2014/main" id="{0E98E241-DF87-480C-9E8F-E0CDEA8A696E}"/>
                  </a:ext>
                </a:extLst>
              </p:cNvPr>
              <p:cNvSpPr/>
              <p:nvPr/>
            </p:nvSpPr>
            <p:spPr>
              <a:xfrm>
                <a:off x="151071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3" name="Rektangel 1502">
                <a:extLst>
                  <a:ext uri="{FF2B5EF4-FFF2-40B4-BE49-F238E27FC236}">
                    <a16:creationId xmlns:a16="http://schemas.microsoft.com/office/drawing/2014/main" id="{83C4BF23-6C95-4697-9220-D72A215C7D17}"/>
                  </a:ext>
                </a:extLst>
              </p:cNvPr>
              <p:cNvSpPr/>
              <p:nvPr/>
            </p:nvSpPr>
            <p:spPr>
              <a:xfrm>
                <a:off x="2253614"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4" name="Rektangel 1503">
                <a:extLst>
                  <a:ext uri="{FF2B5EF4-FFF2-40B4-BE49-F238E27FC236}">
                    <a16:creationId xmlns:a16="http://schemas.microsoft.com/office/drawing/2014/main" id="{E0DC4B39-5EC3-4651-AACF-3C55EC3C32CA}"/>
                  </a:ext>
                </a:extLst>
              </p:cNvPr>
              <p:cNvSpPr/>
              <p:nvPr/>
            </p:nvSpPr>
            <p:spPr>
              <a:xfrm>
                <a:off x="1977028"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5" name="Rektangel 1504">
                <a:extLst>
                  <a:ext uri="{FF2B5EF4-FFF2-40B4-BE49-F238E27FC236}">
                    <a16:creationId xmlns:a16="http://schemas.microsoft.com/office/drawing/2014/main" id="{14F40209-F69E-4F46-9CE3-0A3D1629CC63}"/>
                  </a:ext>
                </a:extLst>
              </p:cNvPr>
              <p:cNvSpPr/>
              <p:nvPr/>
            </p:nvSpPr>
            <p:spPr>
              <a:xfrm>
                <a:off x="2653707"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6" name="Rektangel 1505">
                <a:extLst>
                  <a:ext uri="{FF2B5EF4-FFF2-40B4-BE49-F238E27FC236}">
                    <a16:creationId xmlns:a16="http://schemas.microsoft.com/office/drawing/2014/main" id="{5F190E8E-F113-4C1F-A141-472356A64F69}"/>
                  </a:ext>
                </a:extLst>
              </p:cNvPr>
              <p:cNvSpPr/>
              <p:nvPr/>
            </p:nvSpPr>
            <p:spPr>
              <a:xfrm>
                <a:off x="2497994"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7" name="Rektangel 1506">
                <a:extLst>
                  <a:ext uri="{FF2B5EF4-FFF2-40B4-BE49-F238E27FC236}">
                    <a16:creationId xmlns:a16="http://schemas.microsoft.com/office/drawing/2014/main" id="{7384EB8B-723B-4925-8854-106D88E20A57}"/>
                  </a:ext>
                </a:extLst>
              </p:cNvPr>
              <p:cNvSpPr/>
              <p:nvPr/>
            </p:nvSpPr>
            <p:spPr>
              <a:xfrm>
                <a:off x="1755402"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8" name="Rektangel 1507">
                <a:extLst>
                  <a:ext uri="{FF2B5EF4-FFF2-40B4-BE49-F238E27FC236}">
                    <a16:creationId xmlns:a16="http://schemas.microsoft.com/office/drawing/2014/main" id="{6AE4ED7F-7BA0-4ED1-A169-681CCC3A929E}"/>
                  </a:ext>
                </a:extLst>
              </p:cNvPr>
              <p:cNvSpPr/>
              <p:nvPr/>
            </p:nvSpPr>
            <p:spPr>
              <a:xfrm>
                <a:off x="162705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9" name="Rektangel 1508">
                <a:extLst>
                  <a:ext uri="{FF2B5EF4-FFF2-40B4-BE49-F238E27FC236}">
                    <a16:creationId xmlns:a16="http://schemas.microsoft.com/office/drawing/2014/main" id="{6397C1AF-ABEE-4DED-AACF-BB32CBF5C961}"/>
                  </a:ext>
                </a:extLst>
              </p:cNvPr>
              <p:cNvSpPr/>
              <p:nvPr/>
            </p:nvSpPr>
            <p:spPr>
              <a:xfrm>
                <a:off x="171391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0" name="Rektangel 1509">
                <a:extLst>
                  <a:ext uri="{FF2B5EF4-FFF2-40B4-BE49-F238E27FC236}">
                    <a16:creationId xmlns:a16="http://schemas.microsoft.com/office/drawing/2014/main" id="{245431BB-9118-48AB-91EE-D8F32699BB95}"/>
                  </a:ext>
                </a:extLst>
              </p:cNvPr>
              <p:cNvSpPr/>
              <p:nvPr/>
            </p:nvSpPr>
            <p:spPr>
              <a:xfrm>
                <a:off x="2456814"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1" name="Rektangel 1510">
                <a:extLst>
                  <a:ext uri="{FF2B5EF4-FFF2-40B4-BE49-F238E27FC236}">
                    <a16:creationId xmlns:a16="http://schemas.microsoft.com/office/drawing/2014/main" id="{1F082636-4778-441C-B5A5-E68DEBAE6000}"/>
                  </a:ext>
                </a:extLst>
              </p:cNvPr>
              <p:cNvSpPr/>
              <p:nvPr/>
            </p:nvSpPr>
            <p:spPr>
              <a:xfrm>
                <a:off x="2180228"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2" name="Rektangel 1511">
                <a:extLst>
                  <a:ext uri="{FF2B5EF4-FFF2-40B4-BE49-F238E27FC236}">
                    <a16:creationId xmlns:a16="http://schemas.microsoft.com/office/drawing/2014/main" id="{EAF9F9B8-31B7-4DBB-B4F4-B528B4E10066}"/>
                  </a:ext>
                </a:extLst>
              </p:cNvPr>
              <p:cNvSpPr/>
              <p:nvPr/>
            </p:nvSpPr>
            <p:spPr>
              <a:xfrm>
                <a:off x="2856907"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3" name="Rektangel 1512">
                <a:extLst>
                  <a:ext uri="{FF2B5EF4-FFF2-40B4-BE49-F238E27FC236}">
                    <a16:creationId xmlns:a16="http://schemas.microsoft.com/office/drawing/2014/main" id="{05B98FE6-C501-4F65-9CE8-F3B7F19631F7}"/>
                  </a:ext>
                </a:extLst>
              </p:cNvPr>
              <p:cNvSpPr/>
              <p:nvPr/>
            </p:nvSpPr>
            <p:spPr>
              <a:xfrm>
                <a:off x="2701194"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4" name="Rektangel 1513">
                <a:extLst>
                  <a:ext uri="{FF2B5EF4-FFF2-40B4-BE49-F238E27FC236}">
                    <a16:creationId xmlns:a16="http://schemas.microsoft.com/office/drawing/2014/main" id="{EFBA006C-5C8F-43B7-9A0B-66C9A945D026}"/>
                  </a:ext>
                </a:extLst>
              </p:cNvPr>
              <p:cNvSpPr/>
              <p:nvPr/>
            </p:nvSpPr>
            <p:spPr>
              <a:xfrm>
                <a:off x="1958602"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5" name="Ellipse 1514">
                <a:extLst>
                  <a:ext uri="{FF2B5EF4-FFF2-40B4-BE49-F238E27FC236}">
                    <a16:creationId xmlns:a16="http://schemas.microsoft.com/office/drawing/2014/main" id="{A82AC859-7658-4798-BA7C-B6F112BA7D00}"/>
                  </a:ext>
                </a:extLst>
              </p:cNvPr>
              <p:cNvSpPr/>
              <p:nvPr/>
            </p:nvSpPr>
            <p:spPr>
              <a:xfrm>
                <a:off x="3064582" y="5032786"/>
                <a:ext cx="165723" cy="9108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6" name="Ellipse 1515">
                <a:extLst>
                  <a:ext uri="{FF2B5EF4-FFF2-40B4-BE49-F238E27FC236}">
                    <a16:creationId xmlns:a16="http://schemas.microsoft.com/office/drawing/2014/main" id="{9BC4DB81-3D4B-4AAF-856C-5069F9D48483}"/>
                  </a:ext>
                </a:extLst>
              </p:cNvPr>
              <p:cNvSpPr/>
              <p:nvPr/>
            </p:nvSpPr>
            <p:spPr>
              <a:xfrm>
                <a:off x="3010944" y="5020033"/>
                <a:ext cx="131706" cy="9295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7" name="Ellipse 1516">
                <a:extLst>
                  <a:ext uri="{FF2B5EF4-FFF2-40B4-BE49-F238E27FC236}">
                    <a16:creationId xmlns:a16="http://schemas.microsoft.com/office/drawing/2014/main" id="{E6546790-FE2B-4623-AF0E-F24B66CE2C36}"/>
                  </a:ext>
                </a:extLst>
              </p:cNvPr>
              <p:cNvSpPr/>
              <p:nvPr/>
            </p:nvSpPr>
            <p:spPr>
              <a:xfrm>
                <a:off x="3036544" y="4984212"/>
                <a:ext cx="114753" cy="91083"/>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8" name="Rektangel 1517">
                <a:extLst>
                  <a:ext uri="{FF2B5EF4-FFF2-40B4-BE49-F238E27FC236}">
                    <a16:creationId xmlns:a16="http://schemas.microsoft.com/office/drawing/2014/main" id="{9C90521D-C6CE-4661-A4D3-B40EC87F767A}"/>
                  </a:ext>
                </a:extLst>
              </p:cNvPr>
              <p:cNvSpPr/>
              <p:nvPr/>
            </p:nvSpPr>
            <p:spPr>
              <a:xfrm>
                <a:off x="3080370" y="5146446"/>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9" name="Rektangel 1518">
                <a:extLst>
                  <a:ext uri="{FF2B5EF4-FFF2-40B4-BE49-F238E27FC236}">
                    <a16:creationId xmlns:a16="http://schemas.microsoft.com/office/drawing/2014/main" id="{0A52176C-FDF2-4CC2-8DCD-48129633F989}"/>
                  </a:ext>
                </a:extLst>
              </p:cNvPr>
              <p:cNvSpPr/>
              <p:nvPr/>
            </p:nvSpPr>
            <p:spPr>
              <a:xfrm>
                <a:off x="3080370" y="546101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0" name="Rektangel 1519">
                <a:extLst>
                  <a:ext uri="{FF2B5EF4-FFF2-40B4-BE49-F238E27FC236}">
                    <a16:creationId xmlns:a16="http://schemas.microsoft.com/office/drawing/2014/main" id="{961048D5-1D60-480F-A226-8AC1063556EA}"/>
                  </a:ext>
                </a:extLst>
              </p:cNvPr>
              <p:cNvSpPr/>
              <p:nvPr/>
            </p:nvSpPr>
            <p:spPr>
              <a:xfrm>
                <a:off x="3080370" y="483847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1" name="Rektangel 1520">
                <a:extLst>
                  <a:ext uri="{FF2B5EF4-FFF2-40B4-BE49-F238E27FC236}">
                    <a16:creationId xmlns:a16="http://schemas.microsoft.com/office/drawing/2014/main" id="{6E1567B5-E344-443D-BE60-258796B8B793}"/>
                  </a:ext>
                </a:extLst>
              </p:cNvPr>
              <p:cNvSpPr/>
              <p:nvPr/>
            </p:nvSpPr>
            <p:spPr>
              <a:xfrm>
                <a:off x="339549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2" name="Rektangel 1521">
                <a:extLst>
                  <a:ext uri="{FF2B5EF4-FFF2-40B4-BE49-F238E27FC236}">
                    <a16:creationId xmlns:a16="http://schemas.microsoft.com/office/drawing/2014/main" id="{8BCEA054-F616-4F3C-BEA9-2A97C4E7CC82}"/>
                  </a:ext>
                </a:extLst>
              </p:cNvPr>
              <p:cNvSpPr/>
              <p:nvPr/>
            </p:nvSpPr>
            <p:spPr>
              <a:xfrm>
                <a:off x="347882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3" name="Rektangel 1522">
                <a:extLst>
                  <a:ext uri="{FF2B5EF4-FFF2-40B4-BE49-F238E27FC236}">
                    <a16:creationId xmlns:a16="http://schemas.microsoft.com/office/drawing/2014/main" id="{B4A3893E-83E5-470C-8642-06FCEEC44CFF}"/>
                  </a:ext>
                </a:extLst>
              </p:cNvPr>
              <p:cNvSpPr/>
              <p:nvPr/>
            </p:nvSpPr>
            <p:spPr>
              <a:xfrm>
                <a:off x="3663350"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4" name="Rektangel 1523">
                <a:extLst>
                  <a:ext uri="{FF2B5EF4-FFF2-40B4-BE49-F238E27FC236}">
                    <a16:creationId xmlns:a16="http://schemas.microsoft.com/office/drawing/2014/main" id="{3355AD96-D93F-428D-A90F-A36F043482CA}"/>
                  </a:ext>
                </a:extLst>
              </p:cNvPr>
              <p:cNvSpPr/>
              <p:nvPr/>
            </p:nvSpPr>
            <p:spPr>
              <a:xfrm>
                <a:off x="3621412"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5" name="Rektangel 1524">
                <a:extLst>
                  <a:ext uri="{FF2B5EF4-FFF2-40B4-BE49-F238E27FC236}">
                    <a16:creationId xmlns:a16="http://schemas.microsoft.com/office/drawing/2014/main" id="{BB2B1872-1BFB-4B1E-960A-087EF0E8E292}"/>
                  </a:ext>
                </a:extLst>
              </p:cNvPr>
              <p:cNvSpPr/>
              <p:nvPr/>
            </p:nvSpPr>
            <p:spPr>
              <a:xfrm>
                <a:off x="3478827"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6" name="Rektangel 1525">
                <a:extLst>
                  <a:ext uri="{FF2B5EF4-FFF2-40B4-BE49-F238E27FC236}">
                    <a16:creationId xmlns:a16="http://schemas.microsoft.com/office/drawing/2014/main" id="{B53A2CB3-52CD-4BCF-A4C0-605810930A80}"/>
                  </a:ext>
                </a:extLst>
              </p:cNvPr>
              <p:cNvSpPr/>
              <p:nvPr/>
            </p:nvSpPr>
            <p:spPr>
              <a:xfrm>
                <a:off x="3621412"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7" name="Rektangel 1526">
                <a:extLst>
                  <a:ext uri="{FF2B5EF4-FFF2-40B4-BE49-F238E27FC236}">
                    <a16:creationId xmlns:a16="http://schemas.microsoft.com/office/drawing/2014/main" id="{C1CEC17E-651C-460C-A841-AFE0DBDFC0D1}"/>
                  </a:ext>
                </a:extLst>
              </p:cNvPr>
              <p:cNvSpPr/>
              <p:nvPr/>
            </p:nvSpPr>
            <p:spPr>
              <a:xfrm>
                <a:off x="3393403"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8" name="Rektangel 1527">
                <a:extLst>
                  <a:ext uri="{FF2B5EF4-FFF2-40B4-BE49-F238E27FC236}">
                    <a16:creationId xmlns:a16="http://schemas.microsoft.com/office/drawing/2014/main" id="{EE3D0283-F3F0-45C5-B33F-F394BCB103FB}"/>
                  </a:ext>
                </a:extLst>
              </p:cNvPr>
              <p:cNvSpPr/>
              <p:nvPr/>
            </p:nvSpPr>
            <p:spPr>
              <a:xfrm>
                <a:off x="3478827" y="4702432"/>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90" name="Gruppe 989">
              <a:extLst>
                <a:ext uri="{FF2B5EF4-FFF2-40B4-BE49-F238E27FC236}">
                  <a16:creationId xmlns:a16="http://schemas.microsoft.com/office/drawing/2014/main" id="{795DDC37-9A8D-4616-9FB0-3FFC0324F17A}"/>
                </a:ext>
              </a:extLst>
            </p:cNvPr>
            <p:cNvGrpSpPr/>
            <p:nvPr/>
          </p:nvGrpSpPr>
          <p:grpSpPr>
            <a:xfrm flipH="1">
              <a:off x="7204140" y="4675110"/>
              <a:ext cx="970004" cy="939600"/>
              <a:chOff x="1610213" y="4933721"/>
              <a:chExt cx="1169253" cy="1099213"/>
            </a:xfrm>
          </p:grpSpPr>
          <p:grpSp>
            <p:nvGrpSpPr>
              <p:cNvPr id="1473" name="Gruppe 1472">
                <a:extLst>
                  <a:ext uri="{FF2B5EF4-FFF2-40B4-BE49-F238E27FC236}">
                    <a16:creationId xmlns:a16="http://schemas.microsoft.com/office/drawing/2014/main" id="{38AB00E1-9DFF-4A85-A3EB-EE5EFDA28AEC}"/>
                  </a:ext>
                </a:extLst>
              </p:cNvPr>
              <p:cNvGrpSpPr/>
              <p:nvPr/>
            </p:nvGrpSpPr>
            <p:grpSpPr>
              <a:xfrm>
                <a:off x="2145228" y="5613320"/>
                <a:ext cx="165543" cy="419614"/>
                <a:chOff x="4852454" y="2916519"/>
                <a:chExt cx="278597" cy="366599"/>
              </a:xfrm>
            </p:grpSpPr>
            <p:sp>
              <p:nvSpPr>
                <p:cNvPr id="1479" name="Rektangel 1478">
                  <a:extLst>
                    <a:ext uri="{FF2B5EF4-FFF2-40B4-BE49-F238E27FC236}">
                      <a16:creationId xmlns:a16="http://schemas.microsoft.com/office/drawing/2014/main" id="{93098845-9AF8-4286-AF46-4A348319F5C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0" name="Rektangel: afrundede hjørner 1479">
                  <a:extLst>
                    <a:ext uri="{FF2B5EF4-FFF2-40B4-BE49-F238E27FC236}">
                      <a16:creationId xmlns:a16="http://schemas.microsoft.com/office/drawing/2014/main" id="{E07619C2-0C57-47E9-9578-7C1189192C3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4" name="Ellipse 1473">
                <a:extLst>
                  <a:ext uri="{FF2B5EF4-FFF2-40B4-BE49-F238E27FC236}">
                    <a16:creationId xmlns:a16="http://schemas.microsoft.com/office/drawing/2014/main" id="{A56D7D96-5AD4-419B-8C08-025CB25D46D4}"/>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5" name="Ellipse 1474">
                <a:extLst>
                  <a:ext uri="{FF2B5EF4-FFF2-40B4-BE49-F238E27FC236}">
                    <a16:creationId xmlns:a16="http://schemas.microsoft.com/office/drawing/2014/main" id="{249600D8-425D-4E28-A433-226568E5100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6" name="Ellipse 1475">
                <a:extLst>
                  <a:ext uri="{FF2B5EF4-FFF2-40B4-BE49-F238E27FC236}">
                    <a16:creationId xmlns:a16="http://schemas.microsoft.com/office/drawing/2014/main" id="{D453CB44-EFDD-44CA-BFDF-EBFE8D21E5CD}"/>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7" name="Ellipse 1476">
                <a:extLst>
                  <a:ext uri="{FF2B5EF4-FFF2-40B4-BE49-F238E27FC236}">
                    <a16:creationId xmlns:a16="http://schemas.microsoft.com/office/drawing/2014/main" id="{1D2CB689-A7DE-4668-ACC0-4B4EE279CF6E}"/>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8" name="Ellipse 1477">
                <a:extLst>
                  <a:ext uri="{FF2B5EF4-FFF2-40B4-BE49-F238E27FC236}">
                    <a16:creationId xmlns:a16="http://schemas.microsoft.com/office/drawing/2014/main" id="{C67CC128-530B-4782-A5AA-E2CB7EB145E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1" name="Rektangel 990">
              <a:extLst>
                <a:ext uri="{FF2B5EF4-FFF2-40B4-BE49-F238E27FC236}">
                  <a16:creationId xmlns:a16="http://schemas.microsoft.com/office/drawing/2014/main" id="{779A918B-23AB-4132-A684-314A1D545A4F}"/>
                </a:ext>
              </a:extLst>
            </p:cNvPr>
            <p:cNvSpPr/>
            <p:nvPr/>
          </p:nvSpPr>
          <p:spPr>
            <a:xfrm rot="5400000">
              <a:off x="7638420" y="5241726"/>
              <a:ext cx="750377"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2" name="Rektangel 991">
              <a:extLst>
                <a:ext uri="{FF2B5EF4-FFF2-40B4-BE49-F238E27FC236}">
                  <a16:creationId xmlns:a16="http://schemas.microsoft.com/office/drawing/2014/main" id="{4588BBC6-80C9-4C22-945B-5A2D49ACB10B}"/>
                </a:ext>
              </a:extLst>
            </p:cNvPr>
            <p:cNvSpPr/>
            <p:nvPr/>
          </p:nvSpPr>
          <p:spPr>
            <a:xfrm>
              <a:off x="8486812" y="4838095"/>
              <a:ext cx="1184999" cy="1142492"/>
            </a:xfrm>
            <a:prstGeom prst="rect">
              <a:avLst/>
            </a:prstGeom>
            <a:gradFill flip="none" rotWithShape="1">
              <a:gsLst>
                <a:gs pos="63000">
                  <a:srgbClr val="8F5757"/>
                </a:gs>
                <a:gs pos="21000">
                  <a:srgbClr val="8F5757"/>
                </a:gs>
                <a:gs pos="0">
                  <a:srgbClr val="8B6767"/>
                </a:gs>
                <a:gs pos="100000">
                  <a:srgbClr val="91616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3" name="Rektangel 992">
              <a:extLst>
                <a:ext uri="{FF2B5EF4-FFF2-40B4-BE49-F238E27FC236}">
                  <a16:creationId xmlns:a16="http://schemas.microsoft.com/office/drawing/2014/main" id="{14E08DC0-85ED-48C9-8A15-91F0EDD8B141}"/>
                </a:ext>
              </a:extLst>
            </p:cNvPr>
            <p:cNvSpPr/>
            <p:nvPr/>
          </p:nvSpPr>
          <p:spPr>
            <a:xfrm>
              <a:off x="9147798" y="4849666"/>
              <a:ext cx="353539" cy="1128210"/>
            </a:xfrm>
            <a:prstGeom prst="rect">
              <a:avLst/>
            </a:prstGeom>
            <a:gradFill flip="none" rotWithShape="1">
              <a:gsLst>
                <a:gs pos="39000">
                  <a:srgbClr val="8F5757"/>
                </a:gs>
                <a:gs pos="0">
                  <a:srgbClr val="8B6767"/>
                </a:gs>
                <a:gs pos="100000">
                  <a:srgbClr val="916161"/>
                </a:gs>
              </a:gsLst>
              <a:lin ang="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994" name="Gruppe 993">
              <a:extLst>
                <a:ext uri="{FF2B5EF4-FFF2-40B4-BE49-F238E27FC236}">
                  <a16:creationId xmlns:a16="http://schemas.microsoft.com/office/drawing/2014/main" id="{94231055-E2DF-4C01-8577-DC3E854C65C7}"/>
                </a:ext>
              </a:extLst>
            </p:cNvPr>
            <p:cNvGrpSpPr/>
            <p:nvPr/>
          </p:nvGrpSpPr>
          <p:grpSpPr>
            <a:xfrm>
              <a:off x="4163020" y="3004456"/>
              <a:ext cx="3554706" cy="2971852"/>
              <a:chOff x="1654814" y="2111604"/>
              <a:chExt cx="4529480" cy="3923488"/>
            </a:xfrm>
          </p:grpSpPr>
          <p:sp>
            <p:nvSpPr>
              <p:cNvPr id="1108" name="Rektangel: afrundede hjørner 1107">
                <a:extLst>
                  <a:ext uri="{FF2B5EF4-FFF2-40B4-BE49-F238E27FC236}">
                    <a16:creationId xmlns:a16="http://schemas.microsoft.com/office/drawing/2014/main" id="{A862F8AF-E8A7-4DFA-A100-C874C7B1098C}"/>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9" name="Rektangel: afrundede hjørner 1108">
                <a:extLst>
                  <a:ext uri="{FF2B5EF4-FFF2-40B4-BE49-F238E27FC236}">
                    <a16:creationId xmlns:a16="http://schemas.microsoft.com/office/drawing/2014/main" id="{39A12C18-335D-472B-8DEB-24EB1FD4A0FA}"/>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0" name="Rektangel: afrundede hjørner 1109">
                <a:extLst>
                  <a:ext uri="{FF2B5EF4-FFF2-40B4-BE49-F238E27FC236}">
                    <a16:creationId xmlns:a16="http://schemas.microsoft.com/office/drawing/2014/main" id="{C01F0A7B-1F59-4F65-AE50-C8F3A44CAF6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1" name="Gruppe 1110">
                <a:extLst>
                  <a:ext uri="{FF2B5EF4-FFF2-40B4-BE49-F238E27FC236}">
                    <a16:creationId xmlns:a16="http://schemas.microsoft.com/office/drawing/2014/main" id="{D2005D57-423F-4622-97EF-57446BCEC05D}"/>
                  </a:ext>
                </a:extLst>
              </p:cNvPr>
              <p:cNvGrpSpPr/>
              <p:nvPr/>
            </p:nvGrpSpPr>
            <p:grpSpPr>
              <a:xfrm>
                <a:off x="2852905" y="4409245"/>
                <a:ext cx="1032122" cy="975758"/>
                <a:chOff x="1610213" y="4933721"/>
                <a:chExt cx="1169253" cy="1099213"/>
              </a:xfrm>
            </p:grpSpPr>
            <p:grpSp>
              <p:nvGrpSpPr>
                <p:cNvPr id="1465" name="Gruppe 1464">
                  <a:extLst>
                    <a:ext uri="{FF2B5EF4-FFF2-40B4-BE49-F238E27FC236}">
                      <a16:creationId xmlns:a16="http://schemas.microsoft.com/office/drawing/2014/main" id="{FC800A27-203C-47F4-924D-F6C4EE018B1B}"/>
                    </a:ext>
                  </a:extLst>
                </p:cNvPr>
                <p:cNvGrpSpPr/>
                <p:nvPr/>
              </p:nvGrpSpPr>
              <p:grpSpPr>
                <a:xfrm>
                  <a:off x="2145228" y="5613320"/>
                  <a:ext cx="165543" cy="419614"/>
                  <a:chOff x="4852454" y="2916519"/>
                  <a:chExt cx="278597" cy="366599"/>
                </a:xfrm>
              </p:grpSpPr>
              <p:sp>
                <p:nvSpPr>
                  <p:cNvPr id="1471" name="Rektangel 1470">
                    <a:extLst>
                      <a:ext uri="{FF2B5EF4-FFF2-40B4-BE49-F238E27FC236}">
                        <a16:creationId xmlns:a16="http://schemas.microsoft.com/office/drawing/2014/main" id="{73451B0D-32ED-4BCC-9B42-80758C1E939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2" name="Rektangel: afrundede hjørner 1471">
                    <a:extLst>
                      <a:ext uri="{FF2B5EF4-FFF2-40B4-BE49-F238E27FC236}">
                        <a16:creationId xmlns:a16="http://schemas.microsoft.com/office/drawing/2014/main" id="{E2D3CBA6-1440-4C04-9E4E-9E7982B14790}"/>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66" name="Ellipse 1465">
                  <a:extLst>
                    <a:ext uri="{FF2B5EF4-FFF2-40B4-BE49-F238E27FC236}">
                      <a16:creationId xmlns:a16="http://schemas.microsoft.com/office/drawing/2014/main" id="{F24D4AA2-5505-4FDD-9010-07BE835DB5F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7" name="Ellipse 1466">
                  <a:extLst>
                    <a:ext uri="{FF2B5EF4-FFF2-40B4-BE49-F238E27FC236}">
                      <a16:creationId xmlns:a16="http://schemas.microsoft.com/office/drawing/2014/main" id="{8F8FD3A9-376D-4313-BF47-1F43E927992E}"/>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8" name="Ellipse 1467">
                  <a:extLst>
                    <a:ext uri="{FF2B5EF4-FFF2-40B4-BE49-F238E27FC236}">
                      <a16:creationId xmlns:a16="http://schemas.microsoft.com/office/drawing/2014/main" id="{70348CB7-221F-4219-A076-81FD2C502759}"/>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9" name="Ellipse 1468">
                  <a:extLst>
                    <a:ext uri="{FF2B5EF4-FFF2-40B4-BE49-F238E27FC236}">
                      <a16:creationId xmlns:a16="http://schemas.microsoft.com/office/drawing/2014/main" id="{7FD634F6-49D0-4126-A901-FB34C445B8A6}"/>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0" name="Ellipse 1469">
                  <a:extLst>
                    <a:ext uri="{FF2B5EF4-FFF2-40B4-BE49-F238E27FC236}">
                      <a16:creationId xmlns:a16="http://schemas.microsoft.com/office/drawing/2014/main" id="{0FEEFA4A-EB56-4280-8491-E4C134B1EBB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2" name="Gruppe 1111">
                <a:extLst>
                  <a:ext uri="{FF2B5EF4-FFF2-40B4-BE49-F238E27FC236}">
                    <a16:creationId xmlns:a16="http://schemas.microsoft.com/office/drawing/2014/main" id="{D28715FD-DF05-4622-B65E-DC81D0D65909}"/>
                  </a:ext>
                </a:extLst>
              </p:cNvPr>
              <p:cNvGrpSpPr/>
              <p:nvPr/>
            </p:nvGrpSpPr>
            <p:grpSpPr>
              <a:xfrm flipH="1">
                <a:off x="4708158" y="4232264"/>
                <a:ext cx="1032122" cy="975758"/>
                <a:chOff x="1610213" y="4933721"/>
                <a:chExt cx="1169253" cy="1099213"/>
              </a:xfrm>
            </p:grpSpPr>
            <p:grpSp>
              <p:nvGrpSpPr>
                <p:cNvPr id="1457" name="Gruppe 1456">
                  <a:extLst>
                    <a:ext uri="{FF2B5EF4-FFF2-40B4-BE49-F238E27FC236}">
                      <a16:creationId xmlns:a16="http://schemas.microsoft.com/office/drawing/2014/main" id="{7E9BB4BE-BFCC-4EE7-BC52-98BA229391F1}"/>
                    </a:ext>
                  </a:extLst>
                </p:cNvPr>
                <p:cNvGrpSpPr/>
                <p:nvPr/>
              </p:nvGrpSpPr>
              <p:grpSpPr>
                <a:xfrm>
                  <a:off x="2145228" y="5613320"/>
                  <a:ext cx="165543" cy="419614"/>
                  <a:chOff x="4852454" y="2916519"/>
                  <a:chExt cx="278597" cy="366599"/>
                </a:xfrm>
              </p:grpSpPr>
              <p:sp>
                <p:nvSpPr>
                  <p:cNvPr id="1463" name="Rektangel 1462">
                    <a:extLst>
                      <a:ext uri="{FF2B5EF4-FFF2-40B4-BE49-F238E27FC236}">
                        <a16:creationId xmlns:a16="http://schemas.microsoft.com/office/drawing/2014/main" id="{15D6957A-6614-4A09-8462-C7AE7DAC1122}"/>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4" name="Rektangel: afrundede hjørner 1463">
                    <a:extLst>
                      <a:ext uri="{FF2B5EF4-FFF2-40B4-BE49-F238E27FC236}">
                        <a16:creationId xmlns:a16="http://schemas.microsoft.com/office/drawing/2014/main" id="{DC4F8D03-4721-425C-8E52-1668652EF92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8" name="Ellipse 1457">
                  <a:extLst>
                    <a:ext uri="{FF2B5EF4-FFF2-40B4-BE49-F238E27FC236}">
                      <a16:creationId xmlns:a16="http://schemas.microsoft.com/office/drawing/2014/main" id="{F083FBF6-9352-43D3-8651-2F7543ADF3C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9" name="Ellipse 1458">
                  <a:extLst>
                    <a:ext uri="{FF2B5EF4-FFF2-40B4-BE49-F238E27FC236}">
                      <a16:creationId xmlns:a16="http://schemas.microsoft.com/office/drawing/2014/main" id="{4687B2C8-64A4-4D06-A83E-8F0142703E83}"/>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0" name="Ellipse 1459">
                  <a:extLst>
                    <a:ext uri="{FF2B5EF4-FFF2-40B4-BE49-F238E27FC236}">
                      <a16:creationId xmlns:a16="http://schemas.microsoft.com/office/drawing/2014/main" id="{FD423282-F89F-4419-87A9-EAEDB1E3E915}"/>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1" name="Ellipse 1460">
                  <a:extLst>
                    <a:ext uri="{FF2B5EF4-FFF2-40B4-BE49-F238E27FC236}">
                      <a16:creationId xmlns:a16="http://schemas.microsoft.com/office/drawing/2014/main" id="{61507A6D-49B6-42DC-B55D-98643991BB9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2" name="Ellipse 1461">
                  <a:extLst>
                    <a:ext uri="{FF2B5EF4-FFF2-40B4-BE49-F238E27FC236}">
                      <a16:creationId xmlns:a16="http://schemas.microsoft.com/office/drawing/2014/main" id="{1276DF44-260C-4845-9743-DDE13CE61F6C}"/>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3" name="Gruppe 1112">
                <a:extLst>
                  <a:ext uri="{FF2B5EF4-FFF2-40B4-BE49-F238E27FC236}">
                    <a16:creationId xmlns:a16="http://schemas.microsoft.com/office/drawing/2014/main" id="{C96A1AA6-2495-4857-B187-A2F5C75C3B87}"/>
                  </a:ext>
                </a:extLst>
              </p:cNvPr>
              <p:cNvGrpSpPr/>
              <p:nvPr/>
            </p:nvGrpSpPr>
            <p:grpSpPr>
              <a:xfrm>
                <a:off x="1654814" y="4240269"/>
                <a:ext cx="1167307" cy="975758"/>
                <a:chOff x="1501738" y="4933721"/>
                <a:chExt cx="1322399" cy="1099213"/>
              </a:xfrm>
            </p:grpSpPr>
            <p:grpSp>
              <p:nvGrpSpPr>
                <p:cNvPr id="1449" name="Gruppe 1448">
                  <a:extLst>
                    <a:ext uri="{FF2B5EF4-FFF2-40B4-BE49-F238E27FC236}">
                      <a16:creationId xmlns:a16="http://schemas.microsoft.com/office/drawing/2014/main" id="{D07584FA-5999-4FFF-9E92-4AB8F757D7BB}"/>
                    </a:ext>
                  </a:extLst>
                </p:cNvPr>
                <p:cNvGrpSpPr/>
                <p:nvPr/>
              </p:nvGrpSpPr>
              <p:grpSpPr>
                <a:xfrm>
                  <a:off x="2145228" y="5613320"/>
                  <a:ext cx="165543" cy="419614"/>
                  <a:chOff x="4852454" y="2916519"/>
                  <a:chExt cx="278597" cy="366599"/>
                </a:xfrm>
              </p:grpSpPr>
              <p:sp>
                <p:nvSpPr>
                  <p:cNvPr id="1455" name="Rektangel 1454">
                    <a:extLst>
                      <a:ext uri="{FF2B5EF4-FFF2-40B4-BE49-F238E27FC236}">
                        <a16:creationId xmlns:a16="http://schemas.microsoft.com/office/drawing/2014/main" id="{02261D1C-98E5-4596-A508-E714B7E1A52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6" name="Rektangel: afrundede hjørner 1455">
                    <a:extLst>
                      <a:ext uri="{FF2B5EF4-FFF2-40B4-BE49-F238E27FC236}">
                        <a16:creationId xmlns:a16="http://schemas.microsoft.com/office/drawing/2014/main" id="{F6874153-3C32-44A8-848B-CD25BD8DB96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0" name="Ellipse 1449">
                  <a:extLst>
                    <a:ext uri="{FF2B5EF4-FFF2-40B4-BE49-F238E27FC236}">
                      <a16:creationId xmlns:a16="http://schemas.microsoft.com/office/drawing/2014/main" id="{E997C15C-2608-490C-955B-09948A23F62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1" name="Ellipse 1450">
                  <a:extLst>
                    <a:ext uri="{FF2B5EF4-FFF2-40B4-BE49-F238E27FC236}">
                      <a16:creationId xmlns:a16="http://schemas.microsoft.com/office/drawing/2014/main" id="{1BDB4B5B-E623-4D32-A9B3-7822EDAAB09A}"/>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2" name="Ellipse 1451">
                  <a:extLst>
                    <a:ext uri="{FF2B5EF4-FFF2-40B4-BE49-F238E27FC236}">
                      <a16:creationId xmlns:a16="http://schemas.microsoft.com/office/drawing/2014/main" id="{C9B69FC1-61EA-48DC-875A-6CAA6E2A55A6}"/>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3" name="Ellipse 1452">
                  <a:extLst>
                    <a:ext uri="{FF2B5EF4-FFF2-40B4-BE49-F238E27FC236}">
                      <a16:creationId xmlns:a16="http://schemas.microsoft.com/office/drawing/2014/main" id="{F0D05405-5F45-4058-85ED-87181B5E3C4C}"/>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4" name="Ellipse 1453">
                  <a:extLst>
                    <a:ext uri="{FF2B5EF4-FFF2-40B4-BE49-F238E27FC236}">
                      <a16:creationId xmlns:a16="http://schemas.microsoft.com/office/drawing/2014/main" id="{0571656E-18D0-4B66-8D60-F4E4645BE8C1}"/>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4" name="Rektangel 1113">
                <a:extLst>
                  <a:ext uri="{FF2B5EF4-FFF2-40B4-BE49-F238E27FC236}">
                    <a16:creationId xmlns:a16="http://schemas.microsoft.com/office/drawing/2014/main" id="{886E7A65-7BCA-4D11-9D9B-D8DF7DE282A0}"/>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5" name="Rektangel 1114">
                <a:extLst>
                  <a:ext uri="{FF2B5EF4-FFF2-40B4-BE49-F238E27FC236}">
                    <a16:creationId xmlns:a16="http://schemas.microsoft.com/office/drawing/2014/main" id="{EC9DEA40-0289-42B6-B242-F8015329896E}"/>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6" name="Rektangel 1115">
                <a:extLst>
                  <a:ext uri="{FF2B5EF4-FFF2-40B4-BE49-F238E27FC236}">
                    <a16:creationId xmlns:a16="http://schemas.microsoft.com/office/drawing/2014/main" id="{794712A0-2140-498D-87F6-3F083DE137DD}"/>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7" name="Rektangel 1116">
                <a:extLst>
                  <a:ext uri="{FF2B5EF4-FFF2-40B4-BE49-F238E27FC236}">
                    <a16:creationId xmlns:a16="http://schemas.microsoft.com/office/drawing/2014/main" id="{A17B26DD-FEB9-4A06-9913-F24913919542}"/>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8" name="Gruppe 1117">
                <a:extLst>
                  <a:ext uri="{FF2B5EF4-FFF2-40B4-BE49-F238E27FC236}">
                    <a16:creationId xmlns:a16="http://schemas.microsoft.com/office/drawing/2014/main" id="{07FB93FD-EA92-4331-A87C-6C8ABAE1CE93}"/>
                  </a:ext>
                </a:extLst>
              </p:cNvPr>
              <p:cNvGrpSpPr/>
              <p:nvPr/>
            </p:nvGrpSpPr>
            <p:grpSpPr>
              <a:xfrm>
                <a:off x="1698371" y="4660669"/>
                <a:ext cx="4376784" cy="325426"/>
                <a:chOff x="1209635" y="3152432"/>
                <a:chExt cx="9240230" cy="585788"/>
              </a:xfrm>
            </p:grpSpPr>
            <p:sp>
              <p:nvSpPr>
                <p:cNvPr id="1446" name="Retvinklet trekant 1445">
                  <a:extLst>
                    <a:ext uri="{FF2B5EF4-FFF2-40B4-BE49-F238E27FC236}">
                      <a16:creationId xmlns:a16="http://schemas.microsoft.com/office/drawing/2014/main" id="{5060644D-E60C-4B8B-A519-29D0B647BFB1}"/>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7" name="Rektangel 1446">
                  <a:extLst>
                    <a:ext uri="{FF2B5EF4-FFF2-40B4-BE49-F238E27FC236}">
                      <a16:creationId xmlns:a16="http://schemas.microsoft.com/office/drawing/2014/main" id="{C91F750F-0949-4F73-A361-9D50652468A9}"/>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8" name="Retvinklet trekant 1447">
                  <a:extLst>
                    <a:ext uri="{FF2B5EF4-FFF2-40B4-BE49-F238E27FC236}">
                      <a16:creationId xmlns:a16="http://schemas.microsoft.com/office/drawing/2014/main" id="{AEAE42CD-28E3-4200-8BB4-192A152E9F32}"/>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9" name="Rektangel 1118">
                <a:extLst>
                  <a:ext uri="{FF2B5EF4-FFF2-40B4-BE49-F238E27FC236}">
                    <a16:creationId xmlns:a16="http://schemas.microsoft.com/office/drawing/2014/main" id="{9BA742B7-5D69-4648-ADFE-4D627F42B16E}"/>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0" name="Rektangel 1119">
                <a:extLst>
                  <a:ext uri="{FF2B5EF4-FFF2-40B4-BE49-F238E27FC236}">
                    <a16:creationId xmlns:a16="http://schemas.microsoft.com/office/drawing/2014/main" id="{EC8D5062-A6A5-4FB3-846E-AC7CADE356F3}"/>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21" name="Gruppe 1120">
                <a:extLst>
                  <a:ext uri="{FF2B5EF4-FFF2-40B4-BE49-F238E27FC236}">
                    <a16:creationId xmlns:a16="http://schemas.microsoft.com/office/drawing/2014/main" id="{914ED149-52FA-4E78-9E85-D389D014E6DA}"/>
                  </a:ext>
                </a:extLst>
              </p:cNvPr>
              <p:cNvGrpSpPr/>
              <p:nvPr/>
            </p:nvGrpSpPr>
            <p:grpSpPr>
              <a:xfrm>
                <a:off x="1827227" y="5182532"/>
                <a:ext cx="110215" cy="202903"/>
                <a:chOff x="1758507" y="5170209"/>
                <a:chExt cx="156925" cy="285896"/>
              </a:xfrm>
            </p:grpSpPr>
            <p:sp>
              <p:nvSpPr>
                <p:cNvPr id="1443" name="Rektangel 1442">
                  <a:extLst>
                    <a:ext uri="{FF2B5EF4-FFF2-40B4-BE49-F238E27FC236}">
                      <a16:creationId xmlns:a16="http://schemas.microsoft.com/office/drawing/2014/main" id="{2808BCCD-82CD-4F52-ABEA-B1B8B664355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4" name="Lige forbindelse 1443">
                  <a:extLst>
                    <a:ext uri="{FF2B5EF4-FFF2-40B4-BE49-F238E27FC236}">
                      <a16:creationId xmlns:a16="http://schemas.microsoft.com/office/drawing/2014/main" id="{78CE9889-DA57-4BE1-9C68-19B2B01DB366}"/>
                    </a:ext>
                  </a:extLst>
                </p:cNvPr>
                <p:cNvCxnSpPr>
                  <a:cxnSpLocks/>
                  <a:stCxn id="1443" idx="0"/>
                  <a:endCxn id="144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5" name="Lige forbindelse 1444">
                  <a:extLst>
                    <a:ext uri="{FF2B5EF4-FFF2-40B4-BE49-F238E27FC236}">
                      <a16:creationId xmlns:a16="http://schemas.microsoft.com/office/drawing/2014/main" id="{B1073E62-5706-470F-865F-497ADD036BF2}"/>
                    </a:ext>
                  </a:extLst>
                </p:cNvPr>
                <p:cNvCxnSpPr>
                  <a:cxnSpLocks/>
                  <a:stCxn id="1443" idx="1"/>
                  <a:endCxn id="144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2" name="Gruppe 1121">
                <a:extLst>
                  <a:ext uri="{FF2B5EF4-FFF2-40B4-BE49-F238E27FC236}">
                    <a16:creationId xmlns:a16="http://schemas.microsoft.com/office/drawing/2014/main" id="{622F9377-6E11-4728-BA1F-65058314354B}"/>
                  </a:ext>
                </a:extLst>
              </p:cNvPr>
              <p:cNvGrpSpPr/>
              <p:nvPr/>
            </p:nvGrpSpPr>
            <p:grpSpPr>
              <a:xfrm>
                <a:off x="2018117" y="5182532"/>
                <a:ext cx="110215" cy="202903"/>
                <a:chOff x="1758507" y="5170209"/>
                <a:chExt cx="156925" cy="285896"/>
              </a:xfrm>
            </p:grpSpPr>
            <p:sp>
              <p:nvSpPr>
                <p:cNvPr id="1440" name="Rektangel 1439">
                  <a:extLst>
                    <a:ext uri="{FF2B5EF4-FFF2-40B4-BE49-F238E27FC236}">
                      <a16:creationId xmlns:a16="http://schemas.microsoft.com/office/drawing/2014/main" id="{18ECFB4A-CF15-41BD-A05E-648393F8A7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1" name="Lige forbindelse 1440">
                  <a:extLst>
                    <a:ext uri="{FF2B5EF4-FFF2-40B4-BE49-F238E27FC236}">
                      <a16:creationId xmlns:a16="http://schemas.microsoft.com/office/drawing/2014/main" id="{D96FCD53-5DFA-4FCD-8296-22DAFAF572F0}"/>
                    </a:ext>
                  </a:extLst>
                </p:cNvPr>
                <p:cNvCxnSpPr>
                  <a:cxnSpLocks/>
                  <a:stCxn id="1440" idx="0"/>
                  <a:endCxn id="144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2" name="Lige forbindelse 1441">
                  <a:extLst>
                    <a:ext uri="{FF2B5EF4-FFF2-40B4-BE49-F238E27FC236}">
                      <a16:creationId xmlns:a16="http://schemas.microsoft.com/office/drawing/2014/main" id="{6C40197E-7340-4266-AE6A-42B9F1054C76}"/>
                    </a:ext>
                  </a:extLst>
                </p:cNvPr>
                <p:cNvCxnSpPr>
                  <a:cxnSpLocks/>
                  <a:stCxn id="1440" idx="1"/>
                  <a:endCxn id="144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3" name="Gruppe 1122">
                <a:extLst>
                  <a:ext uri="{FF2B5EF4-FFF2-40B4-BE49-F238E27FC236}">
                    <a16:creationId xmlns:a16="http://schemas.microsoft.com/office/drawing/2014/main" id="{504FCF5C-3010-4A8E-93C0-AC3B054E32F4}"/>
                  </a:ext>
                </a:extLst>
              </p:cNvPr>
              <p:cNvGrpSpPr/>
              <p:nvPr/>
            </p:nvGrpSpPr>
            <p:grpSpPr>
              <a:xfrm>
                <a:off x="2209008" y="5182532"/>
                <a:ext cx="110215" cy="202903"/>
                <a:chOff x="1758507" y="5170209"/>
                <a:chExt cx="156925" cy="285896"/>
              </a:xfrm>
            </p:grpSpPr>
            <p:sp>
              <p:nvSpPr>
                <p:cNvPr id="1437" name="Rektangel 1436">
                  <a:extLst>
                    <a:ext uri="{FF2B5EF4-FFF2-40B4-BE49-F238E27FC236}">
                      <a16:creationId xmlns:a16="http://schemas.microsoft.com/office/drawing/2014/main" id="{757623A4-B49F-4248-BFC1-FF3BEF5121F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8" name="Lige forbindelse 1437">
                  <a:extLst>
                    <a:ext uri="{FF2B5EF4-FFF2-40B4-BE49-F238E27FC236}">
                      <a16:creationId xmlns:a16="http://schemas.microsoft.com/office/drawing/2014/main" id="{1861A36A-434B-432D-B8F7-F2404EB6469B}"/>
                    </a:ext>
                  </a:extLst>
                </p:cNvPr>
                <p:cNvCxnSpPr>
                  <a:cxnSpLocks/>
                  <a:stCxn id="1437" idx="0"/>
                  <a:endCxn id="143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9" name="Lige forbindelse 1438">
                  <a:extLst>
                    <a:ext uri="{FF2B5EF4-FFF2-40B4-BE49-F238E27FC236}">
                      <a16:creationId xmlns:a16="http://schemas.microsoft.com/office/drawing/2014/main" id="{91BF85F8-48A2-4C9A-9A5D-3CCD5E414B23}"/>
                    </a:ext>
                  </a:extLst>
                </p:cNvPr>
                <p:cNvCxnSpPr>
                  <a:cxnSpLocks/>
                  <a:stCxn id="1437" idx="1"/>
                  <a:endCxn id="143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4" name="Gruppe 1123">
                <a:extLst>
                  <a:ext uri="{FF2B5EF4-FFF2-40B4-BE49-F238E27FC236}">
                    <a16:creationId xmlns:a16="http://schemas.microsoft.com/office/drawing/2014/main" id="{C440B6E9-6836-4233-8EEC-588622106987}"/>
                  </a:ext>
                </a:extLst>
              </p:cNvPr>
              <p:cNvGrpSpPr/>
              <p:nvPr/>
            </p:nvGrpSpPr>
            <p:grpSpPr>
              <a:xfrm>
                <a:off x="2399898" y="5182532"/>
                <a:ext cx="110215" cy="202903"/>
                <a:chOff x="1758507" y="5170209"/>
                <a:chExt cx="156925" cy="285896"/>
              </a:xfrm>
            </p:grpSpPr>
            <p:sp>
              <p:nvSpPr>
                <p:cNvPr id="1434" name="Rektangel 1433">
                  <a:extLst>
                    <a:ext uri="{FF2B5EF4-FFF2-40B4-BE49-F238E27FC236}">
                      <a16:creationId xmlns:a16="http://schemas.microsoft.com/office/drawing/2014/main" id="{0B633FD7-FD01-4F03-9F01-A2CADC2F8DF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5" name="Lige forbindelse 1434">
                  <a:extLst>
                    <a:ext uri="{FF2B5EF4-FFF2-40B4-BE49-F238E27FC236}">
                      <a16:creationId xmlns:a16="http://schemas.microsoft.com/office/drawing/2014/main" id="{B8F8FCE2-5AB6-445F-B0F6-BB21087907A0}"/>
                    </a:ext>
                  </a:extLst>
                </p:cNvPr>
                <p:cNvCxnSpPr>
                  <a:cxnSpLocks/>
                  <a:stCxn id="1434" idx="0"/>
                  <a:endCxn id="143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6" name="Lige forbindelse 1435">
                  <a:extLst>
                    <a:ext uri="{FF2B5EF4-FFF2-40B4-BE49-F238E27FC236}">
                      <a16:creationId xmlns:a16="http://schemas.microsoft.com/office/drawing/2014/main" id="{24D8B0D8-1213-4D12-AA23-F997F602A154}"/>
                    </a:ext>
                  </a:extLst>
                </p:cNvPr>
                <p:cNvCxnSpPr>
                  <a:cxnSpLocks/>
                  <a:stCxn id="1434" idx="1"/>
                  <a:endCxn id="143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5" name="Gruppe 1124">
                <a:extLst>
                  <a:ext uri="{FF2B5EF4-FFF2-40B4-BE49-F238E27FC236}">
                    <a16:creationId xmlns:a16="http://schemas.microsoft.com/office/drawing/2014/main" id="{99569D9A-0B95-4F7D-94F0-53BBC1A5AF93}"/>
                  </a:ext>
                </a:extLst>
              </p:cNvPr>
              <p:cNvGrpSpPr/>
              <p:nvPr/>
            </p:nvGrpSpPr>
            <p:grpSpPr>
              <a:xfrm>
                <a:off x="2590789" y="5182532"/>
                <a:ext cx="110215" cy="202903"/>
                <a:chOff x="1758507" y="5170209"/>
                <a:chExt cx="156925" cy="285896"/>
              </a:xfrm>
            </p:grpSpPr>
            <p:sp>
              <p:nvSpPr>
                <p:cNvPr id="1431" name="Rektangel 1430">
                  <a:extLst>
                    <a:ext uri="{FF2B5EF4-FFF2-40B4-BE49-F238E27FC236}">
                      <a16:creationId xmlns:a16="http://schemas.microsoft.com/office/drawing/2014/main" id="{5E3ACD93-187B-4757-9CDB-A11F394C336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2" name="Lige forbindelse 1431">
                  <a:extLst>
                    <a:ext uri="{FF2B5EF4-FFF2-40B4-BE49-F238E27FC236}">
                      <a16:creationId xmlns:a16="http://schemas.microsoft.com/office/drawing/2014/main" id="{A87D693B-DD2A-4D87-8F62-FE5DF7D4F014}"/>
                    </a:ext>
                  </a:extLst>
                </p:cNvPr>
                <p:cNvCxnSpPr>
                  <a:cxnSpLocks/>
                  <a:stCxn id="1431" idx="0"/>
                  <a:endCxn id="143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3" name="Lige forbindelse 1432">
                  <a:extLst>
                    <a:ext uri="{FF2B5EF4-FFF2-40B4-BE49-F238E27FC236}">
                      <a16:creationId xmlns:a16="http://schemas.microsoft.com/office/drawing/2014/main" id="{FAAEFC57-28FF-44B5-98D8-FD10DCA97519}"/>
                    </a:ext>
                  </a:extLst>
                </p:cNvPr>
                <p:cNvCxnSpPr>
                  <a:cxnSpLocks/>
                  <a:stCxn id="1431" idx="1"/>
                  <a:endCxn id="143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6" name="Gruppe 1125">
                <a:extLst>
                  <a:ext uri="{FF2B5EF4-FFF2-40B4-BE49-F238E27FC236}">
                    <a16:creationId xmlns:a16="http://schemas.microsoft.com/office/drawing/2014/main" id="{DBCB73A7-7193-40C7-8B74-6491F309C5A6}"/>
                  </a:ext>
                </a:extLst>
              </p:cNvPr>
              <p:cNvGrpSpPr/>
              <p:nvPr/>
            </p:nvGrpSpPr>
            <p:grpSpPr>
              <a:xfrm>
                <a:off x="2781680" y="5182532"/>
                <a:ext cx="110215" cy="202903"/>
                <a:chOff x="1758507" y="5170209"/>
                <a:chExt cx="156925" cy="285896"/>
              </a:xfrm>
            </p:grpSpPr>
            <p:sp>
              <p:nvSpPr>
                <p:cNvPr id="1428" name="Rektangel 1427">
                  <a:extLst>
                    <a:ext uri="{FF2B5EF4-FFF2-40B4-BE49-F238E27FC236}">
                      <a16:creationId xmlns:a16="http://schemas.microsoft.com/office/drawing/2014/main" id="{DD094EF1-F5AA-4F68-9CE3-E40DA6EE61F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9" name="Lige forbindelse 1428">
                  <a:extLst>
                    <a:ext uri="{FF2B5EF4-FFF2-40B4-BE49-F238E27FC236}">
                      <a16:creationId xmlns:a16="http://schemas.microsoft.com/office/drawing/2014/main" id="{15729816-D550-4905-9A8E-B8DB174B194A}"/>
                    </a:ext>
                  </a:extLst>
                </p:cNvPr>
                <p:cNvCxnSpPr>
                  <a:cxnSpLocks/>
                  <a:stCxn id="1428" idx="0"/>
                  <a:endCxn id="142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0" name="Lige forbindelse 1429">
                  <a:extLst>
                    <a:ext uri="{FF2B5EF4-FFF2-40B4-BE49-F238E27FC236}">
                      <a16:creationId xmlns:a16="http://schemas.microsoft.com/office/drawing/2014/main" id="{6EB6D8BF-4902-4D00-982F-83FC0A422DBC}"/>
                    </a:ext>
                  </a:extLst>
                </p:cNvPr>
                <p:cNvCxnSpPr>
                  <a:cxnSpLocks/>
                  <a:stCxn id="1428" idx="1"/>
                  <a:endCxn id="142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7" name="Gruppe 1126">
                <a:extLst>
                  <a:ext uri="{FF2B5EF4-FFF2-40B4-BE49-F238E27FC236}">
                    <a16:creationId xmlns:a16="http://schemas.microsoft.com/office/drawing/2014/main" id="{51599454-6348-4746-A944-8D0AF5965E9B}"/>
                  </a:ext>
                </a:extLst>
              </p:cNvPr>
              <p:cNvGrpSpPr/>
              <p:nvPr/>
            </p:nvGrpSpPr>
            <p:grpSpPr>
              <a:xfrm>
                <a:off x="2972570" y="5182532"/>
                <a:ext cx="110215" cy="202903"/>
                <a:chOff x="1758507" y="5170209"/>
                <a:chExt cx="156925" cy="285896"/>
              </a:xfrm>
            </p:grpSpPr>
            <p:sp>
              <p:nvSpPr>
                <p:cNvPr id="1425" name="Rektangel 1424">
                  <a:extLst>
                    <a:ext uri="{FF2B5EF4-FFF2-40B4-BE49-F238E27FC236}">
                      <a16:creationId xmlns:a16="http://schemas.microsoft.com/office/drawing/2014/main" id="{2F038F86-2912-41C5-8A8C-E692EABD55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6" name="Lige forbindelse 1425">
                  <a:extLst>
                    <a:ext uri="{FF2B5EF4-FFF2-40B4-BE49-F238E27FC236}">
                      <a16:creationId xmlns:a16="http://schemas.microsoft.com/office/drawing/2014/main" id="{2561D901-F90D-46DB-A291-4D5CFD0BA140}"/>
                    </a:ext>
                  </a:extLst>
                </p:cNvPr>
                <p:cNvCxnSpPr>
                  <a:cxnSpLocks/>
                  <a:stCxn id="1425" idx="0"/>
                  <a:endCxn id="142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7" name="Lige forbindelse 1426">
                  <a:extLst>
                    <a:ext uri="{FF2B5EF4-FFF2-40B4-BE49-F238E27FC236}">
                      <a16:creationId xmlns:a16="http://schemas.microsoft.com/office/drawing/2014/main" id="{42E956E9-470C-43F9-B1D2-2F661BF4D499}"/>
                    </a:ext>
                  </a:extLst>
                </p:cNvPr>
                <p:cNvCxnSpPr>
                  <a:cxnSpLocks/>
                  <a:stCxn id="1425" idx="1"/>
                  <a:endCxn id="142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8" name="Gruppe 1127">
                <a:extLst>
                  <a:ext uri="{FF2B5EF4-FFF2-40B4-BE49-F238E27FC236}">
                    <a16:creationId xmlns:a16="http://schemas.microsoft.com/office/drawing/2014/main" id="{37CE62C9-85ED-48CA-BC5E-D473FECBBC3B}"/>
                  </a:ext>
                </a:extLst>
              </p:cNvPr>
              <p:cNvGrpSpPr/>
              <p:nvPr/>
            </p:nvGrpSpPr>
            <p:grpSpPr>
              <a:xfrm>
                <a:off x="3163460" y="5182532"/>
                <a:ext cx="110215" cy="202903"/>
                <a:chOff x="1758507" y="5170209"/>
                <a:chExt cx="156925" cy="285896"/>
              </a:xfrm>
            </p:grpSpPr>
            <p:sp>
              <p:nvSpPr>
                <p:cNvPr id="1422" name="Rektangel 1421">
                  <a:extLst>
                    <a:ext uri="{FF2B5EF4-FFF2-40B4-BE49-F238E27FC236}">
                      <a16:creationId xmlns:a16="http://schemas.microsoft.com/office/drawing/2014/main" id="{A450ED21-EE17-4F3B-BB87-B118506E90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3" name="Lige forbindelse 1422">
                  <a:extLst>
                    <a:ext uri="{FF2B5EF4-FFF2-40B4-BE49-F238E27FC236}">
                      <a16:creationId xmlns:a16="http://schemas.microsoft.com/office/drawing/2014/main" id="{1F9E7C00-1DE9-43A5-B2B0-19F29C9FCDFB}"/>
                    </a:ext>
                  </a:extLst>
                </p:cNvPr>
                <p:cNvCxnSpPr>
                  <a:cxnSpLocks/>
                  <a:stCxn id="1422" idx="0"/>
                  <a:endCxn id="142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4" name="Lige forbindelse 1423">
                  <a:extLst>
                    <a:ext uri="{FF2B5EF4-FFF2-40B4-BE49-F238E27FC236}">
                      <a16:creationId xmlns:a16="http://schemas.microsoft.com/office/drawing/2014/main" id="{309032E1-BC27-4DC9-9700-78720BCE44AB}"/>
                    </a:ext>
                  </a:extLst>
                </p:cNvPr>
                <p:cNvCxnSpPr>
                  <a:cxnSpLocks/>
                  <a:stCxn id="1422" idx="1"/>
                  <a:endCxn id="142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9" name="Gruppe 1128">
                <a:extLst>
                  <a:ext uri="{FF2B5EF4-FFF2-40B4-BE49-F238E27FC236}">
                    <a16:creationId xmlns:a16="http://schemas.microsoft.com/office/drawing/2014/main" id="{1D12B521-8686-4662-BD4C-0A27DC2A635F}"/>
                  </a:ext>
                </a:extLst>
              </p:cNvPr>
              <p:cNvGrpSpPr/>
              <p:nvPr/>
            </p:nvGrpSpPr>
            <p:grpSpPr>
              <a:xfrm>
                <a:off x="3354351" y="5182532"/>
                <a:ext cx="110215" cy="202903"/>
                <a:chOff x="1758507" y="5170209"/>
                <a:chExt cx="156925" cy="285896"/>
              </a:xfrm>
            </p:grpSpPr>
            <p:sp>
              <p:nvSpPr>
                <p:cNvPr id="1419" name="Rektangel 1418">
                  <a:extLst>
                    <a:ext uri="{FF2B5EF4-FFF2-40B4-BE49-F238E27FC236}">
                      <a16:creationId xmlns:a16="http://schemas.microsoft.com/office/drawing/2014/main" id="{59D166A3-DD32-4A73-8706-22E6C5F8C1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0" name="Lige forbindelse 1419">
                  <a:extLst>
                    <a:ext uri="{FF2B5EF4-FFF2-40B4-BE49-F238E27FC236}">
                      <a16:creationId xmlns:a16="http://schemas.microsoft.com/office/drawing/2014/main" id="{C095BA74-433E-46A9-848B-49E70F18785A}"/>
                    </a:ext>
                  </a:extLst>
                </p:cNvPr>
                <p:cNvCxnSpPr>
                  <a:cxnSpLocks/>
                  <a:stCxn id="1419" idx="0"/>
                  <a:endCxn id="141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1" name="Lige forbindelse 1420">
                  <a:extLst>
                    <a:ext uri="{FF2B5EF4-FFF2-40B4-BE49-F238E27FC236}">
                      <a16:creationId xmlns:a16="http://schemas.microsoft.com/office/drawing/2014/main" id="{9B940E2B-D319-4F25-B9F7-571C86E7A2F6}"/>
                    </a:ext>
                  </a:extLst>
                </p:cNvPr>
                <p:cNvCxnSpPr>
                  <a:cxnSpLocks/>
                  <a:stCxn id="1419" idx="1"/>
                  <a:endCxn id="141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0" name="Gruppe 1129">
                <a:extLst>
                  <a:ext uri="{FF2B5EF4-FFF2-40B4-BE49-F238E27FC236}">
                    <a16:creationId xmlns:a16="http://schemas.microsoft.com/office/drawing/2014/main" id="{071EB156-1F1F-414E-B294-F54BEFB1BB40}"/>
                  </a:ext>
                </a:extLst>
              </p:cNvPr>
              <p:cNvGrpSpPr/>
              <p:nvPr/>
            </p:nvGrpSpPr>
            <p:grpSpPr>
              <a:xfrm>
                <a:off x="3545241" y="5182532"/>
                <a:ext cx="110215" cy="202903"/>
                <a:chOff x="1758507" y="5170209"/>
                <a:chExt cx="156925" cy="285896"/>
              </a:xfrm>
            </p:grpSpPr>
            <p:sp>
              <p:nvSpPr>
                <p:cNvPr id="1416" name="Rektangel 1415">
                  <a:extLst>
                    <a:ext uri="{FF2B5EF4-FFF2-40B4-BE49-F238E27FC236}">
                      <a16:creationId xmlns:a16="http://schemas.microsoft.com/office/drawing/2014/main" id="{8C045CA2-572E-46B8-8D9D-FC8E84BB7FD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7" name="Lige forbindelse 1416">
                  <a:extLst>
                    <a:ext uri="{FF2B5EF4-FFF2-40B4-BE49-F238E27FC236}">
                      <a16:creationId xmlns:a16="http://schemas.microsoft.com/office/drawing/2014/main" id="{CE8356D6-3CC5-4A47-8548-D09B73D79A36}"/>
                    </a:ext>
                  </a:extLst>
                </p:cNvPr>
                <p:cNvCxnSpPr>
                  <a:cxnSpLocks/>
                  <a:stCxn id="1416" idx="0"/>
                  <a:endCxn id="141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8" name="Lige forbindelse 1417">
                  <a:extLst>
                    <a:ext uri="{FF2B5EF4-FFF2-40B4-BE49-F238E27FC236}">
                      <a16:creationId xmlns:a16="http://schemas.microsoft.com/office/drawing/2014/main" id="{F01003AB-6003-40A6-855B-2CA0C2D98839}"/>
                    </a:ext>
                  </a:extLst>
                </p:cNvPr>
                <p:cNvCxnSpPr>
                  <a:cxnSpLocks/>
                  <a:stCxn id="1416" idx="1"/>
                  <a:endCxn id="141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1" name="Gruppe 1130">
                <a:extLst>
                  <a:ext uri="{FF2B5EF4-FFF2-40B4-BE49-F238E27FC236}">
                    <a16:creationId xmlns:a16="http://schemas.microsoft.com/office/drawing/2014/main" id="{293BB7F7-83A6-4515-B243-3A36A0D8D6F3}"/>
                  </a:ext>
                </a:extLst>
              </p:cNvPr>
              <p:cNvGrpSpPr/>
              <p:nvPr/>
            </p:nvGrpSpPr>
            <p:grpSpPr>
              <a:xfrm>
                <a:off x="3736132" y="5182532"/>
                <a:ext cx="110215" cy="202903"/>
                <a:chOff x="1758507" y="5170209"/>
                <a:chExt cx="156925" cy="285896"/>
              </a:xfrm>
            </p:grpSpPr>
            <p:sp>
              <p:nvSpPr>
                <p:cNvPr id="1413" name="Rektangel 1412">
                  <a:extLst>
                    <a:ext uri="{FF2B5EF4-FFF2-40B4-BE49-F238E27FC236}">
                      <a16:creationId xmlns:a16="http://schemas.microsoft.com/office/drawing/2014/main" id="{D412086E-DA03-44E8-B5ED-9288F6AD5C0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4" name="Lige forbindelse 1413">
                  <a:extLst>
                    <a:ext uri="{FF2B5EF4-FFF2-40B4-BE49-F238E27FC236}">
                      <a16:creationId xmlns:a16="http://schemas.microsoft.com/office/drawing/2014/main" id="{F7DF599D-A501-4298-9F5C-2F7AE1044D73}"/>
                    </a:ext>
                  </a:extLst>
                </p:cNvPr>
                <p:cNvCxnSpPr>
                  <a:cxnSpLocks/>
                  <a:stCxn id="1413" idx="0"/>
                  <a:endCxn id="141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5" name="Lige forbindelse 1414">
                  <a:extLst>
                    <a:ext uri="{FF2B5EF4-FFF2-40B4-BE49-F238E27FC236}">
                      <a16:creationId xmlns:a16="http://schemas.microsoft.com/office/drawing/2014/main" id="{0034D848-12FD-4D52-BE07-AF6EF642CDE6}"/>
                    </a:ext>
                  </a:extLst>
                </p:cNvPr>
                <p:cNvCxnSpPr>
                  <a:cxnSpLocks/>
                  <a:stCxn id="1413" idx="1"/>
                  <a:endCxn id="141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2" name="Gruppe 1131">
                <a:extLst>
                  <a:ext uri="{FF2B5EF4-FFF2-40B4-BE49-F238E27FC236}">
                    <a16:creationId xmlns:a16="http://schemas.microsoft.com/office/drawing/2014/main" id="{8521A0B1-D78A-42EE-8D19-0EAF2197B5E8}"/>
                  </a:ext>
                </a:extLst>
              </p:cNvPr>
              <p:cNvGrpSpPr/>
              <p:nvPr/>
            </p:nvGrpSpPr>
            <p:grpSpPr>
              <a:xfrm>
                <a:off x="3927023" y="5182532"/>
                <a:ext cx="110215" cy="202903"/>
                <a:chOff x="1758507" y="5170209"/>
                <a:chExt cx="156925" cy="285896"/>
              </a:xfrm>
            </p:grpSpPr>
            <p:sp>
              <p:nvSpPr>
                <p:cNvPr id="1410" name="Rektangel 1409">
                  <a:extLst>
                    <a:ext uri="{FF2B5EF4-FFF2-40B4-BE49-F238E27FC236}">
                      <a16:creationId xmlns:a16="http://schemas.microsoft.com/office/drawing/2014/main" id="{26CB76AB-6C12-4F77-A2B0-2F73DA4E925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1" name="Lige forbindelse 1410">
                  <a:extLst>
                    <a:ext uri="{FF2B5EF4-FFF2-40B4-BE49-F238E27FC236}">
                      <a16:creationId xmlns:a16="http://schemas.microsoft.com/office/drawing/2014/main" id="{ABCB706A-8A85-4948-B37D-8DB3151E82AC}"/>
                    </a:ext>
                  </a:extLst>
                </p:cNvPr>
                <p:cNvCxnSpPr>
                  <a:cxnSpLocks/>
                  <a:stCxn id="1410" idx="0"/>
                  <a:endCxn id="141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2" name="Lige forbindelse 1411">
                  <a:extLst>
                    <a:ext uri="{FF2B5EF4-FFF2-40B4-BE49-F238E27FC236}">
                      <a16:creationId xmlns:a16="http://schemas.microsoft.com/office/drawing/2014/main" id="{E8F29C79-857B-4FFA-8A17-F410E254438A}"/>
                    </a:ext>
                  </a:extLst>
                </p:cNvPr>
                <p:cNvCxnSpPr>
                  <a:cxnSpLocks/>
                  <a:stCxn id="1410" idx="1"/>
                  <a:endCxn id="141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3" name="Gruppe 1132">
                <a:extLst>
                  <a:ext uri="{FF2B5EF4-FFF2-40B4-BE49-F238E27FC236}">
                    <a16:creationId xmlns:a16="http://schemas.microsoft.com/office/drawing/2014/main" id="{061A2F66-8F84-458C-8FEA-410E6E9A613F}"/>
                  </a:ext>
                </a:extLst>
              </p:cNvPr>
              <p:cNvGrpSpPr/>
              <p:nvPr/>
            </p:nvGrpSpPr>
            <p:grpSpPr>
              <a:xfrm>
                <a:off x="4117913" y="5182532"/>
                <a:ext cx="110215" cy="202903"/>
                <a:chOff x="1758507" y="5170209"/>
                <a:chExt cx="156925" cy="285896"/>
              </a:xfrm>
            </p:grpSpPr>
            <p:sp>
              <p:nvSpPr>
                <p:cNvPr id="1407" name="Rektangel 1406">
                  <a:extLst>
                    <a:ext uri="{FF2B5EF4-FFF2-40B4-BE49-F238E27FC236}">
                      <a16:creationId xmlns:a16="http://schemas.microsoft.com/office/drawing/2014/main" id="{6EDE93FD-424B-4800-92D4-B500B175B2A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8" name="Lige forbindelse 1407">
                  <a:extLst>
                    <a:ext uri="{FF2B5EF4-FFF2-40B4-BE49-F238E27FC236}">
                      <a16:creationId xmlns:a16="http://schemas.microsoft.com/office/drawing/2014/main" id="{0F4A8B31-4815-4F90-8FD9-7477C99C9B02}"/>
                    </a:ext>
                  </a:extLst>
                </p:cNvPr>
                <p:cNvCxnSpPr>
                  <a:cxnSpLocks/>
                  <a:stCxn id="1407" idx="0"/>
                  <a:endCxn id="140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9" name="Lige forbindelse 1408">
                  <a:extLst>
                    <a:ext uri="{FF2B5EF4-FFF2-40B4-BE49-F238E27FC236}">
                      <a16:creationId xmlns:a16="http://schemas.microsoft.com/office/drawing/2014/main" id="{0C9EC5E3-522E-4E71-8D64-12A846F9437E}"/>
                    </a:ext>
                  </a:extLst>
                </p:cNvPr>
                <p:cNvCxnSpPr>
                  <a:cxnSpLocks/>
                  <a:stCxn id="1407" idx="1"/>
                  <a:endCxn id="140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4" name="Gruppe 1133">
                <a:extLst>
                  <a:ext uri="{FF2B5EF4-FFF2-40B4-BE49-F238E27FC236}">
                    <a16:creationId xmlns:a16="http://schemas.microsoft.com/office/drawing/2014/main" id="{38DCE110-BA1E-4F95-8CC6-A22C9876D58C}"/>
                  </a:ext>
                </a:extLst>
              </p:cNvPr>
              <p:cNvGrpSpPr/>
              <p:nvPr/>
            </p:nvGrpSpPr>
            <p:grpSpPr>
              <a:xfrm>
                <a:off x="4308804" y="5182532"/>
                <a:ext cx="110215" cy="202903"/>
                <a:chOff x="1758507" y="5170209"/>
                <a:chExt cx="156925" cy="285896"/>
              </a:xfrm>
            </p:grpSpPr>
            <p:sp>
              <p:nvSpPr>
                <p:cNvPr id="1404" name="Rektangel 1403">
                  <a:extLst>
                    <a:ext uri="{FF2B5EF4-FFF2-40B4-BE49-F238E27FC236}">
                      <a16:creationId xmlns:a16="http://schemas.microsoft.com/office/drawing/2014/main" id="{BF7919A0-AD58-494C-9F7A-8293A8396D8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5" name="Lige forbindelse 1404">
                  <a:extLst>
                    <a:ext uri="{FF2B5EF4-FFF2-40B4-BE49-F238E27FC236}">
                      <a16:creationId xmlns:a16="http://schemas.microsoft.com/office/drawing/2014/main" id="{B6DCCE2B-F008-4450-993F-6650FFE9FB67}"/>
                    </a:ext>
                  </a:extLst>
                </p:cNvPr>
                <p:cNvCxnSpPr>
                  <a:cxnSpLocks/>
                  <a:stCxn id="1404" idx="0"/>
                  <a:endCxn id="140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6" name="Lige forbindelse 1405">
                  <a:extLst>
                    <a:ext uri="{FF2B5EF4-FFF2-40B4-BE49-F238E27FC236}">
                      <a16:creationId xmlns:a16="http://schemas.microsoft.com/office/drawing/2014/main" id="{73BE108E-291F-45F0-B871-0E0ED5AD7AF9}"/>
                    </a:ext>
                  </a:extLst>
                </p:cNvPr>
                <p:cNvCxnSpPr>
                  <a:cxnSpLocks/>
                  <a:stCxn id="1404" idx="1"/>
                  <a:endCxn id="140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5" name="Gruppe 1134">
                <a:extLst>
                  <a:ext uri="{FF2B5EF4-FFF2-40B4-BE49-F238E27FC236}">
                    <a16:creationId xmlns:a16="http://schemas.microsoft.com/office/drawing/2014/main" id="{768ED603-0606-46BB-A497-A5CD8A95D52E}"/>
                  </a:ext>
                </a:extLst>
              </p:cNvPr>
              <p:cNvGrpSpPr/>
              <p:nvPr/>
            </p:nvGrpSpPr>
            <p:grpSpPr>
              <a:xfrm>
                <a:off x="4499694" y="5182532"/>
                <a:ext cx="110215" cy="202903"/>
                <a:chOff x="1758507" y="5170209"/>
                <a:chExt cx="156925" cy="285896"/>
              </a:xfrm>
            </p:grpSpPr>
            <p:sp>
              <p:nvSpPr>
                <p:cNvPr id="1401" name="Rektangel 1400">
                  <a:extLst>
                    <a:ext uri="{FF2B5EF4-FFF2-40B4-BE49-F238E27FC236}">
                      <a16:creationId xmlns:a16="http://schemas.microsoft.com/office/drawing/2014/main" id="{CCFC28D1-08C0-483C-A2CA-BC41D23C59C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2" name="Lige forbindelse 1401">
                  <a:extLst>
                    <a:ext uri="{FF2B5EF4-FFF2-40B4-BE49-F238E27FC236}">
                      <a16:creationId xmlns:a16="http://schemas.microsoft.com/office/drawing/2014/main" id="{19F98070-DC4B-4821-8F19-DF3C00429037}"/>
                    </a:ext>
                  </a:extLst>
                </p:cNvPr>
                <p:cNvCxnSpPr>
                  <a:cxnSpLocks/>
                  <a:stCxn id="1401" idx="0"/>
                  <a:endCxn id="140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3" name="Lige forbindelse 1402">
                  <a:extLst>
                    <a:ext uri="{FF2B5EF4-FFF2-40B4-BE49-F238E27FC236}">
                      <a16:creationId xmlns:a16="http://schemas.microsoft.com/office/drawing/2014/main" id="{42BC7E8B-121D-4B08-B7A1-6BD5DC8871B8}"/>
                    </a:ext>
                  </a:extLst>
                </p:cNvPr>
                <p:cNvCxnSpPr>
                  <a:cxnSpLocks/>
                  <a:stCxn id="1401" idx="1"/>
                  <a:endCxn id="140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6" name="Gruppe 1135">
                <a:extLst>
                  <a:ext uri="{FF2B5EF4-FFF2-40B4-BE49-F238E27FC236}">
                    <a16:creationId xmlns:a16="http://schemas.microsoft.com/office/drawing/2014/main" id="{D4C5E83D-1A2F-4A2D-BDE6-6E339B865250}"/>
                  </a:ext>
                </a:extLst>
              </p:cNvPr>
              <p:cNvGrpSpPr/>
              <p:nvPr/>
            </p:nvGrpSpPr>
            <p:grpSpPr>
              <a:xfrm>
                <a:off x="4690585" y="5182532"/>
                <a:ext cx="110215" cy="202903"/>
                <a:chOff x="1758507" y="5170209"/>
                <a:chExt cx="156925" cy="285896"/>
              </a:xfrm>
            </p:grpSpPr>
            <p:sp>
              <p:nvSpPr>
                <p:cNvPr id="1398" name="Rektangel 1397">
                  <a:extLst>
                    <a:ext uri="{FF2B5EF4-FFF2-40B4-BE49-F238E27FC236}">
                      <a16:creationId xmlns:a16="http://schemas.microsoft.com/office/drawing/2014/main" id="{8B01DDFB-E29F-4B21-83A7-6E6408C908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9" name="Lige forbindelse 1398">
                  <a:extLst>
                    <a:ext uri="{FF2B5EF4-FFF2-40B4-BE49-F238E27FC236}">
                      <a16:creationId xmlns:a16="http://schemas.microsoft.com/office/drawing/2014/main" id="{9EB4C06B-BFD6-4437-8A15-032DC6ABEF5A}"/>
                    </a:ext>
                  </a:extLst>
                </p:cNvPr>
                <p:cNvCxnSpPr>
                  <a:cxnSpLocks/>
                  <a:stCxn id="1398" idx="0"/>
                  <a:endCxn id="139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0" name="Lige forbindelse 1399">
                  <a:extLst>
                    <a:ext uri="{FF2B5EF4-FFF2-40B4-BE49-F238E27FC236}">
                      <a16:creationId xmlns:a16="http://schemas.microsoft.com/office/drawing/2014/main" id="{2235F307-4744-4CC9-A8D7-55A9F75B216C}"/>
                    </a:ext>
                  </a:extLst>
                </p:cNvPr>
                <p:cNvCxnSpPr>
                  <a:cxnSpLocks/>
                  <a:stCxn id="1398" idx="1"/>
                  <a:endCxn id="139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7" name="Gruppe 1136">
                <a:extLst>
                  <a:ext uri="{FF2B5EF4-FFF2-40B4-BE49-F238E27FC236}">
                    <a16:creationId xmlns:a16="http://schemas.microsoft.com/office/drawing/2014/main" id="{325EE618-B168-48DE-BA9B-EC00A85AC70B}"/>
                  </a:ext>
                </a:extLst>
              </p:cNvPr>
              <p:cNvGrpSpPr/>
              <p:nvPr/>
            </p:nvGrpSpPr>
            <p:grpSpPr>
              <a:xfrm>
                <a:off x="4881475" y="5182532"/>
                <a:ext cx="110215" cy="202903"/>
                <a:chOff x="1758507" y="5170209"/>
                <a:chExt cx="156925" cy="285896"/>
              </a:xfrm>
            </p:grpSpPr>
            <p:sp>
              <p:nvSpPr>
                <p:cNvPr id="1395" name="Rektangel 1394">
                  <a:extLst>
                    <a:ext uri="{FF2B5EF4-FFF2-40B4-BE49-F238E27FC236}">
                      <a16:creationId xmlns:a16="http://schemas.microsoft.com/office/drawing/2014/main" id="{B00DB222-B877-418C-AFCB-4B9ACE8C562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6" name="Lige forbindelse 1395">
                  <a:extLst>
                    <a:ext uri="{FF2B5EF4-FFF2-40B4-BE49-F238E27FC236}">
                      <a16:creationId xmlns:a16="http://schemas.microsoft.com/office/drawing/2014/main" id="{E3C22B44-0791-490E-955B-44E28647D9E1}"/>
                    </a:ext>
                  </a:extLst>
                </p:cNvPr>
                <p:cNvCxnSpPr>
                  <a:cxnSpLocks/>
                  <a:stCxn id="1395" idx="0"/>
                  <a:endCxn id="139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7" name="Lige forbindelse 1396">
                  <a:extLst>
                    <a:ext uri="{FF2B5EF4-FFF2-40B4-BE49-F238E27FC236}">
                      <a16:creationId xmlns:a16="http://schemas.microsoft.com/office/drawing/2014/main" id="{7D5FC74D-4BF6-46CA-BF0E-77626BDB4FEB}"/>
                    </a:ext>
                  </a:extLst>
                </p:cNvPr>
                <p:cNvCxnSpPr>
                  <a:cxnSpLocks/>
                  <a:stCxn id="1395" idx="1"/>
                  <a:endCxn id="139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8" name="Gruppe 1137">
                <a:extLst>
                  <a:ext uri="{FF2B5EF4-FFF2-40B4-BE49-F238E27FC236}">
                    <a16:creationId xmlns:a16="http://schemas.microsoft.com/office/drawing/2014/main" id="{102FE221-0462-41FB-AE08-270523BF9264}"/>
                  </a:ext>
                </a:extLst>
              </p:cNvPr>
              <p:cNvGrpSpPr/>
              <p:nvPr/>
            </p:nvGrpSpPr>
            <p:grpSpPr>
              <a:xfrm>
                <a:off x="5072366" y="5182532"/>
                <a:ext cx="110215" cy="202903"/>
                <a:chOff x="1758507" y="5170209"/>
                <a:chExt cx="156925" cy="285896"/>
              </a:xfrm>
            </p:grpSpPr>
            <p:sp>
              <p:nvSpPr>
                <p:cNvPr id="1392" name="Rektangel 1391">
                  <a:extLst>
                    <a:ext uri="{FF2B5EF4-FFF2-40B4-BE49-F238E27FC236}">
                      <a16:creationId xmlns:a16="http://schemas.microsoft.com/office/drawing/2014/main" id="{654D955F-6C73-4958-BE76-EB3B7D444E3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3" name="Lige forbindelse 1392">
                  <a:extLst>
                    <a:ext uri="{FF2B5EF4-FFF2-40B4-BE49-F238E27FC236}">
                      <a16:creationId xmlns:a16="http://schemas.microsoft.com/office/drawing/2014/main" id="{C7EF3906-8800-4B0D-B33D-8FB7EDD90DC3}"/>
                    </a:ext>
                  </a:extLst>
                </p:cNvPr>
                <p:cNvCxnSpPr>
                  <a:cxnSpLocks/>
                  <a:stCxn id="1392" idx="0"/>
                  <a:endCxn id="139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4" name="Lige forbindelse 1393">
                  <a:extLst>
                    <a:ext uri="{FF2B5EF4-FFF2-40B4-BE49-F238E27FC236}">
                      <a16:creationId xmlns:a16="http://schemas.microsoft.com/office/drawing/2014/main" id="{FCC50684-74FD-464A-A592-2BD8011F2E85}"/>
                    </a:ext>
                  </a:extLst>
                </p:cNvPr>
                <p:cNvCxnSpPr>
                  <a:cxnSpLocks/>
                  <a:stCxn id="1392" idx="1"/>
                  <a:endCxn id="139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9" name="Gruppe 1138">
                <a:extLst>
                  <a:ext uri="{FF2B5EF4-FFF2-40B4-BE49-F238E27FC236}">
                    <a16:creationId xmlns:a16="http://schemas.microsoft.com/office/drawing/2014/main" id="{745270F1-57E8-4335-B792-7E9377386212}"/>
                  </a:ext>
                </a:extLst>
              </p:cNvPr>
              <p:cNvGrpSpPr/>
              <p:nvPr/>
            </p:nvGrpSpPr>
            <p:grpSpPr>
              <a:xfrm>
                <a:off x="5263257" y="5182532"/>
                <a:ext cx="110215" cy="202903"/>
                <a:chOff x="1758507" y="5170209"/>
                <a:chExt cx="156925" cy="285896"/>
              </a:xfrm>
            </p:grpSpPr>
            <p:sp>
              <p:nvSpPr>
                <p:cNvPr id="1389" name="Rektangel 1388">
                  <a:extLst>
                    <a:ext uri="{FF2B5EF4-FFF2-40B4-BE49-F238E27FC236}">
                      <a16:creationId xmlns:a16="http://schemas.microsoft.com/office/drawing/2014/main" id="{3D401F5C-7176-4E5D-97EC-49188D8AA2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0" name="Lige forbindelse 1389">
                  <a:extLst>
                    <a:ext uri="{FF2B5EF4-FFF2-40B4-BE49-F238E27FC236}">
                      <a16:creationId xmlns:a16="http://schemas.microsoft.com/office/drawing/2014/main" id="{92C50227-8BB7-439A-87D1-3BF986A51D7C}"/>
                    </a:ext>
                  </a:extLst>
                </p:cNvPr>
                <p:cNvCxnSpPr>
                  <a:cxnSpLocks/>
                  <a:stCxn id="1389" idx="0"/>
                  <a:endCxn id="138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1" name="Lige forbindelse 1390">
                  <a:extLst>
                    <a:ext uri="{FF2B5EF4-FFF2-40B4-BE49-F238E27FC236}">
                      <a16:creationId xmlns:a16="http://schemas.microsoft.com/office/drawing/2014/main" id="{E2AECA9A-698B-4E17-9311-A4331049203B}"/>
                    </a:ext>
                  </a:extLst>
                </p:cNvPr>
                <p:cNvCxnSpPr>
                  <a:cxnSpLocks/>
                  <a:stCxn id="1389" idx="1"/>
                  <a:endCxn id="138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0" name="Gruppe 1139">
                <a:extLst>
                  <a:ext uri="{FF2B5EF4-FFF2-40B4-BE49-F238E27FC236}">
                    <a16:creationId xmlns:a16="http://schemas.microsoft.com/office/drawing/2014/main" id="{2176AA85-BC53-4D32-A560-E5421DEFFAD2}"/>
                  </a:ext>
                </a:extLst>
              </p:cNvPr>
              <p:cNvGrpSpPr/>
              <p:nvPr/>
            </p:nvGrpSpPr>
            <p:grpSpPr>
              <a:xfrm>
                <a:off x="5454147" y="5182532"/>
                <a:ext cx="110215" cy="202903"/>
                <a:chOff x="1758507" y="5170209"/>
                <a:chExt cx="156925" cy="285896"/>
              </a:xfrm>
            </p:grpSpPr>
            <p:sp>
              <p:nvSpPr>
                <p:cNvPr id="1386" name="Rektangel 1385">
                  <a:extLst>
                    <a:ext uri="{FF2B5EF4-FFF2-40B4-BE49-F238E27FC236}">
                      <a16:creationId xmlns:a16="http://schemas.microsoft.com/office/drawing/2014/main" id="{99735080-D9B7-4407-9EFA-E5481AF64A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7" name="Lige forbindelse 1386">
                  <a:extLst>
                    <a:ext uri="{FF2B5EF4-FFF2-40B4-BE49-F238E27FC236}">
                      <a16:creationId xmlns:a16="http://schemas.microsoft.com/office/drawing/2014/main" id="{C47F06CF-9FFD-451D-9511-67CCD71D1E18}"/>
                    </a:ext>
                  </a:extLst>
                </p:cNvPr>
                <p:cNvCxnSpPr>
                  <a:cxnSpLocks/>
                  <a:stCxn id="1386" idx="0"/>
                  <a:endCxn id="138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8" name="Lige forbindelse 1387">
                  <a:extLst>
                    <a:ext uri="{FF2B5EF4-FFF2-40B4-BE49-F238E27FC236}">
                      <a16:creationId xmlns:a16="http://schemas.microsoft.com/office/drawing/2014/main" id="{E218E285-0B0E-44E6-BAD1-CEEC5A871EF6}"/>
                    </a:ext>
                  </a:extLst>
                </p:cNvPr>
                <p:cNvCxnSpPr>
                  <a:cxnSpLocks/>
                  <a:stCxn id="1386" idx="1"/>
                  <a:endCxn id="138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1" name="Gruppe 1140">
                <a:extLst>
                  <a:ext uri="{FF2B5EF4-FFF2-40B4-BE49-F238E27FC236}">
                    <a16:creationId xmlns:a16="http://schemas.microsoft.com/office/drawing/2014/main" id="{D29529DA-BDC2-4B67-9C34-0BF86EC8186A}"/>
                  </a:ext>
                </a:extLst>
              </p:cNvPr>
              <p:cNvGrpSpPr/>
              <p:nvPr/>
            </p:nvGrpSpPr>
            <p:grpSpPr>
              <a:xfrm>
                <a:off x="5645037" y="5182532"/>
                <a:ext cx="110215" cy="202903"/>
                <a:chOff x="1758507" y="5170209"/>
                <a:chExt cx="156925" cy="285896"/>
              </a:xfrm>
            </p:grpSpPr>
            <p:sp>
              <p:nvSpPr>
                <p:cNvPr id="1383" name="Rektangel 1382">
                  <a:extLst>
                    <a:ext uri="{FF2B5EF4-FFF2-40B4-BE49-F238E27FC236}">
                      <a16:creationId xmlns:a16="http://schemas.microsoft.com/office/drawing/2014/main" id="{2545ABAA-5B56-4BBA-99B8-1716A21CA72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4" name="Lige forbindelse 1383">
                  <a:extLst>
                    <a:ext uri="{FF2B5EF4-FFF2-40B4-BE49-F238E27FC236}">
                      <a16:creationId xmlns:a16="http://schemas.microsoft.com/office/drawing/2014/main" id="{6D84AAE5-9E0D-4704-A0D6-A39321473CBF}"/>
                    </a:ext>
                  </a:extLst>
                </p:cNvPr>
                <p:cNvCxnSpPr>
                  <a:cxnSpLocks/>
                  <a:stCxn id="1383" idx="0"/>
                  <a:endCxn id="138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5" name="Lige forbindelse 1384">
                  <a:extLst>
                    <a:ext uri="{FF2B5EF4-FFF2-40B4-BE49-F238E27FC236}">
                      <a16:creationId xmlns:a16="http://schemas.microsoft.com/office/drawing/2014/main" id="{A53A1066-2AC9-4E37-9DDD-202E6E09309B}"/>
                    </a:ext>
                  </a:extLst>
                </p:cNvPr>
                <p:cNvCxnSpPr>
                  <a:cxnSpLocks/>
                  <a:stCxn id="1383" idx="1"/>
                  <a:endCxn id="138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2" name="Gruppe 1141">
                <a:extLst>
                  <a:ext uri="{FF2B5EF4-FFF2-40B4-BE49-F238E27FC236}">
                    <a16:creationId xmlns:a16="http://schemas.microsoft.com/office/drawing/2014/main" id="{DDBD305C-4DE5-4D91-B124-F4ACF8B6DA91}"/>
                  </a:ext>
                </a:extLst>
              </p:cNvPr>
              <p:cNvGrpSpPr/>
              <p:nvPr/>
            </p:nvGrpSpPr>
            <p:grpSpPr>
              <a:xfrm>
                <a:off x="5835932" y="5182532"/>
                <a:ext cx="110215" cy="202903"/>
                <a:chOff x="1758507" y="5170209"/>
                <a:chExt cx="156925" cy="285896"/>
              </a:xfrm>
            </p:grpSpPr>
            <p:sp>
              <p:nvSpPr>
                <p:cNvPr id="1380" name="Rektangel 1379">
                  <a:extLst>
                    <a:ext uri="{FF2B5EF4-FFF2-40B4-BE49-F238E27FC236}">
                      <a16:creationId xmlns:a16="http://schemas.microsoft.com/office/drawing/2014/main" id="{EE6CD71C-2F4A-47FE-9828-8199568111F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1" name="Lige forbindelse 1380">
                  <a:extLst>
                    <a:ext uri="{FF2B5EF4-FFF2-40B4-BE49-F238E27FC236}">
                      <a16:creationId xmlns:a16="http://schemas.microsoft.com/office/drawing/2014/main" id="{C78B02C0-6997-4D7B-A7F7-DC419232B46B}"/>
                    </a:ext>
                  </a:extLst>
                </p:cNvPr>
                <p:cNvCxnSpPr>
                  <a:cxnSpLocks/>
                  <a:stCxn id="1380" idx="0"/>
                  <a:endCxn id="138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2" name="Lige forbindelse 1381">
                  <a:extLst>
                    <a:ext uri="{FF2B5EF4-FFF2-40B4-BE49-F238E27FC236}">
                      <a16:creationId xmlns:a16="http://schemas.microsoft.com/office/drawing/2014/main" id="{FB544A2A-5B99-48CF-9C99-6461F57E417A}"/>
                    </a:ext>
                  </a:extLst>
                </p:cNvPr>
                <p:cNvCxnSpPr>
                  <a:cxnSpLocks/>
                  <a:stCxn id="1380" idx="1"/>
                  <a:endCxn id="138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3" name="Gruppe 1142">
                <a:extLst>
                  <a:ext uri="{FF2B5EF4-FFF2-40B4-BE49-F238E27FC236}">
                    <a16:creationId xmlns:a16="http://schemas.microsoft.com/office/drawing/2014/main" id="{9978B56A-DF82-47C8-AD3F-645894112701}"/>
                  </a:ext>
                </a:extLst>
              </p:cNvPr>
              <p:cNvGrpSpPr/>
              <p:nvPr/>
            </p:nvGrpSpPr>
            <p:grpSpPr>
              <a:xfrm>
                <a:off x="1827227" y="5428729"/>
                <a:ext cx="110215" cy="202903"/>
                <a:chOff x="1758507" y="5170209"/>
                <a:chExt cx="156925" cy="285896"/>
              </a:xfrm>
            </p:grpSpPr>
            <p:sp>
              <p:nvSpPr>
                <p:cNvPr id="1377" name="Rektangel 1376">
                  <a:extLst>
                    <a:ext uri="{FF2B5EF4-FFF2-40B4-BE49-F238E27FC236}">
                      <a16:creationId xmlns:a16="http://schemas.microsoft.com/office/drawing/2014/main" id="{D4091FA2-3CF8-449A-B505-AC7AE488BA0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8" name="Lige forbindelse 1377">
                  <a:extLst>
                    <a:ext uri="{FF2B5EF4-FFF2-40B4-BE49-F238E27FC236}">
                      <a16:creationId xmlns:a16="http://schemas.microsoft.com/office/drawing/2014/main" id="{94FF44CF-440D-416D-961E-329F9687070D}"/>
                    </a:ext>
                  </a:extLst>
                </p:cNvPr>
                <p:cNvCxnSpPr>
                  <a:cxnSpLocks/>
                  <a:stCxn id="1377" idx="0"/>
                  <a:endCxn id="137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9" name="Lige forbindelse 1378">
                  <a:extLst>
                    <a:ext uri="{FF2B5EF4-FFF2-40B4-BE49-F238E27FC236}">
                      <a16:creationId xmlns:a16="http://schemas.microsoft.com/office/drawing/2014/main" id="{1E1480A6-3E4D-4EE6-A302-45FF4A35A691}"/>
                    </a:ext>
                  </a:extLst>
                </p:cNvPr>
                <p:cNvCxnSpPr>
                  <a:cxnSpLocks/>
                  <a:stCxn id="1377" idx="1"/>
                  <a:endCxn id="137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4" name="Gruppe 1143">
                <a:extLst>
                  <a:ext uri="{FF2B5EF4-FFF2-40B4-BE49-F238E27FC236}">
                    <a16:creationId xmlns:a16="http://schemas.microsoft.com/office/drawing/2014/main" id="{9C8B8F91-2B8C-4E0C-8B65-4AF172140B0A}"/>
                  </a:ext>
                </a:extLst>
              </p:cNvPr>
              <p:cNvGrpSpPr/>
              <p:nvPr/>
            </p:nvGrpSpPr>
            <p:grpSpPr>
              <a:xfrm>
                <a:off x="2018117" y="5428729"/>
                <a:ext cx="110215" cy="202903"/>
                <a:chOff x="1758507" y="5170209"/>
                <a:chExt cx="156925" cy="285896"/>
              </a:xfrm>
            </p:grpSpPr>
            <p:sp>
              <p:nvSpPr>
                <p:cNvPr id="1374" name="Rektangel 1373">
                  <a:extLst>
                    <a:ext uri="{FF2B5EF4-FFF2-40B4-BE49-F238E27FC236}">
                      <a16:creationId xmlns:a16="http://schemas.microsoft.com/office/drawing/2014/main" id="{EF9AA947-649A-4C66-8968-809480FDFCD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5" name="Lige forbindelse 1374">
                  <a:extLst>
                    <a:ext uri="{FF2B5EF4-FFF2-40B4-BE49-F238E27FC236}">
                      <a16:creationId xmlns:a16="http://schemas.microsoft.com/office/drawing/2014/main" id="{F3970551-0F99-422C-A4F7-25591F739E36}"/>
                    </a:ext>
                  </a:extLst>
                </p:cNvPr>
                <p:cNvCxnSpPr>
                  <a:cxnSpLocks/>
                  <a:stCxn id="1374" idx="0"/>
                  <a:endCxn id="137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6" name="Lige forbindelse 1375">
                  <a:extLst>
                    <a:ext uri="{FF2B5EF4-FFF2-40B4-BE49-F238E27FC236}">
                      <a16:creationId xmlns:a16="http://schemas.microsoft.com/office/drawing/2014/main" id="{EC8CC92C-9D88-46C4-A8BF-3069204751D5}"/>
                    </a:ext>
                  </a:extLst>
                </p:cNvPr>
                <p:cNvCxnSpPr>
                  <a:cxnSpLocks/>
                  <a:stCxn id="1374" idx="1"/>
                  <a:endCxn id="137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5" name="Gruppe 1144">
                <a:extLst>
                  <a:ext uri="{FF2B5EF4-FFF2-40B4-BE49-F238E27FC236}">
                    <a16:creationId xmlns:a16="http://schemas.microsoft.com/office/drawing/2014/main" id="{4C71F9E1-5ED2-4246-98A7-F4F0DED6A69D}"/>
                  </a:ext>
                </a:extLst>
              </p:cNvPr>
              <p:cNvGrpSpPr/>
              <p:nvPr/>
            </p:nvGrpSpPr>
            <p:grpSpPr>
              <a:xfrm>
                <a:off x="2209008" y="5428729"/>
                <a:ext cx="110215" cy="202903"/>
                <a:chOff x="1758507" y="5170209"/>
                <a:chExt cx="156925" cy="285896"/>
              </a:xfrm>
            </p:grpSpPr>
            <p:sp>
              <p:nvSpPr>
                <p:cNvPr id="1371" name="Rektangel 1370">
                  <a:extLst>
                    <a:ext uri="{FF2B5EF4-FFF2-40B4-BE49-F238E27FC236}">
                      <a16:creationId xmlns:a16="http://schemas.microsoft.com/office/drawing/2014/main" id="{A150050E-0FCB-40C1-8B20-3F976DADC6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2" name="Lige forbindelse 1371">
                  <a:extLst>
                    <a:ext uri="{FF2B5EF4-FFF2-40B4-BE49-F238E27FC236}">
                      <a16:creationId xmlns:a16="http://schemas.microsoft.com/office/drawing/2014/main" id="{C54E0F15-F00F-4894-9F72-420A3C0708BB}"/>
                    </a:ext>
                  </a:extLst>
                </p:cNvPr>
                <p:cNvCxnSpPr>
                  <a:cxnSpLocks/>
                  <a:stCxn id="1371" idx="0"/>
                  <a:endCxn id="137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3" name="Lige forbindelse 1372">
                  <a:extLst>
                    <a:ext uri="{FF2B5EF4-FFF2-40B4-BE49-F238E27FC236}">
                      <a16:creationId xmlns:a16="http://schemas.microsoft.com/office/drawing/2014/main" id="{7E924D2F-29EA-43D7-A263-501025DDDDC5}"/>
                    </a:ext>
                  </a:extLst>
                </p:cNvPr>
                <p:cNvCxnSpPr>
                  <a:cxnSpLocks/>
                  <a:stCxn id="1371" idx="1"/>
                  <a:endCxn id="137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6" name="Gruppe 1145">
                <a:extLst>
                  <a:ext uri="{FF2B5EF4-FFF2-40B4-BE49-F238E27FC236}">
                    <a16:creationId xmlns:a16="http://schemas.microsoft.com/office/drawing/2014/main" id="{5E2B6AAD-1A09-4C97-9234-281AB6101609}"/>
                  </a:ext>
                </a:extLst>
              </p:cNvPr>
              <p:cNvGrpSpPr/>
              <p:nvPr/>
            </p:nvGrpSpPr>
            <p:grpSpPr>
              <a:xfrm>
                <a:off x="2399898" y="5428729"/>
                <a:ext cx="110215" cy="202903"/>
                <a:chOff x="1758507" y="5170209"/>
                <a:chExt cx="156925" cy="285896"/>
              </a:xfrm>
            </p:grpSpPr>
            <p:sp>
              <p:nvSpPr>
                <p:cNvPr id="1368" name="Rektangel 1367">
                  <a:extLst>
                    <a:ext uri="{FF2B5EF4-FFF2-40B4-BE49-F238E27FC236}">
                      <a16:creationId xmlns:a16="http://schemas.microsoft.com/office/drawing/2014/main" id="{9E11F393-0639-4C29-ACCF-F2EFEA218EC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9" name="Lige forbindelse 1368">
                  <a:extLst>
                    <a:ext uri="{FF2B5EF4-FFF2-40B4-BE49-F238E27FC236}">
                      <a16:creationId xmlns:a16="http://schemas.microsoft.com/office/drawing/2014/main" id="{476958E9-B4F8-4B72-AD3D-F0C0FC4CBB8E}"/>
                    </a:ext>
                  </a:extLst>
                </p:cNvPr>
                <p:cNvCxnSpPr>
                  <a:cxnSpLocks/>
                  <a:stCxn id="1368" idx="0"/>
                  <a:endCxn id="136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0" name="Lige forbindelse 1369">
                  <a:extLst>
                    <a:ext uri="{FF2B5EF4-FFF2-40B4-BE49-F238E27FC236}">
                      <a16:creationId xmlns:a16="http://schemas.microsoft.com/office/drawing/2014/main" id="{19A4570C-D192-4D99-BFA8-949BB2A4D11D}"/>
                    </a:ext>
                  </a:extLst>
                </p:cNvPr>
                <p:cNvCxnSpPr>
                  <a:cxnSpLocks/>
                  <a:stCxn id="1368" idx="1"/>
                  <a:endCxn id="136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7" name="Gruppe 1146">
                <a:extLst>
                  <a:ext uri="{FF2B5EF4-FFF2-40B4-BE49-F238E27FC236}">
                    <a16:creationId xmlns:a16="http://schemas.microsoft.com/office/drawing/2014/main" id="{991B778E-260E-4C65-BFB4-953EE393B141}"/>
                  </a:ext>
                </a:extLst>
              </p:cNvPr>
              <p:cNvGrpSpPr/>
              <p:nvPr/>
            </p:nvGrpSpPr>
            <p:grpSpPr>
              <a:xfrm>
                <a:off x="2590789" y="5428729"/>
                <a:ext cx="110215" cy="202903"/>
                <a:chOff x="1758507" y="5170209"/>
                <a:chExt cx="156925" cy="285896"/>
              </a:xfrm>
            </p:grpSpPr>
            <p:sp>
              <p:nvSpPr>
                <p:cNvPr id="1365" name="Rektangel 1364">
                  <a:extLst>
                    <a:ext uri="{FF2B5EF4-FFF2-40B4-BE49-F238E27FC236}">
                      <a16:creationId xmlns:a16="http://schemas.microsoft.com/office/drawing/2014/main" id="{C187E723-4737-48E4-AD46-7134427DAD7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6" name="Lige forbindelse 1365">
                  <a:extLst>
                    <a:ext uri="{FF2B5EF4-FFF2-40B4-BE49-F238E27FC236}">
                      <a16:creationId xmlns:a16="http://schemas.microsoft.com/office/drawing/2014/main" id="{AB2AB432-550E-4996-855A-467A10F08B84}"/>
                    </a:ext>
                  </a:extLst>
                </p:cNvPr>
                <p:cNvCxnSpPr>
                  <a:cxnSpLocks/>
                  <a:stCxn id="1365" idx="0"/>
                  <a:endCxn id="1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7" name="Lige forbindelse 1366">
                  <a:extLst>
                    <a:ext uri="{FF2B5EF4-FFF2-40B4-BE49-F238E27FC236}">
                      <a16:creationId xmlns:a16="http://schemas.microsoft.com/office/drawing/2014/main" id="{9A2AE9FE-E208-4165-B2FD-B4169B9FC6CD}"/>
                    </a:ext>
                  </a:extLst>
                </p:cNvPr>
                <p:cNvCxnSpPr>
                  <a:cxnSpLocks/>
                  <a:stCxn id="1365" idx="1"/>
                  <a:endCxn id="1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8" name="Gruppe 1147">
                <a:extLst>
                  <a:ext uri="{FF2B5EF4-FFF2-40B4-BE49-F238E27FC236}">
                    <a16:creationId xmlns:a16="http://schemas.microsoft.com/office/drawing/2014/main" id="{B922086A-99AD-4CF3-AAF3-CE28455663D1}"/>
                  </a:ext>
                </a:extLst>
              </p:cNvPr>
              <p:cNvGrpSpPr/>
              <p:nvPr/>
            </p:nvGrpSpPr>
            <p:grpSpPr>
              <a:xfrm>
                <a:off x="2781680" y="5428729"/>
                <a:ext cx="110215" cy="202903"/>
                <a:chOff x="1758507" y="5170209"/>
                <a:chExt cx="156925" cy="285896"/>
              </a:xfrm>
            </p:grpSpPr>
            <p:sp>
              <p:nvSpPr>
                <p:cNvPr id="1362" name="Rektangel 1361">
                  <a:extLst>
                    <a:ext uri="{FF2B5EF4-FFF2-40B4-BE49-F238E27FC236}">
                      <a16:creationId xmlns:a16="http://schemas.microsoft.com/office/drawing/2014/main" id="{81720B9F-A6AB-4E39-9735-0DDCE705D8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3" name="Lige forbindelse 1362">
                  <a:extLst>
                    <a:ext uri="{FF2B5EF4-FFF2-40B4-BE49-F238E27FC236}">
                      <a16:creationId xmlns:a16="http://schemas.microsoft.com/office/drawing/2014/main" id="{5112381A-3817-46FA-8D80-F727C1BA7BA5}"/>
                    </a:ext>
                  </a:extLst>
                </p:cNvPr>
                <p:cNvCxnSpPr>
                  <a:cxnSpLocks/>
                  <a:stCxn id="1362" idx="0"/>
                  <a:endCxn id="1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4" name="Lige forbindelse 1363">
                  <a:extLst>
                    <a:ext uri="{FF2B5EF4-FFF2-40B4-BE49-F238E27FC236}">
                      <a16:creationId xmlns:a16="http://schemas.microsoft.com/office/drawing/2014/main" id="{B31AF979-7572-422C-8DB9-64202CCBC3D8}"/>
                    </a:ext>
                  </a:extLst>
                </p:cNvPr>
                <p:cNvCxnSpPr>
                  <a:cxnSpLocks/>
                  <a:stCxn id="1362" idx="1"/>
                  <a:endCxn id="1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9" name="Gruppe 1148">
                <a:extLst>
                  <a:ext uri="{FF2B5EF4-FFF2-40B4-BE49-F238E27FC236}">
                    <a16:creationId xmlns:a16="http://schemas.microsoft.com/office/drawing/2014/main" id="{6B62459F-7CB9-4DEB-AD06-B403E6D37B08}"/>
                  </a:ext>
                </a:extLst>
              </p:cNvPr>
              <p:cNvGrpSpPr/>
              <p:nvPr/>
            </p:nvGrpSpPr>
            <p:grpSpPr>
              <a:xfrm>
                <a:off x="2972570" y="5428729"/>
                <a:ext cx="110215" cy="202903"/>
                <a:chOff x="1758507" y="5170209"/>
                <a:chExt cx="156925" cy="285896"/>
              </a:xfrm>
            </p:grpSpPr>
            <p:sp>
              <p:nvSpPr>
                <p:cNvPr id="1359" name="Rektangel 1358">
                  <a:extLst>
                    <a:ext uri="{FF2B5EF4-FFF2-40B4-BE49-F238E27FC236}">
                      <a16:creationId xmlns:a16="http://schemas.microsoft.com/office/drawing/2014/main" id="{6D099730-3FE2-4DB9-B544-1A870BFBF98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0" name="Lige forbindelse 1359">
                  <a:extLst>
                    <a:ext uri="{FF2B5EF4-FFF2-40B4-BE49-F238E27FC236}">
                      <a16:creationId xmlns:a16="http://schemas.microsoft.com/office/drawing/2014/main" id="{EE9608A7-024B-476F-B61C-7BC607511D9E}"/>
                    </a:ext>
                  </a:extLst>
                </p:cNvPr>
                <p:cNvCxnSpPr>
                  <a:cxnSpLocks/>
                  <a:stCxn id="1359" idx="0"/>
                  <a:endCxn id="1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1" name="Lige forbindelse 1360">
                  <a:extLst>
                    <a:ext uri="{FF2B5EF4-FFF2-40B4-BE49-F238E27FC236}">
                      <a16:creationId xmlns:a16="http://schemas.microsoft.com/office/drawing/2014/main" id="{71EDF0C9-3F81-41C3-9F00-25F2A4AA8349}"/>
                    </a:ext>
                  </a:extLst>
                </p:cNvPr>
                <p:cNvCxnSpPr>
                  <a:cxnSpLocks/>
                  <a:stCxn id="1359" idx="1"/>
                  <a:endCxn id="1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0" name="Gruppe 1149">
                <a:extLst>
                  <a:ext uri="{FF2B5EF4-FFF2-40B4-BE49-F238E27FC236}">
                    <a16:creationId xmlns:a16="http://schemas.microsoft.com/office/drawing/2014/main" id="{9D6FC104-2594-4361-AFB7-FDFC2A8C7FEC}"/>
                  </a:ext>
                </a:extLst>
              </p:cNvPr>
              <p:cNvGrpSpPr/>
              <p:nvPr/>
            </p:nvGrpSpPr>
            <p:grpSpPr>
              <a:xfrm>
                <a:off x="3163460" y="5428729"/>
                <a:ext cx="110215" cy="202903"/>
                <a:chOff x="1758507" y="5170209"/>
                <a:chExt cx="156925" cy="285896"/>
              </a:xfrm>
            </p:grpSpPr>
            <p:sp>
              <p:nvSpPr>
                <p:cNvPr id="1356" name="Rektangel 1355">
                  <a:extLst>
                    <a:ext uri="{FF2B5EF4-FFF2-40B4-BE49-F238E27FC236}">
                      <a16:creationId xmlns:a16="http://schemas.microsoft.com/office/drawing/2014/main" id="{A5DFA534-F0CF-47AB-A514-A95228AB02F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7" name="Lige forbindelse 1356">
                  <a:extLst>
                    <a:ext uri="{FF2B5EF4-FFF2-40B4-BE49-F238E27FC236}">
                      <a16:creationId xmlns:a16="http://schemas.microsoft.com/office/drawing/2014/main" id="{203BED39-A0EC-4E88-9891-247C60E51DBB}"/>
                    </a:ext>
                  </a:extLst>
                </p:cNvPr>
                <p:cNvCxnSpPr>
                  <a:cxnSpLocks/>
                  <a:stCxn id="1356" idx="0"/>
                  <a:endCxn id="1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8" name="Lige forbindelse 1357">
                  <a:extLst>
                    <a:ext uri="{FF2B5EF4-FFF2-40B4-BE49-F238E27FC236}">
                      <a16:creationId xmlns:a16="http://schemas.microsoft.com/office/drawing/2014/main" id="{EB36BA11-B8AA-49DC-95D2-A5BF35C1C2A1}"/>
                    </a:ext>
                  </a:extLst>
                </p:cNvPr>
                <p:cNvCxnSpPr>
                  <a:cxnSpLocks/>
                  <a:stCxn id="1356" idx="1"/>
                  <a:endCxn id="1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1" name="Gruppe 1150">
                <a:extLst>
                  <a:ext uri="{FF2B5EF4-FFF2-40B4-BE49-F238E27FC236}">
                    <a16:creationId xmlns:a16="http://schemas.microsoft.com/office/drawing/2014/main" id="{FA711DC3-A4DC-4B83-B90F-D2F4A59DCFDF}"/>
                  </a:ext>
                </a:extLst>
              </p:cNvPr>
              <p:cNvGrpSpPr/>
              <p:nvPr/>
            </p:nvGrpSpPr>
            <p:grpSpPr>
              <a:xfrm>
                <a:off x="3354351" y="5428729"/>
                <a:ext cx="110215" cy="202903"/>
                <a:chOff x="1758507" y="5170209"/>
                <a:chExt cx="156925" cy="285896"/>
              </a:xfrm>
            </p:grpSpPr>
            <p:sp>
              <p:nvSpPr>
                <p:cNvPr id="1353" name="Rektangel 1352">
                  <a:extLst>
                    <a:ext uri="{FF2B5EF4-FFF2-40B4-BE49-F238E27FC236}">
                      <a16:creationId xmlns:a16="http://schemas.microsoft.com/office/drawing/2014/main" id="{5CEF0FD1-FD87-4497-8CAE-B53DE5204FA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4" name="Lige forbindelse 1353">
                  <a:extLst>
                    <a:ext uri="{FF2B5EF4-FFF2-40B4-BE49-F238E27FC236}">
                      <a16:creationId xmlns:a16="http://schemas.microsoft.com/office/drawing/2014/main" id="{DB61C668-EBDC-49DB-BA13-47DBD5436748}"/>
                    </a:ext>
                  </a:extLst>
                </p:cNvPr>
                <p:cNvCxnSpPr>
                  <a:cxnSpLocks/>
                  <a:stCxn id="1353" idx="0"/>
                  <a:endCxn id="1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5" name="Lige forbindelse 1354">
                  <a:extLst>
                    <a:ext uri="{FF2B5EF4-FFF2-40B4-BE49-F238E27FC236}">
                      <a16:creationId xmlns:a16="http://schemas.microsoft.com/office/drawing/2014/main" id="{2DB16A33-F850-4E5E-8FD4-E6E19B577B98}"/>
                    </a:ext>
                  </a:extLst>
                </p:cNvPr>
                <p:cNvCxnSpPr>
                  <a:cxnSpLocks/>
                  <a:stCxn id="1353" idx="1"/>
                  <a:endCxn id="1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2" name="Gruppe 1151">
                <a:extLst>
                  <a:ext uri="{FF2B5EF4-FFF2-40B4-BE49-F238E27FC236}">
                    <a16:creationId xmlns:a16="http://schemas.microsoft.com/office/drawing/2014/main" id="{45293454-79CF-4C0E-A050-CA7D78F7D3E9}"/>
                  </a:ext>
                </a:extLst>
              </p:cNvPr>
              <p:cNvGrpSpPr/>
              <p:nvPr/>
            </p:nvGrpSpPr>
            <p:grpSpPr>
              <a:xfrm>
                <a:off x="3545241" y="5428729"/>
                <a:ext cx="110215" cy="202903"/>
                <a:chOff x="1758507" y="5170209"/>
                <a:chExt cx="156925" cy="285896"/>
              </a:xfrm>
            </p:grpSpPr>
            <p:sp>
              <p:nvSpPr>
                <p:cNvPr id="1350" name="Rektangel 1349">
                  <a:extLst>
                    <a:ext uri="{FF2B5EF4-FFF2-40B4-BE49-F238E27FC236}">
                      <a16:creationId xmlns:a16="http://schemas.microsoft.com/office/drawing/2014/main" id="{F4A4CC9D-5011-4810-B080-5002F4FC0C9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1" name="Lige forbindelse 1350">
                  <a:extLst>
                    <a:ext uri="{FF2B5EF4-FFF2-40B4-BE49-F238E27FC236}">
                      <a16:creationId xmlns:a16="http://schemas.microsoft.com/office/drawing/2014/main" id="{55D2A9A1-2432-4B55-BAA8-ACFAEE66E662}"/>
                    </a:ext>
                  </a:extLst>
                </p:cNvPr>
                <p:cNvCxnSpPr>
                  <a:cxnSpLocks/>
                  <a:stCxn id="1350" idx="0"/>
                  <a:endCxn id="1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2" name="Lige forbindelse 1351">
                  <a:extLst>
                    <a:ext uri="{FF2B5EF4-FFF2-40B4-BE49-F238E27FC236}">
                      <a16:creationId xmlns:a16="http://schemas.microsoft.com/office/drawing/2014/main" id="{E2CEF4E5-3440-4EFD-B248-53CA142BE5A0}"/>
                    </a:ext>
                  </a:extLst>
                </p:cNvPr>
                <p:cNvCxnSpPr>
                  <a:cxnSpLocks/>
                  <a:stCxn id="1350" idx="1"/>
                  <a:endCxn id="1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3" name="Gruppe 1152">
                <a:extLst>
                  <a:ext uri="{FF2B5EF4-FFF2-40B4-BE49-F238E27FC236}">
                    <a16:creationId xmlns:a16="http://schemas.microsoft.com/office/drawing/2014/main" id="{EBD0AC79-827B-4F15-80EF-AB59886DA3E2}"/>
                  </a:ext>
                </a:extLst>
              </p:cNvPr>
              <p:cNvGrpSpPr/>
              <p:nvPr/>
            </p:nvGrpSpPr>
            <p:grpSpPr>
              <a:xfrm>
                <a:off x="3736132" y="5428729"/>
                <a:ext cx="110215" cy="202903"/>
                <a:chOff x="1758507" y="5170209"/>
                <a:chExt cx="156925" cy="285896"/>
              </a:xfrm>
            </p:grpSpPr>
            <p:sp>
              <p:nvSpPr>
                <p:cNvPr id="1347" name="Rektangel 1346">
                  <a:extLst>
                    <a:ext uri="{FF2B5EF4-FFF2-40B4-BE49-F238E27FC236}">
                      <a16:creationId xmlns:a16="http://schemas.microsoft.com/office/drawing/2014/main" id="{2FD8866E-98D4-407E-A952-E0C040D8B4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8" name="Lige forbindelse 1347">
                  <a:extLst>
                    <a:ext uri="{FF2B5EF4-FFF2-40B4-BE49-F238E27FC236}">
                      <a16:creationId xmlns:a16="http://schemas.microsoft.com/office/drawing/2014/main" id="{6252E0D7-E18B-497F-A3C6-15AFD8FB4D86}"/>
                    </a:ext>
                  </a:extLst>
                </p:cNvPr>
                <p:cNvCxnSpPr>
                  <a:cxnSpLocks/>
                  <a:stCxn id="1347" idx="0"/>
                  <a:endCxn id="1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9" name="Lige forbindelse 1348">
                  <a:extLst>
                    <a:ext uri="{FF2B5EF4-FFF2-40B4-BE49-F238E27FC236}">
                      <a16:creationId xmlns:a16="http://schemas.microsoft.com/office/drawing/2014/main" id="{8FAB6378-B1CF-4FB5-9B0B-C9A0058AA925}"/>
                    </a:ext>
                  </a:extLst>
                </p:cNvPr>
                <p:cNvCxnSpPr>
                  <a:cxnSpLocks/>
                  <a:stCxn id="1347" idx="1"/>
                  <a:endCxn id="1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4" name="Gruppe 1153">
                <a:extLst>
                  <a:ext uri="{FF2B5EF4-FFF2-40B4-BE49-F238E27FC236}">
                    <a16:creationId xmlns:a16="http://schemas.microsoft.com/office/drawing/2014/main" id="{2903E009-9C6C-49E1-BA1A-25C20C2A6279}"/>
                  </a:ext>
                </a:extLst>
              </p:cNvPr>
              <p:cNvGrpSpPr/>
              <p:nvPr/>
            </p:nvGrpSpPr>
            <p:grpSpPr>
              <a:xfrm>
                <a:off x="3927023" y="5428729"/>
                <a:ext cx="110215" cy="202903"/>
                <a:chOff x="1758507" y="5170209"/>
                <a:chExt cx="156925" cy="285896"/>
              </a:xfrm>
            </p:grpSpPr>
            <p:sp>
              <p:nvSpPr>
                <p:cNvPr id="1344" name="Rektangel 1343">
                  <a:extLst>
                    <a:ext uri="{FF2B5EF4-FFF2-40B4-BE49-F238E27FC236}">
                      <a16:creationId xmlns:a16="http://schemas.microsoft.com/office/drawing/2014/main" id="{3D4F1BC0-D76E-4877-B19C-EAFF2504A7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5" name="Lige forbindelse 1344">
                  <a:extLst>
                    <a:ext uri="{FF2B5EF4-FFF2-40B4-BE49-F238E27FC236}">
                      <a16:creationId xmlns:a16="http://schemas.microsoft.com/office/drawing/2014/main" id="{B7FB3B0A-CD9E-4C06-8D45-2C8B57C82689}"/>
                    </a:ext>
                  </a:extLst>
                </p:cNvPr>
                <p:cNvCxnSpPr>
                  <a:cxnSpLocks/>
                  <a:stCxn id="1344" idx="0"/>
                  <a:endCxn id="1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6" name="Lige forbindelse 1345">
                  <a:extLst>
                    <a:ext uri="{FF2B5EF4-FFF2-40B4-BE49-F238E27FC236}">
                      <a16:creationId xmlns:a16="http://schemas.microsoft.com/office/drawing/2014/main" id="{C6FBB14B-439B-4481-8E3C-B059C124BF46}"/>
                    </a:ext>
                  </a:extLst>
                </p:cNvPr>
                <p:cNvCxnSpPr>
                  <a:cxnSpLocks/>
                  <a:stCxn id="1344" idx="1"/>
                  <a:endCxn id="1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5" name="Gruppe 1154">
                <a:extLst>
                  <a:ext uri="{FF2B5EF4-FFF2-40B4-BE49-F238E27FC236}">
                    <a16:creationId xmlns:a16="http://schemas.microsoft.com/office/drawing/2014/main" id="{238ADFD6-65E3-45F8-A613-68B37305D684}"/>
                  </a:ext>
                </a:extLst>
              </p:cNvPr>
              <p:cNvGrpSpPr/>
              <p:nvPr/>
            </p:nvGrpSpPr>
            <p:grpSpPr>
              <a:xfrm>
                <a:off x="4117913" y="5428729"/>
                <a:ext cx="110215" cy="202903"/>
                <a:chOff x="1758507" y="5170209"/>
                <a:chExt cx="156925" cy="285896"/>
              </a:xfrm>
            </p:grpSpPr>
            <p:sp>
              <p:nvSpPr>
                <p:cNvPr id="1341" name="Rektangel 1340">
                  <a:extLst>
                    <a:ext uri="{FF2B5EF4-FFF2-40B4-BE49-F238E27FC236}">
                      <a16:creationId xmlns:a16="http://schemas.microsoft.com/office/drawing/2014/main" id="{C300EFB8-8EA1-4FA8-9498-4A5D13DCA5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2" name="Lige forbindelse 1341">
                  <a:extLst>
                    <a:ext uri="{FF2B5EF4-FFF2-40B4-BE49-F238E27FC236}">
                      <a16:creationId xmlns:a16="http://schemas.microsoft.com/office/drawing/2014/main" id="{962AC972-41CC-47D0-A585-FD8382A91EF8}"/>
                    </a:ext>
                  </a:extLst>
                </p:cNvPr>
                <p:cNvCxnSpPr>
                  <a:cxnSpLocks/>
                  <a:stCxn id="1341" idx="0"/>
                  <a:endCxn id="1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3" name="Lige forbindelse 1342">
                  <a:extLst>
                    <a:ext uri="{FF2B5EF4-FFF2-40B4-BE49-F238E27FC236}">
                      <a16:creationId xmlns:a16="http://schemas.microsoft.com/office/drawing/2014/main" id="{1E98EFD1-91EC-4E61-95BC-560083C9EC8C}"/>
                    </a:ext>
                  </a:extLst>
                </p:cNvPr>
                <p:cNvCxnSpPr>
                  <a:cxnSpLocks/>
                  <a:stCxn id="1341" idx="1"/>
                  <a:endCxn id="1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6" name="Gruppe 1155">
                <a:extLst>
                  <a:ext uri="{FF2B5EF4-FFF2-40B4-BE49-F238E27FC236}">
                    <a16:creationId xmlns:a16="http://schemas.microsoft.com/office/drawing/2014/main" id="{688D1002-53DB-43C8-8456-82F994096A2D}"/>
                  </a:ext>
                </a:extLst>
              </p:cNvPr>
              <p:cNvGrpSpPr/>
              <p:nvPr/>
            </p:nvGrpSpPr>
            <p:grpSpPr>
              <a:xfrm>
                <a:off x="4308804" y="5428729"/>
                <a:ext cx="110215" cy="202903"/>
                <a:chOff x="1758507" y="5170209"/>
                <a:chExt cx="156925" cy="285896"/>
              </a:xfrm>
            </p:grpSpPr>
            <p:sp>
              <p:nvSpPr>
                <p:cNvPr id="1338" name="Rektangel 1337">
                  <a:extLst>
                    <a:ext uri="{FF2B5EF4-FFF2-40B4-BE49-F238E27FC236}">
                      <a16:creationId xmlns:a16="http://schemas.microsoft.com/office/drawing/2014/main" id="{643004A8-D33E-4F51-9CF4-20AD7592D4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9" name="Lige forbindelse 1338">
                  <a:extLst>
                    <a:ext uri="{FF2B5EF4-FFF2-40B4-BE49-F238E27FC236}">
                      <a16:creationId xmlns:a16="http://schemas.microsoft.com/office/drawing/2014/main" id="{FDD28C3A-A292-44F0-8EB8-62AD7C72772A}"/>
                    </a:ext>
                  </a:extLst>
                </p:cNvPr>
                <p:cNvCxnSpPr>
                  <a:cxnSpLocks/>
                  <a:stCxn id="1338" idx="0"/>
                  <a:endCxn id="1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0" name="Lige forbindelse 1339">
                  <a:extLst>
                    <a:ext uri="{FF2B5EF4-FFF2-40B4-BE49-F238E27FC236}">
                      <a16:creationId xmlns:a16="http://schemas.microsoft.com/office/drawing/2014/main" id="{FF242F9B-3454-49A0-8016-7CCFC7722E69}"/>
                    </a:ext>
                  </a:extLst>
                </p:cNvPr>
                <p:cNvCxnSpPr>
                  <a:cxnSpLocks/>
                  <a:stCxn id="1338" idx="1"/>
                  <a:endCxn id="1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7" name="Gruppe 1156">
                <a:extLst>
                  <a:ext uri="{FF2B5EF4-FFF2-40B4-BE49-F238E27FC236}">
                    <a16:creationId xmlns:a16="http://schemas.microsoft.com/office/drawing/2014/main" id="{F5A45F7F-8281-477A-9F15-ED7DBB350505}"/>
                  </a:ext>
                </a:extLst>
              </p:cNvPr>
              <p:cNvGrpSpPr/>
              <p:nvPr/>
            </p:nvGrpSpPr>
            <p:grpSpPr>
              <a:xfrm>
                <a:off x="4499694" y="5428729"/>
                <a:ext cx="110215" cy="202903"/>
                <a:chOff x="1758507" y="5170209"/>
                <a:chExt cx="156925" cy="285896"/>
              </a:xfrm>
            </p:grpSpPr>
            <p:sp>
              <p:nvSpPr>
                <p:cNvPr id="1335" name="Rektangel 1334">
                  <a:extLst>
                    <a:ext uri="{FF2B5EF4-FFF2-40B4-BE49-F238E27FC236}">
                      <a16:creationId xmlns:a16="http://schemas.microsoft.com/office/drawing/2014/main" id="{53BBCCF6-DC08-4877-A4EA-57BD93D2EDD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6" name="Lige forbindelse 1335">
                  <a:extLst>
                    <a:ext uri="{FF2B5EF4-FFF2-40B4-BE49-F238E27FC236}">
                      <a16:creationId xmlns:a16="http://schemas.microsoft.com/office/drawing/2014/main" id="{0469CE58-B171-49FB-9E8E-D54AA3CEBC5C}"/>
                    </a:ext>
                  </a:extLst>
                </p:cNvPr>
                <p:cNvCxnSpPr>
                  <a:cxnSpLocks/>
                  <a:stCxn id="1335" idx="0"/>
                  <a:endCxn id="1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7" name="Lige forbindelse 1336">
                  <a:extLst>
                    <a:ext uri="{FF2B5EF4-FFF2-40B4-BE49-F238E27FC236}">
                      <a16:creationId xmlns:a16="http://schemas.microsoft.com/office/drawing/2014/main" id="{17FEE155-4E6F-4726-B205-E97398912072}"/>
                    </a:ext>
                  </a:extLst>
                </p:cNvPr>
                <p:cNvCxnSpPr>
                  <a:cxnSpLocks/>
                  <a:stCxn id="1335" idx="1"/>
                  <a:endCxn id="1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8" name="Gruppe 1157">
                <a:extLst>
                  <a:ext uri="{FF2B5EF4-FFF2-40B4-BE49-F238E27FC236}">
                    <a16:creationId xmlns:a16="http://schemas.microsoft.com/office/drawing/2014/main" id="{1ED9FB21-AD1F-4252-AF88-F02197B43428}"/>
                  </a:ext>
                </a:extLst>
              </p:cNvPr>
              <p:cNvGrpSpPr/>
              <p:nvPr/>
            </p:nvGrpSpPr>
            <p:grpSpPr>
              <a:xfrm>
                <a:off x="4690585" y="5428729"/>
                <a:ext cx="110215" cy="202903"/>
                <a:chOff x="1758507" y="5170209"/>
                <a:chExt cx="156925" cy="285896"/>
              </a:xfrm>
            </p:grpSpPr>
            <p:sp>
              <p:nvSpPr>
                <p:cNvPr id="1332" name="Rektangel 1331">
                  <a:extLst>
                    <a:ext uri="{FF2B5EF4-FFF2-40B4-BE49-F238E27FC236}">
                      <a16:creationId xmlns:a16="http://schemas.microsoft.com/office/drawing/2014/main" id="{5B725534-4369-4499-AA9E-20457A1ADC3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3" name="Lige forbindelse 1332">
                  <a:extLst>
                    <a:ext uri="{FF2B5EF4-FFF2-40B4-BE49-F238E27FC236}">
                      <a16:creationId xmlns:a16="http://schemas.microsoft.com/office/drawing/2014/main" id="{F0BC8CE7-847E-4D94-8BEF-1B3FB39DF427}"/>
                    </a:ext>
                  </a:extLst>
                </p:cNvPr>
                <p:cNvCxnSpPr>
                  <a:cxnSpLocks/>
                  <a:stCxn id="1332" idx="0"/>
                  <a:endCxn id="1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4" name="Lige forbindelse 1333">
                  <a:extLst>
                    <a:ext uri="{FF2B5EF4-FFF2-40B4-BE49-F238E27FC236}">
                      <a16:creationId xmlns:a16="http://schemas.microsoft.com/office/drawing/2014/main" id="{CCE4F77C-8080-49A9-BABB-F43DB1A89F68}"/>
                    </a:ext>
                  </a:extLst>
                </p:cNvPr>
                <p:cNvCxnSpPr>
                  <a:cxnSpLocks/>
                  <a:stCxn id="1332" idx="1"/>
                  <a:endCxn id="1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9" name="Gruppe 1158">
                <a:extLst>
                  <a:ext uri="{FF2B5EF4-FFF2-40B4-BE49-F238E27FC236}">
                    <a16:creationId xmlns:a16="http://schemas.microsoft.com/office/drawing/2014/main" id="{1EE56D0B-1388-4985-8DBA-A430FB71DEC6}"/>
                  </a:ext>
                </a:extLst>
              </p:cNvPr>
              <p:cNvGrpSpPr/>
              <p:nvPr/>
            </p:nvGrpSpPr>
            <p:grpSpPr>
              <a:xfrm>
                <a:off x="4881475" y="5428729"/>
                <a:ext cx="110215" cy="202903"/>
                <a:chOff x="1758507" y="5170209"/>
                <a:chExt cx="156925" cy="285896"/>
              </a:xfrm>
            </p:grpSpPr>
            <p:sp>
              <p:nvSpPr>
                <p:cNvPr id="1329" name="Rektangel 1328">
                  <a:extLst>
                    <a:ext uri="{FF2B5EF4-FFF2-40B4-BE49-F238E27FC236}">
                      <a16:creationId xmlns:a16="http://schemas.microsoft.com/office/drawing/2014/main" id="{9C14612E-7D8D-4066-BADD-77CCE5ECE0C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0" name="Lige forbindelse 1329">
                  <a:extLst>
                    <a:ext uri="{FF2B5EF4-FFF2-40B4-BE49-F238E27FC236}">
                      <a16:creationId xmlns:a16="http://schemas.microsoft.com/office/drawing/2014/main" id="{0344DFF7-F61C-41DB-812F-8BA2353E1FF3}"/>
                    </a:ext>
                  </a:extLst>
                </p:cNvPr>
                <p:cNvCxnSpPr>
                  <a:cxnSpLocks/>
                  <a:stCxn id="1329" idx="0"/>
                  <a:endCxn id="1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1" name="Lige forbindelse 1330">
                  <a:extLst>
                    <a:ext uri="{FF2B5EF4-FFF2-40B4-BE49-F238E27FC236}">
                      <a16:creationId xmlns:a16="http://schemas.microsoft.com/office/drawing/2014/main" id="{EF76EA14-436C-4F60-96FE-A49E00B48F15}"/>
                    </a:ext>
                  </a:extLst>
                </p:cNvPr>
                <p:cNvCxnSpPr>
                  <a:cxnSpLocks/>
                  <a:stCxn id="1329" idx="1"/>
                  <a:endCxn id="1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0" name="Gruppe 1159">
                <a:extLst>
                  <a:ext uri="{FF2B5EF4-FFF2-40B4-BE49-F238E27FC236}">
                    <a16:creationId xmlns:a16="http://schemas.microsoft.com/office/drawing/2014/main" id="{9EE02EA6-EBBC-43CC-B102-FFD2324D556B}"/>
                  </a:ext>
                </a:extLst>
              </p:cNvPr>
              <p:cNvGrpSpPr/>
              <p:nvPr/>
            </p:nvGrpSpPr>
            <p:grpSpPr>
              <a:xfrm>
                <a:off x="5072366" y="5428729"/>
                <a:ext cx="110215" cy="202903"/>
                <a:chOff x="1758507" y="5170209"/>
                <a:chExt cx="156925" cy="285896"/>
              </a:xfrm>
            </p:grpSpPr>
            <p:sp>
              <p:nvSpPr>
                <p:cNvPr id="1326" name="Rektangel 1325">
                  <a:extLst>
                    <a:ext uri="{FF2B5EF4-FFF2-40B4-BE49-F238E27FC236}">
                      <a16:creationId xmlns:a16="http://schemas.microsoft.com/office/drawing/2014/main" id="{B2B8F26B-BF83-453A-8129-64FFA4257A9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7" name="Lige forbindelse 1326">
                  <a:extLst>
                    <a:ext uri="{FF2B5EF4-FFF2-40B4-BE49-F238E27FC236}">
                      <a16:creationId xmlns:a16="http://schemas.microsoft.com/office/drawing/2014/main" id="{39DB54AF-43B7-4643-BAF5-6F0C4B439405}"/>
                    </a:ext>
                  </a:extLst>
                </p:cNvPr>
                <p:cNvCxnSpPr>
                  <a:cxnSpLocks/>
                  <a:stCxn id="1326" idx="0"/>
                  <a:endCxn id="1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8" name="Lige forbindelse 1327">
                  <a:extLst>
                    <a:ext uri="{FF2B5EF4-FFF2-40B4-BE49-F238E27FC236}">
                      <a16:creationId xmlns:a16="http://schemas.microsoft.com/office/drawing/2014/main" id="{136D6D33-93B4-48C7-8CD6-56C2FAB02C89}"/>
                    </a:ext>
                  </a:extLst>
                </p:cNvPr>
                <p:cNvCxnSpPr>
                  <a:cxnSpLocks/>
                  <a:stCxn id="1326" idx="1"/>
                  <a:endCxn id="1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1" name="Gruppe 1160">
                <a:extLst>
                  <a:ext uri="{FF2B5EF4-FFF2-40B4-BE49-F238E27FC236}">
                    <a16:creationId xmlns:a16="http://schemas.microsoft.com/office/drawing/2014/main" id="{5B99DC59-C026-4C50-9B6F-415F80CF120D}"/>
                  </a:ext>
                </a:extLst>
              </p:cNvPr>
              <p:cNvGrpSpPr/>
              <p:nvPr/>
            </p:nvGrpSpPr>
            <p:grpSpPr>
              <a:xfrm>
                <a:off x="5263257" y="5428729"/>
                <a:ext cx="110215" cy="202903"/>
                <a:chOff x="1758507" y="5170209"/>
                <a:chExt cx="156925" cy="285896"/>
              </a:xfrm>
            </p:grpSpPr>
            <p:sp>
              <p:nvSpPr>
                <p:cNvPr id="1323" name="Rektangel 1322">
                  <a:extLst>
                    <a:ext uri="{FF2B5EF4-FFF2-40B4-BE49-F238E27FC236}">
                      <a16:creationId xmlns:a16="http://schemas.microsoft.com/office/drawing/2014/main" id="{020327DC-E93D-4AFB-8A18-18DA8CEFA7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4" name="Lige forbindelse 1323">
                  <a:extLst>
                    <a:ext uri="{FF2B5EF4-FFF2-40B4-BE49-F238E27FC236}">
                      <a16:creationId xmlns:a16="http://schemas.microsoft.com/office/drawing/2014/main" id="{441DDAA0-062B-4AC5-9EA1-720B039CC9C1}"/>
                    </a:ext>
                  </a:extLst>
                </p:cNvPr>
                <p:cNvCxnSpPr>
                  <a:cxnSpLocks/>
                  <a:stCxn id="1323" idx="0"/>
                  <a:endCxn id="1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5" name="Lige forbindelse 1324">
                  <a:extLst>
                    <a:ext uri="{FF2B5EF4-FFF2-40B4-BE49-F238E27FC236}">
                      <a16:creationId xmlns:a16="http://schemas.microsoft.com/office/drawing/2014/main" id="{4C039D54-F273-457A-B648-EAB0BBD2AF21}"/>
                    </a:ext>
                  </a:extLst>
                </p:cNvPr>
                <p:cNvCxnSpPr>
                  <a:cxnSpLocks/>
                  <a:stCxn id="1323" idx="1"/>
                  <a:endCxn id="1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2" name="Gruppe 1161">
                <a:extLst>
                  <a:ext uri="{FF2B5EF4-FFF2-40B4-BE49-F238E27FC236}">
                    <a16:creationId xmlns:a16="http://schemas.microsoft.com/office/drawing/2014/main" id="{A180532B-0223-4897-9756-55B2302C3FC3}"/>
                  </a:ext>
                </a:extLst>
              </p:cNvPr>
              <p:cNvGrpSpPr/>
              <p:nvPr/>
            </p:nvGrpSpPr>
            <p:grpSpPr>
              <a:xfrm>
                <a:off x="5454147" y="5428729"/>
                <a:ext cx="110215" cy="202903"/>
                <a:chOff x="1758507" y="5170209"/>
                <a:chExt cx="156925" cy="285896"/>
              </a:xfrm>
            </p:grpSpPr>
            <p:sp>
              <p:nvSpPr>
                <p:cNvPr id="1320" name="Rektangel 1319">
                  <a:extLst>
                    <a:ext uri="{FF2B5EF4-FFF2-40B4-BE49-F238E27FC236}">
                      <a16:creationId xmlns:a16="http://schemas.microsoft.com/office/drawing/2014/main" id="{C772DE32-B02F-4159-95C6-F178AFD2325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1" name="Lige forbindelse 1320">
                  <a:extLst>
                    <a:ext uri="{FF2B5EF4-FFF2-40B4-BE49-F238E27FC236}">
                      <a16:creationId xmlns:a16="http://schemas.microsoft.com/office/drawing/2014/main" id="{9969B0F4-0B95-465E-9995-27E0F0655110}"/>
                    </a:ext>
                  </a:extLst>
                </p:cNvPr>
                <p:cNvCxnSpPr>
                  <a:cxnSpLocks/>
                  <a:stCxn id="1320" idx="0"/>
                  <a:endCxn id="1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2" name="Lige forbindelse 1321">
                  <a:extLst>
                    <a:ext uri="{FF2B5EF4-FFF2-40B4-BE49-F238E27FC236}">
                      <a16:creationId xmlns:a16="http://schemas.microsoft.com/office/drawing/2014/main" id="{0B394650-DD01-4E86-B99B-DBF869268169}"/>
                    </a:ext>
                  </a:extLst>
                </p:cNvPr>
                <p:cNvCxnSpPr>
                  <a:cxnSpLocks/>
                  <a:stCxn id="1320" idx="1"/>
                  <a:endCxn id="1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3" name="Gruppe 1162">
                <a:extLst>
                  <a:ext uri="{FF2B5EF4-FFF2-40B4-BE49-F238E27FC236}">
                    <a16:creationId xmlns:a16="http://schemas.microsoft.com/office/drawing/2014/main" id="{A43EBC73-C35F-4093-838D-1C169E0DE33B}"/>
                  </a:ext>
                </a:extLst>
              </p:cNvPr>
              <p:cNvGrpSpPr/>
              <p:nvPr/>
            </p:nvGrpSpPr>
            <p:grpSpPr>
              <a:xfrm>
                <a:off x="5645037" y="5428729"/>
                <a:ext cx="110215" cy="202903"/>
                <a:chOff x="1758507" y="5170209"/>
                <a:chExt cx="156925" cy="285896"/>
              </a:xfrm>
            </p:grpSpPr>
            <p:sp>
              <p:nvSpPr>
                <p:cNvPr id="1317" name="Rektangel 1316">
                  <a:extLst>
                    <a:ext uri="{FF2B5EF4-FFF2-40B4-BE49-F238E27FC236}">
                      <a16:creationId xmlns:a16="http://schemas.microsoft.com/office/drawing/2014/main" id="{0E1B0243-42FB-4B5B-9F22-87BD3422C6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8" name="Lige forbindelse 1317">
                  <a:extLst>
                    <a:ext uri="{FF2B5EF4-FFF2-40B4-BE49-F238E27FC236}">
                      <a16:creationId xmlns:a16="http://schemas.microsoft.com/office/drawing/2014/main" id="{870082C4-A661-4FB3-A0C5-DEB08A7F48F9}"/>
                    </a:ext>
                  </a:extLst>
                </p:cNvPr>
                <p:cNvCxnSpPr>
                  <a:cxnSpLocks/>
                  <a:stCxn id="1317" idx="0"/>
                  <a:endCxn id="1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9" name="Lige forbindelse 1318">
                  <a:extLst>
                    <a:ext uri="{FF2B5EF4-FFF2-40B4-BE49-F238E27FC236}">
                      <a16:creationId xmlns:a16="http://schemas.microsoft.com/office/drawing/2014/main" id="{477AAD60-03C4-4D7C-8A62-B64267D76A88}"/>
                    </a:ext>
                  </a:extLst>
                </p:cNvPr>
                <p:cNvCxnSpPr>
                  <a:cxnSpLocks/>
                  <a:stCxn id="1317" idx="1"/>
                  <a:endCxn id="1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4" name="Gruppe 1163">
                <a:extLst>
                  <a:ext uri="{FF2B5EF4-FFF2-40B4-BE49-F238E27FC236}">
                    <a16:creationId xmlns:a16="http://schemas.microsoft.com/office/drawing/2014/main" id="{CC863F6F-993C-46F7-86D3-B79ABD6DCB7B}"/>
                  </a:ext>
                </a:extLst>
              </p:cNvPr>
              <p:cNvGrpSpPr/>
              <p:nvPr/>
            </p:nvGrpSpPr>
            <p:grpSpPr>
              <a:xfrm>
                <a:off x="5835932" y="5428729"/>
                <a:ext cx="110215" cy="202903"/>
                <a:chOff x="1758507" y="5170209"/>
                <a:chExt cx="156925" cy="285896"/>
              </a:xfrm>
            </p:grpSpPr>
            <p:sp>
              <p:nvSpPr>
                <p:cNvPr id="1314" name="Rektangel 1313">
                  <a:extLst>
                    <a:ext uri="{FF2B5EF4-FFF2-40B4-BE49-F238E27FC236}">
                      <a16:creationId xmlns:a16="http://schemas.microsoft.com/office/drawing/2014/main" id="{DC991014-B2D4-4864-85E1-7AE657CDD23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5" name="Lige forbindelse 1314">
                  <a:extLst>
                    <a:ext uri="{FF2B5EF4-FFF2-40B4-BE49-F238E27FC236}">
                      <a16:creationId xmlns:a16="http://schemas.microsoft.com/office/drawing/2014/main" id="{AD734032-D311-4C62-BD8E-5BB4E9770D47}"/>
                    </a:ext>
                  </a:extLst>
                </p:cNvPr>
                <p:cNvCxnSpPr>
                  <a:cxnSpLocks/>
                  <a:stCxn id="1314" idx="0"/>
                  <a:endCxn id="1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6" name="Lige forbindelse 1315">
                  <a:extLst>
                    <a:ext uri="{FF2B5EF4-FFF2-40B4-BE49-F238E27FC236}">
                      <a16:creationId xmlns:a16="http://schemas.microsoft.com/office/drawing/2014/main" id="{FA86085D-F60E-44CB-A006-647256CA7A02}"/>
                    </a:ext>
                  </a:extLst>
                </p:cNvPr>
                <p:cNvCxnSpPr>
                  <a:cxnSpLocks/>
                  <a:stCxn id="1314" idx="1"/>
                  <a:endCxn id="1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5" name="Gruppe 1164">
                <a:extLst>
                  <a:ext uri="{FF2B5EF4-FFF2-40B4-BE49-F238E27FC236}">
                    <a16:creationId xmlns:a16="http://schemas.microsoft.com/office/drawing/2014/main" id="{7897806D-C513-435F-9DE2-8DD0A4818AE3}"/>
                  </a:ext>
                </a:extLst>
              </p:cNvPr>
              <p:cNvGrpSpPr/>
              <p:nvPr/>
            </p:nvGrpSpPr>
            <p:grpSpPr>
              <a:xfrm>
                <a:off x="1827227" y="5698878"/>
                <a:ext cx="110215" cy="202903"/>
                <a:chOff x="1758507" y="5170209"/>
                <a:chExt cx="156925" cy="285896"/>
              </a:xfrm>
            </p:grpSpPr>
            <p:sp>
              <p:nvSpPr>
                <p:cNvPr id="1311" name="Rektangel 1310">
                  <a:extLst>
                    <a:ext uri="{FF2B5EF4-FFF2-40B4-BE49-F238E27FC236}">
                      <a16:creationId xmlns:a16="http://schemas.microsoft.com/office/drawing/2014/main" id="{3D1B12DD-181A-47B4-9878-F7EC7AE6E3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2" name="Lige forbindelse 1311">
                  <a:extLst>
                    <a:ext uri="{FF2B5EF4-FFF2-40B4-BE49-F238E27FC236}">
                      <a16:creationId xmlns:a16="http://schemas.microsoft.com/office/drawing/2014/main" id="{6158743D-1F0E-4F6C-A272-43AFF9BCBB03}"/>
                    </a:ext>
                  </a:extLst>
                </p:cNvPr>
                <p:cNvCxnSpPr>
                  <a:cxnSpLocks/>
                  <a:stCxn id="1311" idx="0"/>
                  <a:endCxn id="1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3" name="Lige forbindelse 1312">
                  <a:extLst>
                    <a:ext uri="{FF2B5EF4-FFF2-40B4-BE49-F238E27FC236}">
                      <a16:creationId xmlns:a16="http://schemas.microsoft.com/office/drawing/2014/main" id="{C21A2FA5-93A0-43AE-B7E8-D47E6F10C4F1}"/>
                    </a:ext>
                  </a:extLst>
                </p:cNvPr>
                <p:cNvCxnSpPr>
                  <a:cxnSpLocks/>
                  <a:stCxn id="1311" idx="1"/>
                  <a:endCxn id="1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6" name="Gruppe 1165">
                <a:extLst>
                  <a:ext uri="{FF2B5EF4-FFF2-40B4-BE49-F238E27FC236}">
                    <a16:creationId xmlns:a16="http://schemas.microsoft.com/office/drawing/2014/main" id="{7514317B-5394-4ED4-A418-B2CDFA8F5524}"/>
                  </a:ext>
                </a:extLst>
              </p:cNvPr>
              <p:cNvGrpSpPr/>
              <p:nvPr/>
            </p:nvGrpSpPr>
            <p:grpSpPr>
              <a:xfrm>
                <a:off x="2018117" y="5698878"/>
                <a:ext cx="110215" cy="202903"/>
                <a:chOff x="1758507" y="5170209"/>
                <a:chExt cx="156925" cy="285896"/>
              </a:xfrm>
            </p:grpSpPr>
            <p:sp>
              <p:nvSpPr>
                <p:cNvPr id="1308" name="Rektangel 1307">
                  <a:extLst>
                    <a:ext uri="{FF2B5EF4-FFF2-40B4-BE49-F238E27FC236}">
                      <a16:creationId xmlns:a16="http://schemas.microsoft.com/office/drawing/2014/main" id="{112349A6-0F97-4B3A-8040-7869FACDED9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9" name="Lige forbindelse 1308">
                  <a:extLst>
                    <a:ext uri="{FF2B5EF4-FFF2-40B4-BE49-F238E27FC236}">
                      <a16:creationId xmlns:a16="http://schemas.microsoft.com/office/drawing/2014/main" id="{6FA8EC29-016A-4818-8724-D1289F6E09AB}"/>
                    </a:ext>
                  </a:extLst>
                </p:cNvPr>
                <p:cNvCxnSpPr>
                  <a:cxnSpLocks/>
                  <a:stCxn id="1308" idx="0"/>
                  <a:endCxn id="1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0" name="Lige forbindelse 1309">
                  <a:extLst>
                    <a:ext uri="{FF2B5EF4-FFF2-40B4-BE49-F238E27FC236}">
                      <a16:creationId xmlns:a16="http://schemas.microsoft.com/office/drawing/2014/main" id="{E9E896B6-136E-45AD-9129-8C27B88C82DE}"/>
                    </a:ext>
                  </a:extLst>
                </p:cNvPr>
                <p:cNvCxnSpPr>
                  <a:cxnSpLocks/>
                  <a:stCxn id="1308" idx="1"/>
                  <a:endCxn id="1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7" name="Gruppe 1166">
                <a:extLst>
                  <a:ext uri="{FF2B5EF4-FFF2-40B4-BE49-F238E27FC236}">
                    <a16:creationId xmlns:a16="http://schemas.microsoft.com/office/drawing/2014/main" id="{1823C1DC-E783-495F-A8A4-F8143AE4D91E}"/>
                  </a:ext>
                </a:extLst>
              </p:cNvPr>
              <p:cNvGrpSpPr/>
              <p:nvPr/>
            </p:nvGrpSpPr>
            <p:grpSpPr>
              <a:xfrm>
                <a:off x="2209008" y="5698878"/>
                <a:ext cx="110215" cy="202903"/>
                <a:chOff x="1758507" y="5170209"/>
                <a:chExt cx="156925" cy="285896"/>
              </a:xfrm>
            </p:grpSpPr>
            <p:sp>
              <p:nvSpPr>
                <p:cNvPr id="1305" name="Rektangel 1304">
                  <a:extLst>
                    <a:ext uri="{FF2B5EF4-FFF2-40B4-BE49-F238E27FC236}">
                      <a16:creationId xmlns:a16="http://schemas.microsoft.com/office/drawing/2014/main" id="{B174EA1E-F37A-48F6-A0F7-AC1766BD67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6" name="Lige forbindelse 1305">
                  <a:extLst>
                    <a:ext uri="{FF2B5EF4-FFF2-40B4-BE49-F238E27FC236}">
                      <a16:creationId xmlns:a16="http://schemas.microsoft.com/office/drawing/2014/main" id="{E734BAE0-EF10-4E9D-91BC-1E5C2D6B4540}"/>
                    </a:ext>
                  </a:extLst>
                </p:cNvPr>
                <p:cNvCxnSpPr>
                  <a:cxnSpLocks/>
                  <a:stCxn id="1305" idx="0"/>
                  <a:endCxn id="1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7" name="Lige forbindelse 1306">
                  <a:extLst>
                    <a:ext uri="{FF2B5EF4-FFF2-40B4-BE49-F238E27FC236}">
                      <a16:creationId xmlns:a16="http://schemas.microsoft.com/office/drawing/2014/main" id="{D6EF04A3-00AB-41AF-8068-25005C96DA9D}"/>
                    </a:ext>
                  </a:extLst>
                </p:cNvPr>
                <p:cNvCxnSpPr>
                  <a:cxnSpLocks/>
                  <a:stCxn id="1305" idx="1"/>
                  <a:endCxn id="1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8" name="Gruppe 1167">
                <a:extLst>
                  <a:ext uri="{FF2B5EF4-FFF2-40B4-BE49-F238E27FC236}">
                    <a16:creationId xmlns:a16="http://schemas.microsoft.com/office/drawing/2014/main" id="{215F439C-9E94-4359-AF30-C250293E9D1A}"/>
                  </a:ext>
                </a:extLst>
              </p:cNvPr>
              <p:cNvGrpSpPr/>
              <p:nvPr/>
            </p:nvGrpSpPr>
            <p:grpSpPr>
              <a:xfrm>
                <a:off x="2399898" y="5698878"/>
                <a:ext cx="110215" cy="202903"/>
                <a:chOff x="1758507" y="5170209"/>
                <a:chExt cx="156925" cy="285896"/>
              </a:xfrm>
            </p:grpSpPr>
            <p:sp>
              <p:nvSpPr>
                <p:cNvPr id="1302" name="Rektangel 1301">
                  <a:extLst>
                    <a:ext uri="{FF2B5EF4-FFF2-40B4-BE49-F238E27FC236}">
                      <a16:creationId xmlns:a16="http://schemas.microsoft.com/office/drawing/2014/main" id="{E62FC863-F374-4893-A5D9-41917FEB305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3" name="Lige forbindelse 1302">
                  <a:extLst>
                    <a:ext uri="{FF2B5EF4-FFF2-40B4-BE49-F238E27FC236}">
                      <a16:creationId xmlns:a16="http://schemas.microsoft.com/office/drawing/2014/main" id="{D32D0306-5DAD-413B-8817-1E6732981DF5}"/>
                    </a:ext>
                  </a:extLst>
                </p:cNvPr>
                <p:cNvCxnSpPr>
                  <a:cxnSpLocks/>
                  <a:stCxn id="1302" idx="0"/>
                  <a:endCxn id="1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4" name="Lige forbindelse 1303">
                  <a:extLst>
                    <a:ext uri="{FF2B5EF4-FFF2-40B4-BE49-F238E27FC236}">
                      <a16:creationId xmlns:a16="http://schemas.microsoft.com/office/drawing/2014/main" id="{C186299E-A31E-40FF-8817-8B0BDC6E6083}"/>
                    </a:ext>
                  </a:extLst>
                </p:cNvPr>
                <p:cNvCxnSpPr>
                  <a:cxnSpLocks/>
                  <a:stCxn id="1302" idx="1"/>
                  <a:endCxn id="1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9" name="Gruppe 1168">
                <a:extLst>
                  <a:ext uri="{FF2B5EF4-FFF2-40B4-BE49-F238E27FC236}">
                    <a16:creationId xmlns:a16="http://schemas.microsoft.com/office/drawing/2014/main" id="{ED0F1066-BE47-4B18-AB5E-BCF593EDDCCA}"/>
                  </a:ext>
                </a:extLst>
              </p:cNvPr>
              <p:cNvGrpSpPr/>
              <p:nvPr/>
            </p:nvGrpSpPr>
            <p:grpSpPr>
              <a:xfrm>
                <a:off x="2590789" y="5698878"/>
                <a:ext cx="110215" cy="202903"/>
                <a:chOff x="1758507" y="5170209"/>
                <a:chExt cx="156925" cy="285896"/>
              </a:xfrm>
            </p:grpSpPr>
            <p:sp>
              <p:nvSpPr>
                <p:cNvPr id="1299" name="Rektangel 1298">
                  <a:extLst>
                    <a:ext uri="{FF2B5EF4-FFF2-40B4-BE49-F238E27FC236}">
                      <a16:creationId xmlns:a16="http://schemas.microsoft.com/office/drawing/2014/main" id="{4F89C1BB-2DF9-4727-8967-DADB4EA166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0" name="Lige forbindelse 1299">
                  <a:extLst>
                    <a:ext uri="{FF2B5EF4-FFF2-40B4-BE49-F238E27FC236}">
                      <a16:creationId xmlns:a16="http://schemas.microsoft.com/office/drawing/2014/main" id="{F7C7517F-EF01-400F-B615-1BB276F07A98}"/>
                    </a:ext>
                  </a:extLst>
                </p:cNvPr>
                <p:cNvCxnSpPr>
                  <a:cxnSpLocks/>
                  <a:stCxn id="1299" idx="0"/>
                  <a:endCxn id="1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1" name="Lige forbindelse 1300">
                  <a:extLst>
                    <a:ext uri="{FF2B5EF4-FFF2-40B4-BE49-F238E27FC236}">
                      <a16:creationId xmlns:a16="http://schemas.microsoft.com/office/drawing/2014/main" id="{87E1D86E-317C-489A-8F7C-BAA84BDF1644}"/>
                    </a:ext>
                  </a:extLst>
                </p:cNvPr>
                <p:cNvCxnSpPr>
                  <a:cxnSpLocks/>
                  <a:stCxn id="1299" idx="1"/>
                  <a:endCxn id="1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0" name="Gruppe 1169">
                <a:extLst>
                  <a:ext uri="{FF2B5EF4-FFF2-40B4-BE49-F238E27FC236}">
                    <a16:creationId xmlns:a16="http://schemas.microsoft.com/office/drawing/2014/main" id="{0BFFA172-BDA6-4168-9230-A7C45E9D35E1}"/>
                  </a:ext>
                </a:extLst>
              </p:cNvPr>
              <p:cNvGrpSpPr/>
              <p:nvPr/>
            </p:nvGrpSpPr>
            <p:grpSpPr>
              <a:xfrm>
                <a:off x="2781680" y="5698878"/>
                <a:ext cx="110215" cy="202903"/>
                <a:chOff x="1758507" y="5170209"/>
                <a:chExt cx="156925" cy="285896"/>
              </a:xfrm>
            </p:grpSpPr>
            <p:sp>
              <p:nvSpPr>
                <p:cNvPr id="1296" name="Rektangel 1295">
                  <a:extLst>
                    <a:ext uri="{FF2B5EF4-FFF2-40B4-BE49-F238E27FC236}">
                      <a16:creationId xmlns:a16="http://schemas.microsoft.com/office/drawing/2014/main" id="{BC85D05F-D64E-4057-95FA-42C866CCCAE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7" name="Lige forbindelse 1296">
                  <a:extLst>
                    <a:ext uri="{FF2B5EF4-FFF2-40B4-BE49-F238E27FC236}">
                      <a16:creationId xmlns:a16="http://schemas.microsoft.com/office/drawing/2014/main" id="{8BF764F7-6CA0-4863-8274-F326713BF94D}"/>
                    </a:ext>
                  </a:extLst>
                </p:cNvPr>
                <p:cNvCxnSpPr>
                  <a:cxnSpLocks/>
                  <a:stCxn id="1296" idx="0"/>
                  <a:endCxn id="1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8" name="Lige forbindelse 1297">
                  <a:extLst>
                    <a:ext uri="{FF2B5EF4-FFF2-40B4-BE49-F238E27FC236}">
                      <a16:creationId xmlns:a16="http://schemas.microsoft.com/office/drawing/2014/main" id="{D65CCD91-19BA-4B54-95E2-C7509AA3D358}"/>
                    </a:ext>
                  </a:extLst>
                </p:cNvPr>
                <p:cNvCxnSpPr>
                  <a:cxnSpLocks/>
                  <a:stCxn id="1296" idx="1"/>
                  <a:endCxn id="1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1" name="Rektangel 1170">
                <a:extLst>
                  <a:ext uri="{FF2B5EF4-FFF2-40B4-BE49-F238E27FC236}">
                    <a16:creationId xmlns:a16="http://schemas.microsoft.com/office/drawing/2014/main" id="{BC786BA8-9122-4F4E-B239-1A8091879456}"/>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72" name="Lige forbindelse 1171">
                <a:extLst>
                  <a:ext uri="{FF2B5EF4-FFF2-40B4-BE49-F238E27FC236}">
                    <a16:creationId xmlns:a16="http://schemas.microsoft.com/office/drawing/2014/main" id="{71DB2352-28C6-47A6-B0A4-A9C6E47E8DE7}"/>
                  </a:ext>
                </a:extLst>
              </p:cNvPr>
              <p:cNvCxnSpPr>
                <a:cxnSpLocks/>
                <a:stCxn id="1171" idx="0"/>
                <a:endCxn id="1171"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73" name="Lige forbindelse 1172">
                <a:extLst>
                  <a:ext uri="{FF2B5EF4-FFF2-40B4-BE49-F238E27FC236}">
                    <a16:creationId xmlns:a16="http://schemas.microsoft.com/office/drawing/2014/main" id="{E69E090E-D853-49FD-912B-D4240C4243A2}"/>
                  </a:ext>
                </a:extLst>
              </p:cNvPr>
              <p:cNvCxnSpPr>
                <a:cxnSpLocks/>
                <a:stCxn id="1171" idx="1"/>
                <a:endCxn id="1171"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1174" name="Gruppe 1173">
                <a:extLst>
                  <a:ext uri="{FF2B5EF4-FFF2-40B4-BE49-F238E27FC236}">
                    <a16:creationId xmlns:a16="http://schemas.microsoft.com/office/drawing/2014/main" id="{D66E5E81-2BF4-4DA4-B716-44FC6C241594}"/>
                  </a:ext>
                </a:extLst>
              </p:cNvPr>
              <p:cNvGrpSpPr/>
              <p:nvPr/>
            </p:nvGrpSpPr>
            <p:grpSpPr>
              <a:xfrm>
                <a:off x="4690585" y="5698878"/>
                <a:ext cx="110215" cy="202903"/>
                <a:chOff x="1758507" y="5170209"/>
                <a:chExt cx="156925" cy="285896"/>
              </a:xfrm>
            </p:grpSpPr>
            <p:sp>
              <p:nvSpPr>
                <p:cNvPr id="1293" name="Rektangel 1292">
                  <a:extLst>
                    <a:ext uri="{FF2B5EF4-FFF2-40B4-BE49-F238E27FC236}">
                      <a16:creationId xmlns:a16="http://schemas.microsoft.com/office/drawing/2014/main" id="{135CF225-C04A-4FF2-91FF-661F872884F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4" name="Lige forbindelse 1293">
                  <a:extLst>
                    <a:ext uri="{FF2B5EF4-FFF2-40B4-BE49-F238E27FC236}">
                      <a16:creationId xmlns:a16="http://schemas.microsoft.com/office/drawing/2014/main" id="{54144AC1-13BA-461E-B730-68E3BCC89021}"/>
                    </a:ext>
                  </a:extLst>
                </p:cNvPr>
                <p:cNvCxnSpPr>
                  <a:cxnSpLocks/>
                  <a:stCxn id="1293" idx="0"/>
                  <a:endCxn id="1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5" name="Lige forbindelse 1294">
                  <a:extLst>
                    <a:ext uri="{FF2B5EF4-FFF2-40B4-BE49-F238E27FC236}">
                      <a16:creationId xmlns:a16="http://schemas.microsoft.com/office/drawing/2014/main" id="{8442088E-50D9-4D7D-B550-4D50690D8FB0}"/>
                    </a:ext>
                  </a:extLst>
                </p:cNvPr>
                <p:cNvCxnSpPr>
                  <a:cxnSpLocks/>
                  <a:stCxn id="1293" idx="1"/>
                  <a:endCxn id="1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5" name="Gruppe 1174">
                <a:extLst>
                  <a:ext uri="{FF2B5EF4-FFF2-40B4-BE49-F238E27FC236}">
                    <a16:creationId xmlns:a16="http://schemas.microsoft.com/office/drawing/2014/main" id="{306A62CB-5435-4B47-BD92-CE3061E9FAA7}"/>
                  </a:ext>
                </a:extLst>
              </p:cNvPr>
              <p:cNvGrpSpPr/>
              <p:nvPr/>
            </p:nvGrpSpPr>
            <p:grpSpPr>
              <a:xfrm>
                <a:off x="4881475" y="5698878"/>
                <a:ext cx="110215" cy="202903"/>
                <a:chOff x="1758507" y="5170209"/>
                <a:chExt cx="156925" cy="285896"/>
              </a:xfrm>
            </p:grpSpPr>
            <p:sp>
              <p:nvSpPr>
                <p:cNvPr id="1290" name="Rektangel 1289">
                  <a:extLst>
                    <a:ext uri="{FF2B5EF4-FFF2-40B4-BE49-F238E27FC236}">
                      <a16:creationId xmlns:a16="http://schemas.microsoft.com/office/drawing/2014/main" id="{728D68ED-C0F5-44E5-B6CE-C733A147779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1" name="Lige forbindelse 1290">
                  <a:extLst>
                    <a:ext uri="{FF2B5EF4-FFF2-40B4-BE49-F238E27FC236}">
                      <a16:creationId xmlns:a16="http://schemas.microsoft.com/office/drawing/2014/main" id="{AEC9E874-8D76-4CE3-BF5D-51B3ECE2A985}"/>
                    </a:ext>
                  </a:extLst>
                </p:cNvPr>
                <p:cNvCxnSpPr>
                  <a:cxnSpLocks/>
                  <a:stCxn id="1290" idx="0"/>
                  <a:endCxn id="1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2" name="Lige forbindelse 1291">
                  <a:extLst>
                    <a:ext uri="{FF2B5EF4-FFF2-40B4-BE49-F238E27FC236}">
                      <a16:creationId xmlns:a16="http://schemas.microsoft.com/office/drawing/2014/main" id="{FB20963B-F560-480C-9BC1-9880DB86FA35}"/>
                    </a:ext>
                  </a:extLst>
                </p:cNvPr>
                <p:cNvCxnSpPr>
                  <a:cxnSpLocks/>
                  <a:stCxn id="1290" idx="1"/>
                  <a:endCxn id="1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6" name="Rektangel 1175">
                <a:extLst>
                  <a:ext uri="{FF2B5EF4-FFF2-40B4-BE49-F238E27FC236}">
                    <a16:creationId xmlns:a16="http://schemas.microsoft.com/office/drawing/2014/main" id="{F947BC87-9C36-454E-AF79-0B8608C220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77" name="Gruppe 1176">
                <a:extLst>
                  <a:ext uri="{FF2B5EF4-FFF2-40B4-BE49-F238E27FC236}">
                    <a16:creationId xmlns:a16="http://schemas.microsoft.com/office/drawing/2014/main" id="{4C2B799D-3F53-4128-BF4F-49535FE59A9E}"/>
                  </a:ext>
                </a:extLst>
              </p:cNvPr>
              <p:cNvGrpSpPr/>
              <p:nvPr/>
            </p:nvGrpSpPr>
            <p:grpSpPr>
              <a:xfrm>
                <a:off x="2895359" y="5971178"/>
                <a:ext cx="1982809" cy="63914"/>
                <a:chOff x="1209635" y="3152432"/>
                <a:chExt cx="9240230" cy="585788"/>
              </a:xfrm>
              <a:solidFill>
                <a:srgbClr val="D5D2C5"/>
              </a:solidFill>
            </p:grpSpPr>
            <p:sp>
              <p:nvSpPr>
                <p:cNvPr id="1287" name="Retvinklet trekant 1286">
                  <a:extLst>
                    <a:ext uri="{FF2B5EF4-FFF2-40B4-BE49-F238E27FC236}">
                      <a16:creationId xmlns:a16="http://schemas.microsoft.com/office/drawing/2014/main" id="{BE771B9D-961A-47DB-B543-7B82A1237BC1}"/>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8" name="Rektangel 1287">
                  <a:extLst>
                    <a:ext uri="{FF2B5EF4-FFF2-40B4-BE49-F238E27FC236}">
                      <a16:creationId xmlns:a16="http://schemas.microsoft.com/office/drawing/2014/main" id="{1D11A99D-7809-42F4-8151-139C8D7F3BD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9" name="Retvinklet trekant 1288">
                  <a:extLst>
                    <a:ext uri="{FF2B5EF4-FFF2-40B4-BE49-F238E27FC236}">
                      <a16:creationId xmlns:a16="http://schemas.microsoft.com/office/drawing/2014/main" id="{83675A64-6282-4DAF-B296-71143C0BD60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78" name="Rektangel 1177">
                <a:extLst>
                  <a:ext uri="{FF2B5EF4-FFF2-40B4-BE49-F238E27FC236}">
                    <a16:creationId xmlns:a16="http://schemas.microsoft.com/office/drawing/2014/main" id="{C9C50F59-304C-422F-8020-0D3558859E07}"/>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9" name="Rektangel 1178">
                <a:extLst>
                  <a:ext uri="{FF2B5EF4-FFF2-40B4-BE49-F238E27FC236}">
                    <a16:creationId xmlns:a16="http://schemas.microsoft.com/office/drawing/2014/main" id="{46C215A8-55CE-4F31-99CF-0B7A6E3D7644}"/>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0" name="Rektangel 1179">
                <a:extLst>
                  <a:ext uri="{FF2B5EF4-FFF2-40B4-BE49-F238E27FC236}">
                    <a16:creationId xmlns:a16="http://schemas.microsoft.com/office/drawing/2014/main" id="{4C0B5B7E-F591-4522-9A15-9D31912927E2}"/>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1" name="Rektangel 1180">
                <a:extLst>
                  <a:ext uri="{FF2B5EF4-FFF2-40B4-BE49-F238E27FC236}">
                    <a16:creationId xmlns:a16="http://schemas.microsoft.com/office/drawing/2014/main" id="{C480D2AD-4327-400E-8A07-C5170295DAA8}"/>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2" name="Rektangel 1181">
                <a:extLst>
                  <a:ext uri="{FF2B5EF4-FFF2-40B4-BE49-F238E27FC236}">
                    <a16:creationId xmlns:a16="http://schemas.microsoft.com/office/drawing/2014/main" id="{C57E371D-1618-4482-98FE-4BD10080D887}"/>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3" name="Rektangel 1182">
                <a:extLst>
                  <a:ext uri="{FF2B5EF4-FFF2-40B4-BE49-F238E27FC236}">
                    <a16:creationId xmlns:a16="http://schemas.microsoft.com/office/drawing/2014/main" id="{984267CF-3F63-4640-8CE7-F64277929958}"/>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84" name="Lige forbindelse 1183">
                <a:extLst>
                  <a:ext uri="{FF2B5EF4-FFF2-40B4-BE49-F238E27FC236}">
                    <a16:creationId xmlns:a16="http://schemas.microsoft.com/office/drawing/2014/main" id="{9BEDAD11-9345-4CE5-9D3C-3906121DC5A8}"/>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5" name="Lige forbindelse 1184">
                <a:extLst>
                  <a:ext uri="{FF2B5EF4-FFF2-40B4-BE49-F238E27FC236}">
                    <a16:creationId xmlns:a16="http://schemas.microsoft.com/office/drawing/2014/main" id="{4944991D-97B8-48F1-B7C0-7F3A1FDC654F}"/>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6" name="Lige forbindelse 1185">
                <a:extLst>
                  <a:ext uri="{FF2B5EF4-FFF2-40B4-BE49-F238E27FC236}">
                    <a16:creationId xmlns:a16="http://schemas.microsoft.com/office/drawing/2014/main" id="{0ACC9260-0447-40FB-AFE1-50CE65BA031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7" name="Lige forbindelse 1186">
                <a:extLst>
                  <a:ext uri="{FF2B5EF4-FFF2-40B4-BE49-F238E27FC236}">
                    <a16:creationId xmlns:a16="http://schemas.microsoft.com/office/drawing/2014/main" id="{9234D421-5ED8-4E32-89E6-0B1F4C93DA24}"/>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8" name="Lige forbindelse 1187">
                <a:extLst>
                  <a:ext uri="{FF2B5EF4-FFF2-40B4-BE49-F238E27FC236}">
                    <a16:creationId xmlns:a16="http://schemas.microsoft.com/office/drawing/2014/main" id="{3E4946EA-0F65-4C5B-AB84-5EF73A270919}"/>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9" name="Lige forbindelse 1188">
                <a:extLst>
                  <a:ext uri="{FF2B5EF4-FFF2-40B4-BE49-F238E27FC236}">
                    <a16:creationId xmlns:a16="http://schemas.microsoft.com/office/drawing/2014/main" id="{60ADDDFB-2F6E-4B85-AE2F-0FC9EAAA3E7A}"/>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1190" name="Rektangel 1189">
                <a:extLst>
                  <a:ext uri="{FF2B5EF4-FFF2-40B4-BE49-F238E27FC236}">
                    <a16:creationId xmlns:a16="http://schemas.microsoft.com/office/drawing/2014/main" id="{5C25D6F2-52CB-4954-AE75-21FC0484EE64}"/>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1" name="Rektangel 1190">
                <a:extLst>
                  <a:ext uri="{FF2B5EF4-FFF2-40B4-BE49-F238E27FC236}">
                    <a16:creationId xmlns:a16="http://schemas.microsoft.com/office/drawing/2014/main" id="{2E99EC96-6374-4046-AE5B-4127E7607F80}"/>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2" name="Rektangel 1191">
                <a:extLst>
                  <a:ext uri="{FF2B5EF4-FFF2-40B4-BE49-F238E27FC236}">
                    <a16:creationId xmlns:a16="http://schemas.microsoft.com/office/drawing/2014/main" id="{21A4585A-4F0D-48CB-B2BB-CC6C761A3344}"/>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3" name="Rektangel 1192">
                <a:extLst>
                  <a:ext uri="{FF2B5EF4-FFF2-40B4-BE49-F238E27FC236}">
                    <a16:creationId xmlns:a16="http://schemas.microsoft.com/office/drawing/2014/main" id="{636A8E0B-C4B0-4ED7-97D0-25670C64B604}"/>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4" name="Rektangel 1193">
                <a:extLst>
                  <a:ext uri="{FF2B5EF4-FFF2-40B4-BE49-F238E27FC236}">
                    <a16:creationId xmlns:a16="http://schemas.microsoft.com/office/drawing/2014/main" id="{53A84DDC-99FE-492C-B857-88695A902378}"/>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5" name="Rektangel 1194">
                <a:extLst>
                  <a:ext uri="{FF2B5EF4-FFF2-40B4-BE49-F238E27FC236}">
                    <a16:creationId xmlns:a16="http://schemas.microsoft.com/office/drawing/2014/main" id="{4E334F9C-7681-421A-92B8-3FDE0BE99131}"/>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6" name="Rektangel 1195">
                <a:extLst>
                  <a:ext uri="{FF2B5EF4-FFF2-40B4-BE49-F238E27FC236}">
                    <a16:creationId xmlns:a16="http://schemas.microsoft.com/office/drawing/2014/main" id="{8B627823-A232-474C-9D28-0025B701FC34}"/>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7" name="Rektangel 1196">
                <a:extLst>
                  <a:ext uri="{FF2B5EF4-FFF2-40B4-BE49-F238E27FC236}">
                    <a16:creationId xmlns:a16="http://schemas.microsoft.com/office/drawing/2014/main" id="{5592F835-E6B6-4C53-94F9-EAF2349C6B31}"/>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8" name="Rektangel 1197">
                <a:extLst>
                  <a:ext uri="{FF2B5EF4-FFF2-40B4-BE49-F238E27FC236}">
                    <a16:creationId xmlns:a16="http://schemas.microsoft.com/office/drawing/2014/main" id="{4CD11780-6197-4A39-A366-E7F61C9EB20E}"/>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9" name="Rektangel 1198">
                <a:extLst>
                  <a:ext uri="{FF2B5EF4-FFF2-40B4-BE49-F238E27FC236}">
                    <a16:creationId xmlns:a16="http://schemas.microsoft.com/office/drawing/2014/main" id="{A1BE993C-1D82-459C-AF26-3AB1AF3B6097}"/>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0" name="Rektangel 1199">
                <a:extLst>
                  <a:ext uri="{FF2B5EF4-FFF2-40B4-BE49-F238E27FC236}">
                    <a16:creationId xmlns:a16="http://schemas.microsoft.com/office/drawing/2014/main" id="{F91FE6FA-BBB2-4158-8925-B13A3BBB8F1E}"/>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1" name="Rektangel 1200">
                <a:extLst>
                  <a:ext uri="{FF2B5EF4-FFF2-40B4-BE49-F238E27FC236}">
                    <a16:creationId xmlns:a16="http://schemas.microsoft.com/office/drawing/2014/main" id="{B9ABB434-ABCA-4E5F-90D5-234316B3FC3F}"/>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2" name="Rektangel 1201">
                <a:extLst>
                  <a:ext uri="{FF2B5EF4-FFF2-40B4-BE49-F238E27FC236}">
                    <a16:creationId xmlns:a16="http://schemas.microsoft.com/office/drawing/2014/main" id="{C992D8E2-5FBA-4E4C-965B-0D2EC42C5A76}"/>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03" name="Gruppe 1202">
                <a:extLst>
                  <a:ext uri="{FF2B5EF4-FFF2-40B4-BE49-F238E27FC236}">
                    <a16:creationId xmlns:a16="http://schemas.microsoft.com/office/drawing/2014/main" id="{C531B50B-8A21-4CB4-8153-1FB309C407AD}"/>
                  </a:ext>
                </a:extLst>
              </p:cNvPr>
              <p:cNvGrpSpPr/>
              <p:nvPr/>
            </p:nvGrpSpPr>
            <p:grpSpPr>
              <a:xfrm>
                <a:off x="3076887" y="5908189"/>
                <a:ext cx="1620672" cy="63914"/>
                <a:chOff x="1209635" y="3152432"/>
                <a:chExt cx="9240230" cy="585788"/>
              </a:xfrm>
              <a:solidFill>
                <a:srgbClr val="C3C0B1"/>
              </a:solidFill>
            </p:grpSpPr>
            <p:sp>
              <p:nvSpPr>
                <p:cNvPr id="1284" name="Retvinklet trekant 1283">
                  <a:extLst>
                    <a:ext uri="{FF2B5EF4-FFF2-40B4-BE49-F238E27FC236}">
                      <a16:creationId xmlns:a16="http://schemas.microsoft.com/office/drawing/2014/main" id="{A79A76F4-768A-4993-99F1-91E90BE48F1E}"/>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5" name="Rektangel 1284">
                  <a:extLst>
                    <a:ext uri="{FF2B5EF4-FFF2-40B4-BE49-F238E27FC236}">
                      <a16:creationId xmlns:a16="http://schemas.microsoft.com/office/drawing/2014/main" id="{68EE35D0-5A7A-4D3C-BFBA-1DC5B38DAE9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6" name="Retvinklet trekant 1285">
                  <a:extLst>
                    <a:ext uri="{FF2B5EF4-FFF2-40B4-BE49-F238E27FC236}">
                      <a16:creationId xmlns:a16="http://schemas.microsoft.com/office/drawing/2014/main" id="{C2BDFE37-5371-4172-9A1E-7889429EBCA4}"/>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04" name="Rektangel 1203">
                <a:extLst>
                  <a:ext uri="{FF2B5EF4-FFF2-40B4-BE49-F238E27FC236}">
                    <a16:creationId xmlns:a16="http://schemas.microsoft.com/office/drawing/2014/main" id="{83C25BCE-EA93-4C60-A0BC-C1F2759FA756}"/>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5" name="Parallelogram 1204">
                <a:extLst>
                  <a:ext uri="{FF2B5EF4-FFF2-40B4-BE49-F238E27FC236}">
                    <a16:creationId xmlns:a16="http://schemas.microsoft.com/office/drawing/2014/main" id="{BEB8D8E0-8FC6-4A65-B499-1CAD7DA3E18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6" name="Parallelogram 1205">
                <a:extLst>
                  <a:ext uri="{FF2B5EF4-FFF2-40B4-BE49-F238E27FC236}">
                    <a16:creationId xmlns:a16="http://schemas.microsoft.com/office/drawing/2014/main" id="{694E0BB1-9C42-45BC-A00E-12C9C4F68DA1}"/>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7" name="Rektangel 1206">
                <a:extLst>
                  <a:ext uri="{FF2B5EF4-FFF2-40B4-BE49-F238E27FC236}">
                    <a16:creationId xmlns:a16="http://schemas.microsoft.com/office/drawing/2014/main" id="{64EAA52A-FC03-4E51-8BF6-E4874C4E8C40}"/>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8" name="Parallelogram 1207">
                <a:extLst>
                  <a:ext uri="{FF2B5EF4-FFF2-40B4-BE49-F238E27FC236}">
                    <a16:creationId xmlns:a16="http://schemas.microsoft.com/office/drawing/2014/main" id="{2BA5C95D-7F15-45EB-AA22-5F3436FD5606}"/>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9" name="Parallelogram 1208">
                <a:extLst>
                  <a:ext uri="{FF2B5EF4-FFF2-40B4-BE49-F238E27FC236}">
                    <a16:creationId xmlns:a16="http://schemas.microsoft.com/office/drawing/2014/main" id="{DC30C7CD-F7BE-4209-A8AF-CB9B401238B5}"/>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0" name="Parallelogram 1209">
                <a:extLst>
                  <a:ext uri="{FF2B5EF4-FFF2-40B4-BE49-F238E27FC236}">
                    <a16:creationId xmlns:a16="http://schemas.microsoft.com/office/drawing/2014/main" id="{AE57E48D-8993-4E63-A51C-1E3E0603ABEA}"/>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1" name="Parallelogram 1210">
                <a:extLst>
                  <a:ext uri="{FF2B5EF4-FFF2-40B4-BE49-F238E27FC236}">
                    <a16:creationId xmlns:a16="http://schemas.microsoft.com/office/drawing/2014/main" id="{AC7E34AF-21BD-413C-991C-2B11EC965182}"/>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2" name="Parallelogram 1211">
                <a:extLst>
                  <a:ext uri="{FF2B5EF4-FFF2-40B4-BE49-F238E27FC236}">
                    <a16:creationId xmlns:a16="http://schemas.microsoft.com/office/drawing/2014/main" id="{8681DB62-0422-4898-B0CC-07BA38613470}"/>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3" name="Parallelogram 1212">
                <a:extLst>
                  <a:ext uri="{FF2B5EF4-FFF2-40B4-BE49-F238E27FC236}">
                    <a16:creationId xmlns:a16="http://schemas.microsoft.com/office/drawing/2014/main" id="{A2647DEF-7E11-4115-810A-C3C4029D903E}"/>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14" name="Gruppe 1213">
                <a:extLst>
                  <a:ext uri="{FF2B5EF4-FFF2-40B4-BE49-F238E27FC236}">
                    <a16:creationId xmlns:a16="http://schemas.microsoft.com/office/drawing/2014/main" id="{FA2B8F25-7BCB-477E-ACC2-390CB860DD69}"/>
                  </a:ext>
                </a:extLst>
              </p:cNvPr>
              <p:cNvGrpSpPr/>
              <p:nvPr/>
            </p:nvGrpSpPr>
            <p:grpSpPr>
              <a:xfrm flipH="1">
                <a:off x="5838296" y="3182733"/>
                <a:ext cx="173906" cy="295709"/>
                <a:chOff x="7286243" y="2703579"/>
                <a:chExt cx="197012" cy="333123"/>
              </a:xfrm>
            </p:grpSpPr>
            <p:sp>
              <p:nvSpPr>
                <p:cNvPr id="1278" name="Parallelogram 1277">
                  <a:extLst>
                    <a:ext uri="{FF2B5EF4-FFF2-40B4-BE49-F238E27FC236}">
                      <a16:creationId xmlns:a16="http://schemas.microsoft.com/office/drawing/2014/main" id="{E22F6CAA-705E-4A5B-AC08-3191734D4799}"/>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9" name="Parallelogram 1278">
                  <a:extLst>
                    <a:ext uri="{FF2B5EF4-FFF2-40B4-BE49-F238E27FC236}">
                      <a16:creationId xmlns:a16="http://schemas.microsoft.com/office/drawing/2014/main" id="{E2353246-E01C-4FF1-A528-BAB1A1B1B92D}"/>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0" name="Parallelogram 1279">
                  <a:extLst>
                    <a:ext uri="{FF2B5EF4-FFF2-40B4-BE49-F238E27FC236}">
                      <a16:creationId xmlns:a16="http://schemas.microsoft.com/office/drawing/2014/main" id="{345A8223-BBAB-474D-90A7-B4C216A41EF2}"/>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1" name="Parallelogram 1280">
                  <a:extLst>
                    <a:ext uri="{FF2B5EF4-FFF2-40B4-BE49-F238E27FC236}">
                      <a16:creationId xmlns:a16="http://schemas.microsoft.com/office/drawing/2014/main" id="{233B9B05-FDA1-4CAE-B7C9-26B99DAC20C7}"/>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2" name="Parallelogram 1281">
                  <a:extLst>
                    <a:ext uri="{FF2B5EF4-FFF2-40B4-BE49-F238E27FC236}">
                      <a16:creationId xmlns:a16="http://schemas.microsoft.com/office/drawing/2014/main" id="{85194CA0-F20A-4EC1-9690-7979FC41C0B1}"/>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3" name="Parallelogram 1282">
                  <a:extLst>
                    <a:ext uri="{FF2B5EF4-FFF2-40B4-BE49-F238E27FC236}">
                      <a16:creationId xmlns:a16="http://schemas.microsoft.com/office/drawing/2014/main" id="{24D327CD-7175-416D-B5A4-E3FF015BD0CC}"/>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15" name="Rektangel 1214">
                <a:extLst>
                  <a:ext uri="{FF2B5EF4-FFF2-40B4-BE49-F238E27FC236}">
                    <a16:creationId xmlns:a16="http://schemas.microsoft.com/office/drawing/2014/main" id="{A6F706DC-FDD0-42AB-900A-9C1EC1CE006A}"/>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6" name="Rektangel 1215">
                <a:extLst>
                  <a:ext uri="{FF2B5EF4-FFF2-40B4-BE49-F238E27FC236}">
                    <a16:creationId xmlns:a16="http://schemas.microsoft.com/office/drawing/2014/main" id="{39D4BC91-C724-4B35-A8B2-B6FDA3107FD1}"/>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7" name="Rektangel 1216">
                <a:extLst>
                  <a:ext uri="{FF2B5EF4-FFF2-40B4-BE49-F238E27FC236}">
                    <a16:creationId xmlns:a16="http://schemas.microsoft.com/office/drawing/2014/main" id="{A20CDBDA-33D7-4DD0-BE9A-37DC9C260B9D}"/>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8" name="Rektangel 1217">
                <a:extLst>
                  <a:ext uri="{FF2B5EF4-FFF2-40B4-BE49-F238E27FC236}">
                    <a16:creationId xmlns:a16="http://schemas.microsoft.com/office/drawing/2014/main" id="{61FA61FE-C62A-494D-AF4C-800F6323BE8D}"/>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9" name="Rektangel 1218">
                <a:extLst>
                  <a:ext uri="{FF2B5EF4-FFF2-40B4-BE49-F238E27FC236}">
                    <a16:creationId xmlns:a16="http://schemas.microsoft.com/office/drawing/2014/main" id="{26AAD365-17F4-4260-807B-F5A6939E5153}"/>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0" name="Rektangel 1219">
                <a:extLst>
                  <a:ext uri="{FF2B5EF4-FFF2-40B4-BE49-F238E27FC236}">
                    <a16:creationId xmlns:a16="http://schemas.microsoft.com/office/drawing/2014/main" id="{E3A74035-4B4F-49BB-AA13-2D6E69E50FCB}"/>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1" name="Rektangel 1220">
                <a:extLst>
                  <a:ext uri="{FF2B5EF4-FFF2-40B4-BE49-F238E27FC236}">
                    <a16:creationId xmlns:a16="http://schemas.microsoft.com/office/drawing/2014/main" id="{2AF76F82-E900-4E0C-9AC3-B21FB7655192}"/>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2" name="Rektangel 1221">
                <a:extLst>
                  <a:ext uri="{FF2B5EF4-FFF2-40B4-BE49-F238E27FC236}">
                    <a16:creationId xmlns:a16="http://schemas.microsoft.com/office/drawing/2014/main" id="{1010D5B9-12FE-40EE-803C-99B3AF24AC53}"/>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3" name="Rektangel 1222">
                <a:extLst>
                  <a:ext uri="{FF2B5EF4-FFF2-40B4-BE49-F238E27FC236}">
                    <a16:creationId xmlns:a16="http://schemas.microsoft.com/office/drawing/2014/main" id="{AC1FC723-84BC-4588-9FA3-F735AF10091E}"/>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4" name="Rektangel 1223">
                <a:extLst>
                  <a:ext uri="{FF2B5EF4-FFF2-40B4-BE49-F238E27FC236}">
                    <a16:creationId xmlns:a16="http://schemas.microsoft.com/office/drawing/2014/main" id="{81E2D5A5-88F8-4597-A9C9-E15C7D8CA486}"/>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5" name="Rektangel 1224">
                <a:extLst>
                  <a:ext uri="{FF2B5EF4-FFF2-40B4-BE49-F238E27FC236}">
                    <a16:creationId xmlns:a16="http://schemas.microsoft.com/office/drawing/2014/main" id="{27870878-A725-4491-8675-B0DC7E4D5893}"/>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6" name="Rektangel 1225">
                <a:extLst>
                  <a:ext uri="{FF2B5EF4-FFF2-40B4-BE49-F238E27FC236}">
                    <a16:creationId xmlns:a16="http://schemas.microsoft.com/office/drawing/2014/main" id="{CFE2FACE-AA8B-446C-BB93-5B695755E367}"/>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7" name="Rektangel 1226">
                <a:extLst>
                  <a:ext uri="{FF2B5EF4-FFF2-40B4-BE49-F238E27FC236}">
                    <a16:creationId xmlns:a16="http://schemas.microsoft.com/office/drawing/2014/main" id="{3C89A89A-2A0E-44E2-B44F-B89A14E51842}"/>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8" name="Rektangel 1227">
                <a:extLst>
                  <a:ext uri="{FF2B5EF4-FFF2-40B4-BE49-F238E27FC236}">
                    <a16:creationId xmlns:a16="http://schemas.microsoft.com/office/drawing/2014/main" id="{985B893E-D30C-4E09-BAE5-AAC636A79E0B}"/>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9" name="Rektangel 1228">
                <a:extLst>
                  <a:ext uri="{FF2B5EF4-FFF2-40B4-BE49-F238E27FC236}">
                    <a16:creationId xmlns:a16="http://schemas.microsoft.com/office/drawing/2014/main" id="{A282E1F7-2120-4BAB-834D-9160C6518E92}"/>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0" name="Rektangel 1229">
                <a:extLst>
                  <a:ext uri="{FF2B5EF4-FFF2-40B4-BE49-F238E27FC236}">
                    <a16:creationId xmlns:a16="http://schemas.microsoft.com/office/drawing/2014/main" id="{BCFDB9C5-2DBD-4D00-BED8-71BDBB5AC9A1}"/>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1" name="Rektangel 1230">
                <a:extLst>
                  <a:ext uri="{FF2B5EF4-FFF2-40B4-BE49-F238E27FC236}">
                    <a16:creationId xmlns:a16="http://schemas.microsoft.com/office/drawing/2014/main" id="{18FCCAEE-3F91-4574-9B24-070F71677607}"/>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2" name="Rektangel 1231">
                <a:extLst>
                  <a:ext uri="{FF2B5EF4-FFF2-40B4-BE49-F238E27FC236}">
                    <a16:creationId xmlns:a16="http://schemas.microsoft.com/office/drawing/2014/main" id="{5B2D7D53-E160-4EC9-AB79-4875FCE595F4}"/>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3" name="Rektangel 1232">
                <a:extLst>
                  <a:ext uri="{FF2B5EF4-FFF2-40B4-BE49-F238E27FC236}">
                    <a16:creationId xmlns:a16="http://schemas.microsoft.com/office/drawing/2014/main" id="{2BF88E59-35E2-4F5A-93CB-AAB6BF476450}"/>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4" name="Rektangel 1233">
                <a:extLst>
                  <a:ext uri="{FF2B5EF4-FFF2-40B4-BE49-F238E27FC236}">
                    <a16:creationId xmlns:a16="http://schemas.microsoft.com/office/drawing/2014/main" id="{5F2E963B-6342-4821-98C8-65962963884B}"/>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5" name="Rektangel 1234">
                <a:extLst>
                  <a:ext uri="{FF2B5EF4-FFF2-40B4-BE49-F238E27FC236}">
                    <a16:creationId xmlns:a16="http://schemas.microsoft.com/office/drawing/2014/main" id="{36EE0FD9-D105-4CFF-8714-7DA19C62D5A1}"/>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6" name="Rektangel 1235">
                <a:extLst>
                  <a:ext uri="{FF2B5EF4-FFF2-40B4-BE49-F238E27FC236}">
                    <a16:creationId xmlns:a16="http://schemas.microsoft.com/office/drawing/2014/main" id="{F11D45FA-A1BC-4D13-A8C6-28DF9CEBCD07}"/>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37" name="Gruppe 1236">
                <a:extLst>
                  <a:ext uri="{FF2B5EF4-FFF2-40B4-BE49-F238E27FC236}">
                    <a16:creationId xmlns:a16="http://schemas.microsoft.com/office/drawing/2014/main" id="{E310BD5E-1208-4A1C-A8E0-093694389760}"/>
                  </a:ext>
                </a:extLst>
              </p:cNvPr>
              <p:cNvGrpSpPr/>
              <p:nvPr/>
            </p:nvGrpSpPr>
            <p:grpSpPr>
              <a:xfrm>
                <a:off x="5186504" y="5766771"/>
                <a:ext cx="801793" cy="53671"/>
                <a:chOff x="1209635" y="3152432"/>
                <a:chExt cx="9240230" cy="585788"/>
              </a:xfrm>
            </p:grpSpPr>
            <p:sp>
              <p:nvSpPr>
                <p:cNvPr id="1275" name="Retvinklet trekant 1274">
                  <a:extLst>
                    <a:ext uri="{FF2B5EF4-FFF2-40B4-BE49-F238E27FC236}">
                      <a16:creationId xmlns:a16="http://schemas.microsoft.com/office/drawing/2014/main" id="{24FBDA62-CECF-44BD-AA30-03EFFE3B6998}"/>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6" name="Rektangel 1275">
                  <a:extLst>
                    <a:ext uri="{FF2B5EF4-FFF2-40B4-BE49-F238E27FC236}">
                      <a16:creationId xmlns:a16="http://schemas.microsoft.com/office/drawing/2014/main" id="{AD4FEF11-FAF0-4E2C-9B9A-AA9B0B965BD5}"/>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7" name="Retvinklet trekant 1276">
                  <a:extLst>
                    <a:ext uri="{FF2B5EF4-FFF2-40B4-BE49-F238E27FC236}">
                      <a16:creationId xmlns:a16="http://schemas.microsoft.com/office/drawing/2014/main" id="{030386B6-7B28-4B71-9919-78100C74A88C}"/>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238" name="Gruppe 1237">
                <a:extLst>
                  <a:ext uri="{FF2B5EF4-FFF2-40B4-BE49-F238E27FC236}">
                    <a16:creationId xmlns:a16="http://schemas.microsoft.com/office/drawing/2014/main" id="{3B6DB2EB-1679-4E43-91ED-DB9F3DEA20FD}"/>
                  </a:ext>
                </a:extLst>
              </p:cNvPr>
              <p:cNvGrpSpPr/>
              <p:nvPr/>
            </p:nvGrpSpPr>
            <p:grpSpPr>
              <a:xfrm>
                <a:off x="5835932" y="4454540"/>
                <a:ext cx="110215" cy="202903"/>
                <a:chOff x="1758507" y="5170209"/>
                <a:chExt cx="156925" cy="285896"/>
              </a:xfrm>
            </p:grpSpPr>
            <p:sp>
              <p:nvSpPr>
                <p:cNvPr id="1272" name="Rektangel 1271">
                  <a:extLst>
                    <a:ext uri="{FF2B5EF4-FFF2-40B4-BE49-F238E27FC236}">
                      <a16:creationId xmlns:a16="http://schemas.microsoft.com/office/drawing/2014/main" id="{16294BF5-B9EF-4BCF-B75F-B134ACE1870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3" name="Lige forbindelse 1272">
                  <a:extLst>
                    <a:ext uri="{FF2B5EF4-FFF2-40B4-BE49-F238E27FC236}">
                      <a16:creationId xmlns:a16="http://schemas.microsoft.com/office/drawing/2014/main" id="{433DC924-1528-4672-9B23-8780A7351161}"/>
                    </a:ext>
                  </a:extLst>
                </p:cNvPr>
                <p:cNvCxnSpPr>
                  <a:cxnSpLocks/>
                  <a:stCxn id="1272" idx="0"/>
                  <a:endCxn id="1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4" name="Lige forbindelse 1273">
                  <a:extLst>
                    <a:ext uri="{FF2B5EF4-FFF2-40B4-BE49-F238E27FC236}">
                      <a16:creationId xmlns:a16="http://schemas.microsoft.com/office/drawing/2014/main" id="{D7617DB8-3DAE-4E26-AFFF-CA3093B43804}"/>
                    </a:ext>
                  </a:extLst>
                </p:cNvPr>
                <p:cNvCxnSpPr>
                  <a:cxnSpLocks/>
                  <a:stCxn id="1272" idx="1"/>
                  <a:endCxn id="1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39" name="Gruppe 1238">
                <a:extLst>
                  <a:ext uri="{FF2B5EF4-FFF2-40B4-BE49-F238E27FC236}">
                    <a16:creationId xmlns:a16="http://schemas.microsoft.com/office/drawing/2014/main" id="{B93FA2A0-59F2-4D4B-9549-4BE0947766CC}"/>
                  </a:ext>
                </a:extLst>
              </p:cNvPr>
              <p:cNvGrpSpPr/>
              <p:nvPr/>
            </p:nvGrpSpPr>
            <p:grpSpPr>
              <a:xfrm>
                <a:off x="5454147" y="3745047"/>
                <a:ext cx="110215" cy="202903"/>
                <a:chOff x="1758507" y="5170209"/>
                <a:chExt cx="156925" cy="285896"/>
              </a:xfrm>
            </p:grpSpPr>
            <p:sp>
              <p:nvSpPr>
                <p:cNvPr id="1269" name="Rektangel 1268">
                  <a:extLst>
                    <a:ext uri="{FF2B5EF4-FFF2-40B4-BE49-F238E27FC236}">
                      <a16:creationId xmlns:a16="http://schemas.microsoft.com/office/drawing/2014/main" id="{A0E4EF35-FACB-44F9-9F3E-43A7E2B0D66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0" name="Lige forbindelse 1269">
                  <a:extLst>
                    <a:ext uri="{FF2B5EF4-FFF2-40B4-BE49-F238E27FC236}">
                      <a16:creationId xmlns:a16="http://schemas.microsoft.com/office/drawing/2014/main" id="{7DC66DD5-D52F-45DE-82D3-4AD6E08ABA69}"/>
                    </a:ext>
                  </a:extLst>
                </p:cNvPr>
                <p:cNvCxnSpPr>
                  <a:cxnSpLocks/>
                  <a:stCxn id="1269" idx="0"/>
                  <a:endCxn id="1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1" name="Lige forbindelse 1270">
                  <a:extLst>
                    <a:ext uri="{FF2B5EF4-FFF2-40B4-BE49-F238E27FC236}">
                      <a16:creationId xmlns:a16="http://schemas.microsoft.com/office/drawing/2014/main" id="{FF0F3E42-F5F3-46EB-8F7E-16BB88C2DBCB}"/>
                    </a:ext>
                  </a:extLst>
                </p:cNvPr>
                <p:cNvCxnSpPr>
                  <a:cxnSpLocks/>
                  <a:stCxn id="1269" idx="1"/>
                  <a:endCxn id="1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40" name="Gruppe 1239">
                <a:extLst>
                  <a:ext uri="{FF2B5EF4-FFF2-40B4-BE49-F238E27FC236}">
                    <a16:creationId xmlns:a16="http://schemas.microsoft.com/office/drawing/2014/main" id="{60DD437B-83CD-43BD-B46E-12F7635E077A}"/>
                  </a:ext>
                </a:extLst>
              </p:cNvPr>
              <p:cNvGrpSpPr/>
              <p:nvPr/>
            </p:nvGrpSpPr>
            <p:grpSpPr>
              <a:xfrm>
                <a:off x="5369458" y="3940570"/>
                <a:ext cx="635558" cy="437035"/>
                <a:chOff x="6776638" y="3675567"/>
                <a:chExt cx="720000" cy="492329"/>
              </a:xfrm>
            </p:grpSpPr>
            <p:grpSp>
              <p:nvGrpSpPr>
                <p:cNvPr id="1258" name="Gruppe 1257">
                  <a:extLst>
                    <a:ext uri="{FF2B5EF4-FFF2-40B4-BE49-F238E27FC236}">
                      <a16:creationId xmlns:a16="http://schemas.microsoft.com/office/drawing/2014/main" id="{80BFA02B-ABCB-4553-A7B4-824E48D92788}"/>
                    </a:ext>
                  </a:extLst>
                </p:cNvPr>
                <p:cNvGrpSpPr/>
                <p:nvPr/>
              </p:nvGrpSpPr>
              <p:grpSpPr>
                <a:xfrm>
                  <a:off x="7053110" y="3917891"/>
                  <a:ext cx="168029" cy="213816"/>
                  <a:chOff x="4852454" y="2916519"/>
                  <a:chExt cx="278597" cy="366599"/>
                </a:xfrm>
              </p:grpSpPr>
              <p:sp>
                <p:nvSpPr>
                  <p:cNvPr id="1267" name="Rektangel 1266">
                    <a:extLst>
                      <a:ext uri="{FF2B5EF4-FFF2-40B4-BE49-F238E27FC236}">
                        <a16:creationId xmlns:a16="http://schemas.microsoft.com/office/drawing/2014/main" id="{7EB3670D-AB03-4C3D-B9A8-4B83A12B20BD}"/>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8" name="Rektangel: afrundede hjørner 1267">
                    <a:extLst>
                      <a:ext uri="{FF2B5EF4-FFF2-40B4-BE49-F238E27FC236}">
                        <a16:creationId xmlns:a16="http://schemas.microsoft.com/office/drawing/2014/main" id="{818FB5CA-9984-43AE-85D1-22E08FB19E5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59" name="Rektangel 1258">
                  <a:extLst>
                    <a:ext uri="{FF2B5EF4-FFF2-40B4-BE49-F238E27FC236}">
                      <a16:creationId xmlns:a16="http://schemas.microsoft.com/office/drawing/2014/main" id="{F5CD696C-DE64-415D-A1C6-AF5DBAA1013D}"/>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0" name="Rektangel 1259">
                  <a:extLst>
                    <a:ext uri="{FF2B5EF4-FFF2-40B4-BE49-F238E27FC236}">
                      <a16:creationId xmlns:a16="http://schemas.microsoft.com/office/drawing/2014/main" id="{93239C63-5CE7-4419-B88A-32CBE479A23E}"/>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1" name="Rektangel 1260">
                  <a:extLst>
                    <a:ext uri="{FF2B5EF4-FFF2-40B4-BE49-F238E27FC236}">
                      <a16:creationId xmlns:a16="http://schemas.microsoft.com/office/drawing/2014/main" id="{FAE942D7-1DE9-43B0-8546-6690E87DB195}"/>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2" name="Rektangel 1261">
                  <a:extLst>
                    <a:ext uri="{FF2B5EF4-FFF2-40B4-BE49-F238E27FC236}">
                      <a16:creationId xmlns:a16="http://schemas.microsoft.com/office/drawing/2014/main" id="{FB29AFA3-0728-4C23-A1A4-26BD7571A760}"/>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3" name="Rektangel 1262">
                  <a:extLst>
                    <a:ext uri="{FF2B5EF4-FFF2-40B4-BE49-F238E27FC236}">
                      <a16:creationId xmlns:a16="http://schemas.microsoft.com/office/drawing/2014/main" id="{DDD92164-74B7-42A1-A49C-DEE8C1CBB3A4}"/>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4" name="Rektangel 1263">
                  <a:extLst>
                    <a:ext uri="{FF2B5EF4-FFF2-40B4-BE49-F238E27FC236}">
                      <a16:creationId xmlns:a16="http://schemas.microsoft.com/office/drawing/2014/main" id="{E61E7FF1-1835-4B0D-99A0-008906286602}"/>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5" name="Rektangel 1264">
                  <a:extLst>
                    <a:ext uri="{FF2B5EF4-FFF2-40B4-BE49-F238E27FC236}">
                      <a16:creationId xmlns:a16="http://schemas.microsoft.com/office/drawing/2014/main" id="{B6B3CC28-C15D-440A-AA02-F313CE696E83}"/>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6" name="Ellipse 1265">
                  <a:extLst>
                    <a:ext uri="{FF2B5EF4-FFF2-40B4-BE49-F238E27FC236}">
                      <a16:creationId xmlns:a16="http://schemas.microsoft.com/office/drawing/2014/main" id="{5C121428-5FD5-4E63-BB35-E78698F77E04}"/>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41" name="Rektangel 1240">
                <a:extLst>
                  <a:ext uri="{FF2B5EF4-FFF2-40B4-BE49-F238E27FC236}">
                    <a16:creationId xmlns:a16="http://schemas.microsoft.com/office/drawing/2014/main" id="{1A73F686-5B11-4FB5-8613-114AE40492E0}"/>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2" name="Rektangel 1241">
                <a:extLst>
                  <a:ext uri="{FF2B5EF4-FFF2-40B4-BE49-F238E27FC236}">
                    <a16:creationId xmlns:a16="http://schemas.microsoft.com/office/drawing/2014/main" id="{33F5D948-D8A0-4977-90BB-3290D1A63744}"/>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3" name="Ellipse 1242">
                <a:extLst>
                  <a:ext uri="{FF2B5EF4-FFF2-40B4-BE49-F238E27FC236}">
                    <a16:creationId xmlns:a16="http://schemas.microsoft.com/office/drawing/2014/main" id="{D3011426-440A-4AFD-A9F9-DC0BEF750DB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4" name="Heksagon 1243">
                <a:extLst>
                  <a:ext uri="{FF2B5EF4-FFF2-40B4-BE49-F238E27FC236}">
                    <a16:creationId xmlns:a16="http://schemas.microsoft.com/office/drawing/2014/main" id="{B1F404B4-52DB-4432-9D5B-6C268DE16C02}"/>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45" name="Grafik 1244" descr="Ringelyd">
                <a:extLst>
                  <a:ext uri="{FF2B5EF4-FFF2-40B4-BE49-F238E27FC236}">
                    <a16:creationId xmlns:a16="http://schemas.microsoft.com/office/drawing/2014/main" id="{F1E17578-2890-4A63-A190-5BD7F608C8E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246" name="Rektangel 1245">
                <a:extLst>
                  <a:ext uri="{FF2B5EF4-FFF2-40B4-BE49-F238E27FC236}">
                    <a16:creationId xmlns:a16="http://schemas.microsoft.com/office/drawing/2014/main" id="{A39946C9-92D6-48DC-8E54-B0E5C32AF7BB}"/>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7" name="Rektangel 1246">
                <a:extLst>
                  <a:ext uri="{FF2B5EF4-FFF2-40B4-BE49-F238E27FC236}">
                    <a16:creationId xmlns:a16="http://schemas.microsoft.com/office/drawing/2014/main" id="{BE6D0FE9-1FFE-46F3-BA29-EEF2D416ADAF}"/>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8" name="Rektangel 1247">
                <a:extLst>
                  <a:ext uri="{FF2B5EF4-FFF2-40B4-BE49-F238E27FC236}">
                    <a16:creationId xmlns:a16="http://schemas.microsoft.com/office/drawing/2014/main" id="{09EBF14E-61FE-4A73-A68C-3288BD494704}"/>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9" name="Rektangel 1248">
                <a:extLst>
                  <a:ext uri="{FF2B5EF4-FFF2-40B4-BE49-F238E27FC236}">
                    <a16:creationId xmlns:a16="http://schemas.microsoft.com/office/drawing/2014/main" id="{A8FD71EE-2561-469B-B6D9-C9DE9F7D6889}"/>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0" name="Rektangel: øverste hjørner afklippet 1249">
                <a:extLst>
                  <a:ext uri="{FF2B5EF4-FFF2-40B4-BE49-F238E27FC236}">
                    <a16:creationId xmlns:a16="http://schemas.microsoft.com/office/drawing/2014/main" id="{C869B3B4-F596-4908-AB1B-86FE46284A10}"/>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1" name="Retvinklet trekant 1250">
                <a:extLst>
                  <a:ext uri="{FF2B5EF4-FFF2-40B4-BE49-F238E27FC236}">
                    <a16:creationId xmlns:a16="http://schemas.microsoft.com/office/drawing/2014/main" id="{18C476BA-CC97-4B85-92CD-28B12FBE197F}"/>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2" name="Retvinklet trekant 1251">
                <a:extLst>
                  <a:ext uri="{FF2B5EF4-FFF2-40B4-BE49-F238E27FC236}">
                    <a16:creationId xmlns:a16="http://schemas.microsoft.com/office/drawing/2014/main" id="{6F1785C9-AF40-4038-A9C4-B456886AA0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3" name="Ellipse 1252">
                <a:extLst>
                  <a:ext uri="{FF2B5EF4-FFF2-40B4-BE49-F238E27FC236}">
                    <a16:creationId xmlns:a16="http://schemas.microsoft.com/office/drawing/2014/main" id="{D18F1C51-F062-461A-9EAD-8CF9F049AD79}"/>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4" name="Rektangel 1253">
                <a:extLst>
                  <a:ext uri="{FF2B5EF4-FFF2-40B4-BE49-F238E27FC236}">
                    <a16:creationId xmlns:a16="http://schemas.microsoft.com/office/drawing/2014/main" id="{92632D5D-7C62-4301-93D9-6397E26004BC}"/>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5" name="Rektangel 1254">
                <a:extLst>
                  <a:ext uri="{FF2B5EF4-FFF2-40B4-BE49-F238E27FC236}">
                    <a16:creationId xmlns:a16="http://schemas.microsoft.com/office/drawing/2014/main" id="{F509612B-72A1-46F4-B9CA-E89542F3F65A}"/>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6" name="Rektangel 1255">
                <a:extLst>
                  <a:ext uri="{FF2B5EF4-FFF2-40B4-BE49-F238E27FC236}">
                    <a16:creationId xmlns:a16="http://schemas.microsoft.com/office/drawing/2014/main" id="{76BCDD11-88DA-487D-912E-EAD43529E3E9}"/>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7" name="Rektangel 1256">
                <a:extLst>
                  <a:ext uri="{FF2B5EF4-FFF2-40B4-BE49-F238E27FC236}">
                    <a16:creationId xmlns:a16="http://schemas.microsoft.com/office/drawing/2014/main" id="{5C9963CB-A6C9-43F0-8FF7-B5C462937789}"/>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5" name="Rektangel 994">
              <a:extLst>
                <a:ext uri="{FF2B5EF4-FFF2-40B4-BE49-F238E27FC236}">
                  <a16:creationId xmlns:a16="http://schemas.microsoft.com/office/drawing/2014/main" id="{442C835A-195F-46AA-B734-69ED8AB9DF97}"/>
                </a:ext>
              </a:extLst>
            </p:cNvPr>
            <p:cNvSpPr/>
            <p:nvPr/>
          </p:nvSpPr>
          <p:spPr>
            <a:xfrm>
              <a:off x="7845719" y="5157787"/>
              <a:ext cx="1328346" cy="661057"/>
            </a:xfrm>
            <a:prstGeom prst="rect">
              <a:avLst/>
            </a:prstGeom>
            <a:gradFill flip="none" rotWithShape="1">
              <a:gsLst>
                <a:gs pos="0">
                  <a:srgbClr val="514839"/>
                </a:gs>
                <a:gs pos="48000">
                  <a:srgbClr val="514839"/>
                </a:gs>
                <a:gs pos="23000">
                  <a:srgbClr val="4A4438"/>
                </a:gs>
                <a:gs pos="73000">
                  <a:srgbClr val="4A4438"/>
                </a:gs>
                <a:gs pos="100000">
                  <a:srgbClr val="51483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6" name="Rektangel 995">
              <a:extLst>
                <a:ext uri="{FF2B5EF4-FFF2-40B4-BE49-F238E27FC236}">
                  <a16:creationId xmlns:a16="http://schemas.microsoft.com/office/drawing/2014/main" id="{533436B0-BF03-4915-86E7-47764EA4D0EC}"/>
                </a:ext>
              </a:extLst>
            </p:cNvPr>
            <p:cNvSpPr/>
            <p:nvPr/>
          </p:nvSpPr>
          <p:spPr>
            <a:xfrm>
              <a:off x="803956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7" name="Rektangel 996">
              <a:extLst>
                <a:ext uri="{FF2B5EF4-FFF2-40B4-BE49-F238E27FC236}">
                  <a16:creationId xmlns:a16="http://schemas.microsoft.com/office/drawing/2014/main" id="{6990CBF5-70EF-43CB-95A2-57CD7A5DBCD6}"/>
                </a:ext>
              </a:extLst>
            </p:cNvPr>
            <p:cNvSpPr/>
            <p:nvPr/>
          </p:nvSpPr>
          <p:spPr>
            <a:xfrm>
              <a:off x="812934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8" name="Rektangel 997">
              <a:extLst>
                <a:ext uri="{FF2B5EF4-FFF2-40B4-BE49-F238E27FC236}">
                  <a16:creationId xmlns:a16="http://schemas.microsoft.com/office/drawing/2014/main" id="{D7BA9E0E-92BD-452E-9A24-110D30D86F8D}"/>
                </a:ext>
              </a:extLst>
            </p:cNvPr>
            <p:cNvSpPr/>
            <p:nvPr/>
          </p:nvSpPr>
          <p:spPr>
            <a:xfrm>
              <a:off x="822581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9" name="Rektangel 998">
              <a:extLst>
                <a:ext uri="{FF2B5EF4-FFF2-40B4-BE49-F238E27FC236}">
                  <a16:creationId xmlns:a16="http://schemas.microsoft.com/office/drawing/2014/main" id="{95DD8EE6-F224-473A-84DA-6B3499E04695}"/>
                </a:ext>
              </a:extLst>
            </p:cNvPr>
            <p:cNvSpPr/>
            <p:nvPr/>
          </p:nvSpPr>
          <p:spPr>
            <a:xfrm>
              <a:off x="832550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0" name="Rektangel 999">
              <a:extLst>
                <a:ext uri="{FF2B5EF4-FFF2-40B4-BE49-F238E27FC236}">
                  <a16:creationId xmlns:a16="http://schemas.microsoft.com/office/drawing/2014/main" id="{409D68E2-1A80-4202-AD67-4F253A7E6A7C}"/>
                </a:ext>
              </a:extLst>
            </p:cNvPr>
            <p:cNvSpPr/>
            <p:nvPr/>
          </p:nvSpPr>
          <p:spPr>
            <a:xfrm>
              <a:off x="841528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1" name="Rektangel 1000">
              <a:extLst>
                <a:ext uri="{FF2B5EF4-FFF2-40B4-BE49-F238E27FC236}">
                  <a16:creationId xmlns:a16="http://schemas.microsoft.com/office/drawing/2014/main" id="{999F52B1-AD4C-480E-9318-3EABEE4C490C}"/>
                </a:ext>
              </a:extLst>
            </p:cNvPr>
            <p:cNvSpPr/>
            <p:nvPr/>
          </p:nvSpPr>
          <p:spPr>
            <a:xfrm>
              <a:off x="851175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2" name="Rektangel 1001">
              <a:extLst>
                <a:ext uri="{FF2B5EF4-FFF2-40B4-BE49-F238E27FC236}">
                  <a16:creationId xmlns:a16="http://schemas.microsoft.com/office/drawing/2014/main" id="{7F6F4BD5-AA31-4115-B37E-52A6A45B50EA}"/>
                </a:ext>
              </a:extLst>
            </p:cNvPr>
            <p:cNvSpPr/>
            <p:nvPr/>
          </p:nvSpPr>
          <p:spPr>
            <a:xfrm>
              <a:off x="860823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3" name="Rektangel 1002">
              <a:extLst>
                <a:ext uri="{FF2B5EF4-FFF2-40B4-BE49-F238E27FC236}">
                  <a16:creationId xmlns:a16="http://schemas.microsoft.com/office/drawing/2014/main" id="{E8B98FAA-4289-4DDB-A720-9AB3DD9817F1}"/>
                </a:ext>
              </a:extLst>
            </p:cNvPr>
            <p:cNvSpPr/>
            <p:nvPr/>
          </p:nvSpPr>
          <p:spPr>
            <a:xfrm>
              <a:off x="869801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4" name="Rektangel 1003">
              <a:extLst>
                <a:ext uri="{FF2B5EF4-FFF2-40B4-BE49-F238E27FC236}">
                  <a16:creationId xmlns:a16="http://schemas.microsoft.com/office/drawing/2014/main" id="{17218B4B-59F9-48EB-8680-EBB1AFCD6B27}"/>
                </a:ext>
              </a:extLst>
            </p:cNvPr>
            <p:cNvSpPr/>
            <p:nvPr/>
          </p:nvSpPr>
          <p:spPr>
            <a:xfrm>
              <a:off x="879448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5" name="Rektangel 1004">
              <a:extLst>
                <a:ext uri="{FF2B5EF4-FFF2-40B4-BE49-F238E27FC236}">
                  <a16:creationId xmlns:a16="http://schemas.microsoft.com/office/drawing/2014/main" id="{FA181756-EB3B-48E1-B6CA-DA1DBE237C80}"/>
                </a:ext>
              </a:extLst>
            </p:cNvPr>
            <p:cNvSpPr/>
            <p:nvPr/>
          </p:nvSpPr>
          <p:spPr>
            <a:xfrm>
              <a:off x="8891789"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6" name="Rektangel 1005">
              <a:extLst>
                <a:ext uri="{FF2B5EF4-FFF2-40B4-BE49-F238E27FC236}">
                  <a16:creationId xmlns:a16="http://schemas.microsoft.com/office/drawing/2014/main" id="{908159B4-7546-483B-A855-5AF705ED69F4}"/>
                </a:ext>
              </a:extLst>
            </p:cNvPr>
            <p:cNvSpPr/>
            <p:nvPr/>
          </p:nvSpPr>
          <p:spPr>
            <a:xfrm>
              <a:off x="898395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7" name="Rektangel 1006">
              <a:extLst>
                <a:ext uri="{FF2B5EF4-FFF2-40B4-BE49-F238E27FC236}">
                  <a16:creationId xmlns:a16="http://schemas.microsoft.com/office/drawing/2014/main" id="{AF319834-A684-4002-8BBF-4B7A6B037A3F}"/>
                </a:ext>
              </a:extLst>
            </p:cNvPr>
            <p:cNvSpPr/>
            <p:nvPr/>
          </p:nvSpPr>
          <p:spPr>
            <a:xfrm>
              <a:off x="908042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8" name="Rektangel 1007">
              <a:extLst>
                <a:ext uri="{FF2B5EF4-FFF2-40B4-BE49-F238E27FC236}">
                  <a16:creationId xmlns:a16="http://schemas.microsoft.com/office/drawing/2014/main" id="{97F9ADFF-AEBA-4CC5-B8AB-A68AC1E0D06E}"/>
                </a:ext>
              </a:extLst>
            </p:cNvPr>
            <p:cNvSpPr/>
            <p:nvPr/>
          </p:nvSpPr>
          <p:spPr>
            <a:xfrm>
              <a:off x="7932997" y="589505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9" name="Rektangel 1008">
              <a:extLst>
                <a:ext uri="{FF2B5EF4-FFF2-40B4-BE49-F238E27FC236}">
                  <a16:creationId xmlns:a16="http://schemas.microsoft.com/office/drawing/2014/main" id="{DFCFEF7B-9993-4742-B13C-6DA9A15E0023}"/>
                </a:ext>
              </a:extLst>
            </p:cNvPr>
            <p:cNvSpPr/>
            <p:nvPr/>
          </p:nvSpPr>
          <p:spPr>
            <a:xfrm>
              <a:off x="7932997" y="5928396"/>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0" name="Rektangel 1009">
              <a:extLst>
                <a:ext uri="{FF2B5EF4-FFF2-40B4-BE49-F238E27FC236}">
                  <a16:creationId xmlns:a16="http://schemas.microsoft.com/office/drawing/2014/main" id="{E256F186-63BA-4B39-B106-DAF54C55697D}"/>
                </a:ext>
              </a:extLst>
            </p:cNvPr>
            <p:cNvSpPr/>
            <p:nvPr/>
          </p:nvSpPr>
          <p:spPr>
            <a:xfrm>
              <a:off x="7932997" y="596173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1" name="Rektangel 1010">
              <a:extLst>
                <a:ext uri="{FF2B5EF4-FFF2-40B4-BE49-F238E27FC236}">
                  <a16:creationId xmlns:a16="http://schemas.microsoft.com/office/drawing/2014/main" id="{B8B8DAB3-B327-48DF-BE72-F3277E5F774F}"/>
                </a:ext>
              </a:extLst>
            </p:cNvPr>
            <p:cNvSpPr/>
            <p:nvPr/>
          </p:nvSpPr>
          <p:spPr>
            <a:xfrm>
              <a:off x="7932997" y="5861718"/>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2" name="Rektangel 1011">
              <a:extLst>
                <a:ext uri="{FF2B5EF4-FFF2-40B4-BE49-F238E27FC236}">
                  <a16:creationId xmlns:a16="http://schemas.microsoft.com/office/drawing/2014/main" id="{460824E6-CBC0-4021-908C-EDBBDD4F30C9}"/>
                </a:ext>
              </a:extLst>
            </p:cNvPr>
            <p:cNvSpPr/>
            <p:nvPr/>
          </p:nvSpPr>
          <p:spPr>
            <a:xfrm>
              <a:off x="7932997" y="5828379"/>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3" name="Rektangel 1012">
              <a:extLst>
                <a:ext uri="{FF2B5EF4-FFF2-40B4-BE49-F238E27FC236}">
                  <a16:creationId xmlns:a16="http://schemas.microsoft.com/office/drawing/2014/main" id="{7DBA9608-7EF3-4C5B-AB30-DCD742CD4F41}"/>
                </a:ext>
              </a:extLst>
            </p:cNvPr>
            <p:cNvSpPr/>
            <p:nvPr/>
          </p:nvSpPr>
          <p:spPr>
            <a:xfrm>
              <a:off x="7845719" y="5545424"/>
              <a:ext cx="132834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4" name="Rektangel 1013">
              <a:extLst>
                <a:ext uri="{FF2B5EF4-FFF2-40B4-BE49-F238E27FC236}">
                  <a16:creationId xmlns:a16="http://schemas.microsoft.com/office/drawing/2014/main" id="{C3B96885-08A6-4638-A151-FE273D53F281}"/>
                </a:ext>
              </a:extLst>
            </p:cNvPr>
            <p:cNvSpPr/>
            <p:nvPr/>
          </p:nvSpPr>
          <p:spPr>
            <a:xfrm>
              <a:off x="7845719" y="5236866"/>
              <a:ext cx="656057"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5" name="Rektangel 1014">
              <a:extLst>
                <a:ext uri="{FF2B5EF4-FFF2-40B4-BE49-F238E27FC236}">
                  <a16:creationId xmlns:a16="http://schemas.microsoft.com/office/drawing/2014/main" id="{7737D1E5-8064-4818-A411-46FC7DC71BF9}"/>
                </a:ext>
              </a:extLst>
            </p:cNvPr>
            <p:cNvSpPr/>
            <p:nvPr/>
          </p:nvSpPr>
          <p:spPr>
            <a:xfrm>
              <a:off x="8284549" y="5404664"/>
              <a:ext cx="88951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6" name="Rektangel 1015">
              <a:extLst>
                <a:ext uri="{FF2B5EF4-FFF2-40B4-BE49-F238E27FC236}">
                  <a16:creationId xmlns:a16="http://schemas.microsoft.com/office/drawing/2014/main" id="{4BF97E51-AEEF-4F1E-94EB-602A02F0C283}"/>
                </a:ext>
              </a:extLst>
            </p:cNvPr>
            <p:cNvSpPr/>
            <p:nvPr/>
          </p:nvSpPr>
          <p:spPr>
            <a:xfrm>
              <a:off x="8415280"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7" name="Rektangel 1016">
              <a:extLst>
                <a:ext uri="{FF2B5EF4-FFF2-40B4-BE49-F238E27FC236}">
                  <a16:creationId xmlns:a16="http://schemas.microsoft.com/office/drawing/2014/main" id="{0C3FDE39-4A08-4DF3-A223-3FEB1652658B}"/>
                </a:ext>
              </a:extLst>
            </p:cNvPr>
            <p:cNvSpPr/>
            <p:nvPr/>
          </p:nvSpPr>
          <p:spPr>
            <a:xfrm>
              <a:off x="8511755"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8" name="Rektangel 1017">
              <a:extLst>
                <a:ext uri="{FF2B5EF4-FFF2-40B4-BE49-F238E27FC236}">
                  <a16:creationId xmlns:a16="http://schemas.microsoft.com/office/drawing/2014/main" id="{FDA7A587-279B-4E5F-92DF-B79D82308FD4}"/>
                </a:ext>
              </a:extLst>
            </p:cNvPr>
            <p:cNvSpPr/>
            <p:nvPr/>
          </p:nvSpPr>
          <p:spPr>
            <a:xfrm>
              <a:off x="8891789"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9" name="Rektangel 1018">
              <a:extLst>
                <a:ext uri="{FF2B5EF4-FFF2-40B4-BE49-F238E27FC236}">
                  <a16:creationId xmlns:a16="http://schemas.microsoft.com/office/drawing/2014/main" id="{462F544B-AA9A-4C32-B0E5-6E11D6BD1418}"/>
                </a:ext>
              </a:extLst>
            </p:cNvPr>
            <p:cNvSpPr/>
            <p:nvPr/>
          </p:nvSpPr>
          <p:spPr>
            <a:xfrm>
              <a:off x="8983950"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0" name="Rektangel 1019">
              <a:extLst>
                <a:ext uri="{FF2B5EF4-FFF2-40B4-BE49-F238E27FC236}">
                  <a16:creationId xmlns:a16="http://schemas.microsoft.com/office/drawing/2014/main" id="{34FF0B41-34D2-4AA8-A013-07699AE887A1}"/>
                </a:ext>
              </a:extLst>
            </p:cNvPr>
            <p:cNvSpPr/>
            <p:nvPr/>
          </p:nvSpPr>
          <p:spPr>
            <a:xfrm>
              <a:off x="803956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1" name="Rektangel 1020">
              <a:extLst>
                <a:ext uri="{FF2B5EF4-FFF2-40B4-BE49-F238E27FC236}">
                  <a16:creationId xmlns:a16="http://schemas.microsoft.com/office/drawing/2014/main" id="{903CD876-D2CB-4634-9EB0-EB335FE9A324}"/>
                </a:ext>
              </a:extLst>
            </p:cNvPr>
            <p:cNvSpPr/>
            <p:nvPr/>
          </p:nvSpPr>
          <p:spPr>
            <a:xfrm>
              <a:off x="812934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2" name="Gruppe 1021">
              <a:extLst>
                <a:ext uri="{FF2B5EF4-FFF2-40B4-BE49-F238E27FC236}">
                  <a16:creationId xmlns:a16="http://schemas.microsoft.com/office/drawing/2014/main" id="{20CCCACE-09F5-4295-8034-1CBA89CC85A1}"/>
                </a:ext>
              </a:extLst>
            </p:cNvPr>
            <p:cNvGrpSpPr/>
            <p:nvPr/>
          </p:nvGrpSpPr>
          <p:grpSpPr>
            <a:xfrm>
              <a:off x="8415138" y="4431088"/>
              <a:ext cx="1328346" cy="414964"/>
              <a:chOff x="5874427" y="4317588"/>
              <a:chExt cx="3434871" cy="246494"/>
            </a:xfrm>
          </p:grpSpPr>
          <p:sp>
            <p:nvSpPr>
              <p:cNvPr id="1105" name="Retvinklet trekant 1104">
                <a:extLst>
                  <a:ext uri="{FF2B5EF4-FFF2-40B4-BE49-F238E27FC236}">
                    <a16:creationId xmlns:a16="http://schemas.microsoft.com/office/drawing/2014/main" id="{655D5BFA-0489-403B-9E7C-2663D1463EEE}"/>
                  </a:ext>
                </a:extLst>
              </p:cNvPr>
              <p:cNvSpPr/>
              <p:nvPr/>
            </p:nvSpPr>
            <p:spPr>
              <a:xfrm>
                <a:off x="8982984"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6" name="Rektangel 1105">
                <a:extLst>
                  <a:ext uri="{FF2B5EF4-FFF2-40B4-BE49-F238E27FC236}">
                    <a16:creationId xmlns:a16="http://schemas.microsoft.com/office/drawing/2014/main" id="{11DD5CA6-A414-409E-81A3-A7BE7D87A70B}"/>
                  </a:ext>
                </a:extLst>
              </p:cNvPr>
              <p:cNvSpPr/>
              <p:nvPr/>
            </p:nvSpPr>
            <p:spPr>
              <a:xfrm>
                <a:off x="6200741" y="4317588"/>
                <a:ext cx="2782244" cy="246494"/>
              </a:xfrm>
              <a:prstGeom prst="rect">
                <a:avLst/>
              </a:prstGeom>
              <a:gradFill flip="none" rotWithShape="1">
                <a:gsLst>
                  <a:gs pos="0">
                    <a:srgbClr val="635955"/>
                  </a:gs>
                  <a:gs pos="24000">
                    <a:srgbClr val="5A514E"/>
                  </a:gs>
                  <a:gs pos="53000">
                    <a:srgbClr val="635955"/>
                  </a:gs>
                  <a:gs pos="76000">
                    <a:srgbClr val="5A514E"/>
                  </a:gs>
                  <a:gs pos="100000">
                    <a:srgbClr val="63595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7" name="Retvinklet trekant 1106">
                <a:extLst>
                  <a:ext uri="{FF2B5EF4-FFF2-40B4-BE49-F238E27FC236}">
                    <a16:creationId xmlns:a16="http://schemas.microsoft.com/office/drawing/2014/main" id="{C2A836B1-94D6-4FA0-9720-592A0C7EDB3E}"/>
                  </a:ext>
                </a:extLst>
              </p:cNvPr>
              <p:cNvSpPr/>
              <p:nvPr/>
            </p:nvSpPr>
            <p:spPr>
              <a:xfrm flipH="1">
                <a:off x="5874427"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3" name="Gruppe 1022">
              <a:extLst>
                <a:ext uri="{FF2B5EF4-FFF2-40B4-BE49-F238E27FC236}">
                  <a16:creationId xmlns:a16="http://schemas.microsoft.com/office/drawing/2014/main" id="{44E1D913-C30C-4860-9107-555C0EF18F01}"/>
                </a:ext>
              </a:extLst>
            </p:cNvPr>
            <p:cNvGrpSpPr/>
            <p:nvPr/>
          </p:nvGrpSpPr>
          <p:grpSpPr>
            <a:xfrm>
              <a:off x="8576952" y="4242872"/>
              <a:ext cx="126000" cy="367461"/>
              <a:chOff x="6636067" y="4242872"/>
              <a:chExt cx="126000" cy="367461"/>
            </a:xfrm>
          </p:grpSpPr>
          <p:sp>
            <p:nvSpPr>
              <p:cNvPr id="1103" name="Rektangel 1102">
                <a:extLst>
                  <a:ext uri="{FF2B5EF4-FFF2-40B4-BE49-F238E27FC236}">
                    <a16:creationId xmlns:a16="http://schemas.microsoft.com/office/drawing/2014/main" id="{143909C1-8CD4-4EC5-86F0-E48BEBCFCCFF}"/>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4" name="Rektangel 1103">
                <a:extLst>
                  <a:ext uri="{FF2B5EF4-FFF2-40B4-BE49-F238E27FC236}">
                    <a16:creationId xmlns:a16="http://schemas.microsoft.com/office/drawing/2014/main" id="{CEE2B428-0AAF-4848-82F8-8DC059EEFFE2}"/>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4" name="Gruppe 1023">
              <a:extLst>
                <a:ext uri="{FF2B5EF4-FFF2-40B4-BE49-F238E27FC236}">
                  <a16:creationId xmlns:a16="http://schemas.microsoft.com/office/drawing/2014/main" id="{1CD8910C-30CA-4EC4-A31B-B504C2577F59}"/>
                </a:ext>
              </a:extLst>
            </p:cNvPr>
            <p:cNvGrpSpPr/>
            <p:nvPr/>
          </p:nvGrpSpPr>
          <p:grpSpPr>
            <a:xfrm>
              <a:off x="8784506" y="4242872"/>
              <a:ext cx="126000" cy="367461"/>
              <a:chOff x="6636067" y="4242872"/>
              <a:chExt cx="126000" cy="367461"/>
            </a:xfrm>
          </p:grpSpPr>
          <p:sp>
            <p:nvSpPr>
              <p:cNvPr id="1101" name="Rektangel 1100">
                <a:extLst>
                  <a:ext uri="{FF2B5EF4-FFF2-40B4-BE49-F238E27FC236}">
                    <a16:creationId xmlns:a16="http://schemas.microsoft.com/office/drawing/2014/main" id="{AB350F41-061C-4E33-AD8B-6B7BA3584420}"/>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2" name="Rektangel 1101">
                <a:extLst>
                  <a:ext uri="{FF2B5EF4-FFF2-40B4-BE49-F238E27FC236}">
                    <a16:creationId xmlns:a16="http://schemas.microsoft.com/office/drawing/2014/main" id="{51072410-3ED2-4EB6-8FCB-F36CFCCE961B}"/>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5" name="Gruppe 1024">
              <a:extLst>
                <a:ext uri="{FF2B5EF4-FFF2-40B4-BE49-F238E27FC236}">
                  <a16:creationId xmlns:a16="http://schemas.microsoft.com/office/drawing/2014/main" id="{7FEA82F7-338B-4DD0-B331-8A100B5CB250}"/>
                </a:ext>
              </a:extLst>
            </p:cNvPr>
            <p:cNvGrpSpPr/>
            <p:nvPr/>
          </p:nvGrpSpPr>
          <p:grpSpPr>
            <a:xfrm>
              <a:off x="9396387" y="4242872"/>
              <a:ext cx="126000" cy="367461"/>
              <a:chOff x="6636067" y="4242872"/>
              <a:chExt cx="126000" cy="367461"/>
            </a:xfrm>
          </p:grpSpPr>
          <p:sp>
            <p:nvSpPr>
              <p:cNvPr id="1099" name="Rektangel 1098">
                <a:extLst>
                  <a:ext uri="{FF2B5EF4-FFF2-40B4-BE49-F238E27FC236}">
                    <a16:creationId xmlns:a16="http://schemas.microsoft.com/office/drawing/2014/main" id="{BB50C4CD-EA75-43CF-BA94-DC4C112A224A}"/>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0" name="Rektangel 1099">
                <a:extLst>
                  <a:ext uri="{FF2B5EF4-FFF2-40B4-BE49-F238E27FC236}">
                    <a16:creationId xmlns:a16="http://schemas.microsoft.com/office/drawing/2014/main" id="{99579228-50B5-48D3-BFD1-D606B9855F59}"/>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26" name="Ligebenet trekant 1025">
              <a:extLst>
                <a:ext uri="{FF2B5EF4-FFF2-40B4-BE49-F238E27FC236}">
                  <a16:creationId xmlns:a16="http://schemas.microsoft.com/office/drawing/2014/main" id="{C7247CC5-FBF9-43C5-B64B-F134DA2F68D2}"/>
                </a:ext>
              </a:extLst>
            </p:cNvPr>
            <p:cNvSpPr/>
            <p:nvPr/>
          </p:nvSpPr>
          <p:spPr>
            <a:xfrm>
              <a:off x="9096120" y="4704730"/>
              <a:ext cx="456895" cy="141161"/>
            </a:xfrm>
            <a:prstGeom prst="triangle">
              <a:avLst/>
            </a:prstGeom>
            <a:solidFill>
              <a:srgbClr val="635955"/>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7" name="Gruppe 1026">
              <a:extLst>
                <a:ext uri="{FF2B5EF4-FFF2-40B4-BE49-F238E27FC236}">
                  <a16:creationId xmlns:a16="http://schemas.microsoft.com/office/drawing/2014/main" id="{C64B6920-3ED7-436A-9146-C54DF00C983B}"/>
                </a:ext>
              </a:extLst>
            </p:cNvPr>
            <p:cNvGrpSpPr/>
            <p:nvPr/>
          </p:nvGrpSpPr>
          <p:grpSpPr>
            <a:xfrm>
              <a:off x="8564003" y="4667771"/>
              <a:ext cx="176276" cy="117962"/>
              <a:chOff x="5988619" y="4669003"/>
              <a:chExt cx="176276" cy="153689"/>
            </a:xfrm>
          </p:grpSpPr>
          <p:sp>
            <p:nvSpPr>
              <p:cNvPr id="1097" name="Rektangel 1096">
                <a:extLst>
                  <a:ext uri="{FF2B5EF4-FFF2-40B4-BE49-F238E27FC236}">
                    <a16:creationId xmlns:a16="http://schemas.microsoft.com/office/drawing/2014/main" id="{E767739D-66D5-444F-81EF-03AB2915339F}"/>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8" name="Rektangel 1097">
                <a:extLst>
                  <a:ext uri="{FF2B5EF4-FFF2-40B4-BE49-F238E27FC236}">
                    <a16:creationId xmlns:a16="http://schemas.microsoft.com/office/drawing/2014/main" id="{8425397B-EF6C-42FD-82CB-6CAE28788645}"/>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8" name="Gruppe 1027">
              <a:extLst>
                <a:ext uri="{FF2B5EF4-FFF2-40B4-BE49-F238E27FC236}">
                  <a16:creationId xmlns:a16="http://schemas.microsoft.com/office/drawing/2014/main" id="{55111938-BA6E-492B-85AC-C22332F54A0B}"/>
                </a:ext>
              </a:extLst>
            </p:cNvPr>
            <p:cNvGrpSpPr/>
            <p:nvPr/>
          </p:nvGrpSpPr>
          <p:grpSpPr>
            <a:xfrm>
              <a:off x="8833372" y="4667771"/>
              <a:ext cx="176276" cy="117962"/>
              <a:chOff x="5988619" y="4669003"/>
              <a:chExt cx="176276" cy="153689"/>
            </a:xfrm>
          </p:grpSpPr>
          <p:sp>
            <p:nvSpPr>
              <p:cNvPr id="1095" name="Rektangel 1094">
                <a:extLst>
                  <a:ext uri="{FF2B5EF4-FFF2-40B4-BE49-F238E27FC236}">
                    <a16:creationId xmlns:a16="http://schemas.microsoft.com/office/drawing/2014/main" id="{B0A26381-9522-4D37-B2E2-9034812358DD}"/>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6" name="Rektangel 1095">
                <a:extLst>
                  <a:ext uri="{FF2B5EF4-FFF2-40B4-BE49-F238E27FC236}">
                    <a16:creationId xmlns:a16="http://schemas.microsoft.com/office/drawing/2014/main" id="{6A57ECDC-0CD9-4588-8469-F89222D05791}"/>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9" name="Gruppe 1028">
              <a:extLst>
                <a:ext uri="{FF2B5EF4-FFF2-40B4-BE49-F238E27FC236}">
                  <a16:creationId xmlns:a16="http://schemas.microsoft.com/office/drawing/2014/main" id="{A2140249-47AE-4C33-9850-90D4C82C5188}"/>
                </a:ext>
              </a:extLst>
            </p:cNvPr>
            <p:cNvGrpSpPr/>
            <p:nvPr/>
          </p:nvGrpSpPr>
          <p:grpSpPr>
            <a:xfrm>
              <a:off x="8561895" y="4863108"/>
              <a:ext cx="177208" cy="214134"/>
              <a:chOff x="6090483" y="4742613"/>
              <a:chExt cx="177208" cy="214134"/>
            </a:xfrm>
          </p:grpSpPr>
          <p:sp>
            <p:nvSpPr>
              <p:cNvPr id="1091" name="Rektangel: afrundede hjørner 1090">
                <a:extLst>
                  <a:ext uri="{FF2B5EF4-FFF2-40B4-BE49-F238E27FC236}">
                    <a16:creationId xmlns:a16="http://schemas.microsoft.com/office/drawing/2014/main" id="{DA18D172-839A-48A1-8358-4FABFCF953C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92" name="Gruppe 1091">
                <a:extLst>
                  <a:ext uri="{FF2B5EF4-FFF2-40B4-BE49-F238E27FC236}">
                    <a16:creationId xmlns:a16="http://schemas.microsoft.com/office/drawing/2014/main" id="{EA460C19-E11D-498C-BC24-CAD7463101A4}"/>
                  </a:ext>
                </a:extLst>
              </p:cNvPr>
              <p:cNvGrpSpPr/>
              <p:nvPr/>
            </p:nvGrpSpPr>
            <p:grpSpPr>
              <a:xfrm>
                <a:off x="6090483" y="4838785"/>
                <a:ext cx="176276" cy="117962"/>
                <a:chOff x="5988619" y="4669003"/>
                <a:chExt cx="176276" cy="153689"/>
              </a:xfrm>
            </p:grpSpPr>
            <p:sp>
              <p:nvSpPr>
                <p:cNvPr id="1093" name="Rektangel 1092">
                  <a:extLst>
                    <a:ext uri="{FF2B5EF4-FFF2-40B4-BE49-F238E27FC236}">
                      <a16:creationId xmlns:a16="http://schemas.microsoft.com/office/drawing/2014/main" id="{ABAEE094-58E5-46C4-8D72-31BE8C5457C6}"/>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4" name="Rektangel 1093">
                  <a:extLst>
                    <a:ext uri="{FF2B5EF4-FFF2-40B4-BE49-F238E27FC236}">
                      <a16:creationId xmlns:a16="http://schemas.microsoft.com/office/drawing/2014/main" id="{99F3F7D8-CA17-4DCA-962E-11F096BC124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0" name="Gruppe 1029">
              <a:extLst>
                <a:ext uri="{FF2B5EF4-FFF2-40B4-BE49-F238E27FC236}">
                  <a16:creationId xmlns:a16="http://schemas.microsoft.com/office/drawing/2014/main" id="{6DD7BB86-DF92-4DEA-A294-CA87BA1F2716}"/>
                </a:ext>
              </a:extLst>
            </p:cNvPr>
            <p:cNvGrpSpPr/>
            <p:nvPr/>
          </p:nvGrpSpPr>
          <p:grpSpPr>
            <a:xfrm>
              <a:off x="8828583" y="4863108"/>
              <a:ext cx="177208" cy="214134"/>
              <a:chOff x="6090483" y="4742613"/>
              <a:chExt cx="177208" cy="214134"/>
            </a:xfrm>
          </p:grpSpPr>
          <p:sp>
            <p:nvSpPr>
              <p:cNvPr id="1087" name="Rektangel: afrundede hjørner 1086">
                <a:extLst>
                  <a:ext uri="{FF2B5EF4-FFF2-40B4-BE49-F238E27FC236}">
                    <a16:creationId xmlns:a16="http://schemas.microsoft.com/office/drawing/2014/main" id="{FA7E0CA5-9CA1-45E4-A7A6-961191AF29CB}"/>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8" name="Gruppe 1087">
                <a:extLst>
                  <a:ext uri="{FF2B5EF4-FFF2-40B4-BE49-F238E27FC236}">
                    <a16:creationId xmlns:a16="http://schemas.microsoft.com/office/drawing/2014/main" id="{A310D221-B23C-49F2-8F08-95BD4491652D}"/>
                  </a:ext>
                </a:extLst>
              </p:cNvPr>
              <p:cNvGrpSpPr/>
              <p:nvPr/>
            </p:nvGrpSpPr>
            <p:grpSpPr>
              <a:xfrm>
                <a:off x="6090483" y="4838785"/>
                <a:ext cx="176276" cy="117962"/>
                <a:chOff x="5988619" y="4669003"/>
                <a:chExt cx="176276" cy="153689"/>
              </a:xfrm>
            </p:grpSpPr>
            <p:sp>
              <p:nvSpPr>
                <p:cNvPr id="1089" name="Rektangel 1088">
                  <a:extLst>
                    <a:ext uri="{FF2B5EF4-FFF2-40B4-BE49-F238E27FC236}">
                      <a16:creationId xmlns:a16="http://schemas.microsoft.com/office/drawing/2014/main" id="{73EC5A37-438F-48CB-80AB-0C4D6580C202}"/>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0" name="Rektangel 1089">
                  <a:extLst>
                    <a:ext uri="{FF2B5EF4-FFF2-40B4-BE49-F238E27FC236}">
                      <a16:creationId xmlns:a16="http://schemas.microsoft.com/office/drawing/2014/main" id="{29A09A8B-8283-4BEF-B72C-1ABD9BC99C6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1" name="Gruppe 1030">
              <a:extLst>
                <a:ext uri="{FF2B5EF4-FFF2-40B4-BE49-F238E27FC236}">
                  <a16:creationId xmlns:a16="http://schemas.microsoft.com/office/drawing/2014/main" id="{AA520107-DD6B-4D50-9AE0-F3A9715990B8}"/>
                </a:ext>
              </a:extLst>
            </p:cNvPr>
            <p:cNvGrpSpPr/>
            <p:nvPr/>
          </p:nvGrpSpPr>
          <p:grpSpPr>
            <a:xfrm>
              <a:off x="9235963" y="4941687"/>
              <a:ext cx="177208" cy="214134"/>
              <a:chOff x="6090483" y="4742613"/>
              <a:chExt cx="177208" cy="214134"/>
            </a:xfrm>
          </p:grpSpPr>
          <p:sp>
            <p:nvSpPr>
              <p:cNvPr id="1083" name="Rektangel: afrundede hjørner 1082">
                <a:extLst>
                  <a:ext uri="{FF2B5EF4-FFF2-40B4-BE49-F238E27FC236}">
                    <a16:creationId xmlns:a16="http://schemas.microsoft.com/office/drawing/2014/main" id="{B910BB79-7F85-4D31-9D8E-AEEE125D947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4" name="Gruppe 1083">
                <a:extLst>
                  <a:ext uri="{FF2B5EF4-FFF2-40B4-BE49-F238E27FC236}">
                    <a16:creationId xmlns:a16="http://schemas.microsoft.com/office/drawing/2014/main" id="{AB5F92C9-EC5F-4C27-B51A-BA55F50F92EE}"/>
                  </a:ext>
                </a:extLst>
              </p:cNvPr>
              <p:cNvGrpSpPr/>
              <p:nvPr/>
            </p:nvGrpSpPr>
            <p:grpSpPr>
              <a:xfrm>
                <a:off x="6090483" y="4838785"/>
                <a:ext cx="176276" cy="117962"/>
                <a:chOff x="5988619" y="4669003"/>
                <a:chExt cx="176276" cy="153689"/>
              </a:xfrm>
            </p:grpSpPr>
            <p:sp>
              <p:nvSpPr>
                <p:cNvPr id="1085" name="Rektangel 1084">
                  <a:extLst>
                    <a:ext uri="{FF2B5EF4-FFF2-40B4-BE49-F238E27FC236}">
                      <a16:creationId xmlns:a16="http://schemas.microsoft.com/office/drawing/2014/main" id="{1D1D57FD-E5C0-4382-98C5-D6C2C44CBFFA}"/>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6" name="Rektangel 1085">
                  <a:extLst>
                    <a:ext uri="{FF2B5EF4-FFF2-40B4-BE49-F238E27FC236}">
                      <a16:creationId xmlns:a16="http://schemas.microsoft.com/office/drawing/2014/main" id="{66A5FBFA-FC58-4222-B1E7-A89F59C71DCB}"/>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sp>
          <p:nvSpPr>
            <p:cNvPr id="1032" name="Ligebenet trekant 1031">
              <a:extLst>
                <a:ext uri="{FF2B5EF4-FFF2-40B4-BE49-F238E27FC236}">
                  <a16:creationId xmlns:a16="http://schemas.microsoft.com/office/drawing/2014/main" id="{E1F5204A-55F2-4092-B3CC-ED0A81E3092A}"/>
                </a:ext>
              </a:extLst>
            </p:cNvPr>
            <p:cNvSpPr/>
            <p:nvPr/>
          </p:nvSpPr>
          <p:spPr>
            <a:xfrm>
              <a:off x="7845719" y="5036090"/>
              <a:ext cx="1328346" cy="124066"/>
            </a:xfrm>
            <a:prstGeom prst="triangle">
              <a:avLst>
                <a:gd name="adj" fmla="val 75097"/>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3" name="Gruppe 1032">
              <a:extLst>
                <a:ext uri="{FF2B5EF4-FFF2-40B4-BE49-F238E27FC236}">
                  <a16:creationId xmlns:a16="http://schemas.microsoft.com/office/drawing/2014/main" id="{66FCBC2F-12B2-4C5C-B739-CF7A3F39F73A}"/>
                </a:ext>
              </a:extLst>
            </p:cNvPr>
            <p:cNvGrpSpPr/>
            <p:nvPr/>
          </p:nvGrpSpPr>
          <p:grpSpPr>
            <a:xfrm>
              <a:off x="9235963" y="5188350"/>
              <a:ext cx="178657" cy="178315"/>
              <a:chOff x="7898541" y="5235970"/>
              <a:chExt cx="178657" cy="178315"/>
            </a:xfrm>
          </p:grpSpPr>
          <p:sp>
            <p:nvSpPr>
              <p:cNvPr id="1079" name="Rektangel 1078">
                <a:extLst>
                  <a:ext uri="{FF2B5EF4-FFF2-40B4-BE49-F238E27FC236}">
                    <a16:creationId xmlns:a16="http://schemas.microsoft.com/office/drawing/2014/main" id="{D6817D16-3039-4A1D-BE4F-7FE5998B17CB}"/>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0" name="Rektangel 1079">
                <a:extLst>
                  <a:ext uri="{FF2B5EF4-FFF2-40B4-BE49-F238E27FC236}">
                    <a16:creationId xmlns:a16="http://schemas.microsoft.com/office/drawing/2014/main" id="{17BF887A-CA62-49F5-AC89-93207B38471E}"/>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1" name="Rektangel 1080">
                <a:extLst>
                  <a:ext uri="{FF2B5EF4-FFF2-40B4-BE49-F238E27FC236}">
                    <a16:creationId xmlns:a16="http://schemas.microsoft.com/office/drawing/2014/main" id="{C92859E1-6D7D-41D4-85C2-6AED4F67E8DE}"/>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2" name="Rektangel 1081">
                <a:extLst>
                  <a:ext uri="{FF2B5EF4-FFF2-40B4-BE49-F238E27FC236}">
                    <a16:creationId xmlns:a16="http://schemas.microsoft.com/office/drawing/2014/main" id="{354D627E-FCE1-4231-B9AC-FD8721B7AF76}"/>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34" name="Gruppe 1033">
              <a:extLst>
                <a:ext uri="{FF2B5EF4-FFF2-40B4-BE49-F238E27FC236}">
                  <a16:creationId xmlns:a16="http://schemas.microsoft.com/office/drawing/2014/main" id="{F1998398-7ACD-4E6B-87C3-A3E97B43219E}"/>
                </a:ext>
              </a:extLst>
            </p:cNvPr>
            <p:cNvGrpSpPr/>
            <p:nvPr/>
          </p:nvGrpSpPr>
          <p:grpSpPr>
            <a:xfrm>
              <a:off x="9235963" y="5426272"/>
              <a:ext cx="177208" cy="214134"/>
              <a:chOff x="6090483" y="4742613"/>
              <a:chExt cx="177208" cy="214134"/>
            </a:xfrm>
          </p:grpSpPr>
          <p:sp>
            <p:nvSpPr>
              <p:cNvPr id="1075" name="Rektangel: afrundede hjørner 1074">
                <a:extLst>
                  <a:ext uri="{FF2B5EF4-FFF2-40B4-BE49-F238E27FC236}">
                    <a16:creationId xmlns:a16="http://schemas.microsoft.com/office/drawing/2014/main" id="{56B1A27E-4D50-48C0-8CBE-3EC8C13E1BA3}"/>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6" name="Gruppe 1075">
                <a:extLst>
                  <a:ext uri="{FF2B5EF4-FFF2-40B4-BE49-F238E27FC236}">
                    <a16:creationId xmlns:a16="http://schemas.microsoft.com/office/drawing/2014/main" id="{0EB5EFAD-439D-41AF-A993-E3CB6B584BCA}"/>
                  </a:ext>
                </a:extLst>
              </p:cNvPr>
              <p:cNvGrpSpPr/>
              <p:nvPr/>
            </p:nvGrpSpPr>
            <p:grpSpPr>
              <a:xfrm>
                <a:off x="6090483" y="4838785"/>
                <a:ext cx="176276" cy="117962"/>
                <a:chOff x="5988619" y="4669003"/>
                <a:chExt cx="176276" cy="153689"/>
              </a:xfrm>
            </p:grpSpPr>
            <p:sp>
              <p:nvSpPr>
                <p:cNvPr id="1077" name="Rektangel 1076">
                  <a:extLst>
                    <a:ext uri="{FF2B5EF4-FFF2-40B4-BE49-F238E27FC236}">
                      <a16:creationId xmlns:a16="http://schemas.microsoft.com/office/drawing/2014/main" id="{3E10C4F2-D556-4BDA-AA07-8CB82CF834CB}"/>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8" name="Rektangel 1077">
                  <a:extLst>
                    <a:ext uri="{FF2B5EF4-FFF2-40B4-BE49-F238E27FC236}">
                      <a16:creationId xmlns:a16="http://schemas.microsoft.com/office/drawing/2014/main" id="{74BD772C-4CEC-478D-8D7F-DFF4379EE4E3}"/>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5" name="Gruppe 1034">
              <a:extLst>
                <a:ext uri="{FF2B5EF4-FFF2-40B4-BE49-F238E27FC236}">
                  <a16:creationId xmlns:a16="http://schemas.microsoft.com/office/drawing/2014/main" id="{354B90BA-6451-41BC-AD84-9AB557117799}"/>
                </a:ext>
              </a:extLst>
            </p:cNvPr>
            <p:cNvGrpSpPr/>
            <p:nvPr/>
          </p:nvGrpSpPr>
          <p:grpSpPr>
            <a:xfrm>
              <a:off x="9235963" y="5672935"/>
              <a:ext cx="178657" cy="178315"/>
              <a:chOff x="7898541" y="5235970"/>
              <a:chExt cx="178657" cy="178315"/>
            </a:xfrm>
          </p:grpSpPr>
          <p:sp>
            <p:nvSpPr>
              <p:cNvPr id="1071" name="Rektangel 1070">
                <a:extLst>
                  <a:ext uri="{FF2B5EF4-FFF2-40B4-BE49-F238E27FC236}">
                    <a16:creationId xmlns:a16="http://schemas.microsoft.com/office/drawing/2014/main" id="{BE87C587-60EF-4EEE-B0B5-6CA7C553A7EA}"/>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2" name="Rektangel 1071">
                <a:extLst>
                  <a:ext uri="{FF2B5EF4-FFF2-40B4-BE49-F238E27FC236}">
                    <a16:creationId xmlns:a16="http://schemas.microsoft.com/office/drawing/2014/main" id="{10FA4D6C-715D-4C86-9CF5-DA6752D64389}"/>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3" name="Rektangel 1072">
                <a:extLst>
                  <a:ext uri="{FF2B5EF4-FFF2-40B4-BE49-F238E27FC236}">
                    <a16:creationId xmlns:a16="http://schemas.microsoft.com/office/drawing/2014/main" id="{1FF414D0-21FB-4068-8A25-68F2D6DDF4E7}"/>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4" name="Rektangel 1073">
                <a:extLst>
                  <a:ext uri="{FF2B5EF4-FFF2-40B4-BE49-F238E27FC236}">
                    <a16:creationId xmlns:a16="http://schemas.microsoft.com/office/drawing/2014/main" id="{8445B31E-A7C6-420A-B50C-D97A3F98241A}"/>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36" name="Ellipse 1035">
              <a:extLst>
                <a:ext uri="{FF2B5EF4-FFF2-40B4-BE49-F238E27FC236}">
                  <a16:creationId xmlns:a16="http://schemas.microsoft.com/office/drawing/2014/main" id="{AA2EA3DF-4586-4F4C-9449-A6C334D63636}"/>
                </a:ext>
              </a:extLst>
            </p:cNvPr>
            <p:cNvSpPr>
              <a:spLocks noChangeAspect="1"/>
            </p:cNvSpPr>
            <p:nvPr/>
          </p:nvSpPr>
          <p:spPr>
            <a:xfrm>
              <a:off x="7990124" y="4877837"/>
              <a:ext cx="49878" cy="48412"/>
            </a:xfrm>
            <a:prstGeom prst="ellipse">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7" name="Rektangel 1036">
              <a:extLst>
                <a:ext uri="{FF2B5EF4-FFF2-40B4-BE49-F238E27FC236}">
                  <a16:creationId xmlns:a16="http://schemas.microsoft.com/office/drawing/2014/main" id="{0F8AFCAF-FE49-4446-93AE-B811A021A25B}"/>
                </a:ext>
              </a:extLst>
            </p:cNvPr>
            <p:cNvSpPr/>
            <p:nvPr/>
          </p:nvSpPr>
          <p:spPr>
            <a:xfrm>
              <a:off x="8028870" y="4929255"/>
              <a:ext cx="266039" cy="115403"/>
            </a:xfrm>
            <a:prstGeom prst="rect">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9" name="Gruppe 1038">
              <a:extLst>
                <a:ext uri="{FF2B5EF4-FFF2-40B4-BE49-F238E27FC236}">
                  <a16:creationId xmlns:a16="http://schemas.microsoft.com/office/drawing/2014/main" id="{083BF2CB-75CC-4C27-8D05-F2EC476F77AC}"/>
                </a:ext>
              </a:extLst>
            </p:cNvPr>
            <p:cNvGrpSpPr/>
            <p:nvPr/>
          </p:nvGrpSpPr>
          <p:grpSpPr>
            <a:xfrm>
              <a:off x="4336369" y="5752213"/>
              <a:ext cx="878560" cy="312995"/>
              <a:chOff x="5660360" y="4743450"/>
              <a:chExt cx="1340515" cy="530510"/>
            </a:xfrm>
          </p:grpSpPr>
          <p:sp>
            <p:nvSpPr>
              <p:cNvPr id="1054" name="Rektangel: afrundede hjørner 1053">
                <a:extLst>
                  <a:ext uri="{FF2B5EF4-FFF2-40B4-BE49-F238E27FC236}">
                    <a16:creationId xmlns:a16="http://schemas.microsoft.com/office/drawing/2014/main" id="{175DA2C9-7778-4C9F-9717-0EE4056223F8}"/>
                  </a:ext>
                </a:extLst>
              </p:cNvPr>
              <p:cNvSpPr/>
              <p:nvPr/>
            </p:nvSpPr>
            <p:spPr>
              <a:xfrm>
                <a:off x="5660360" y="4743450"/>
                <a:ext cx="1340514" cy="357744"/>
              </a:xfrm>
              <a:prstGeom prst="round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5" name="Rektangel 1054">
                <a:extLst>
                  <a:ext uri="{FF2B5EF4-FFF2-40B4-BE49-F238E27FC236}">
                    <a16:creationId xmlns:a16="http://schemas.microsoft.com/office/drawing/2014/main" id="{AC754DCB-2465-4DE5-95C7-39F79D13AA62}"/>
                  </a:ext>
                </a:extLst>
              </p:cNvPr>
              <p:cNvSpPr/>
              <p:nvPr/>
            </p:nvSpPr>
            <p:spPr>
              <a:xfrm>
                <a:off x="5660360" y="4924904"/>
                <a:ext cx="1340515" cy="258684"/>
              </a:xfrm>
              <a:prstGeom prst="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6" name="Ellipse 1055">
                <a:extLst>
                  <a:ext uri="{FF2B5EF4-FFF2-40B4-BE49-F238E27FC236}">
                    <a16:creationId xmlns:a16="http://schemas.microsoft.com/office/drawing/2014/main" id="{1DDCFF0D-B4BB-45DE-B909-FF4F141FE766}"/>
                  </a:ext>
                </a:extLst>
              </p:cNvPr>
              <p:cNvSpPr/>
              <p:nvPr/>
            </p:nvSpPr>
            <p:spPr>
              <a:xfrm>
                <a:off x="5778677"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7" name="Ellipse 1056">
                <a:extLst>
                  <a:ext uri="{FF2B5EF4-FFF2-40B4-BE49-F238E27FC236}">
                    <a16:creationId xmlns:a16="http://schemas.microsoft.com/office/drawing/2014/main" id="{22CD8BD6-5477-4D12-854E-C535FF690BCE}"/>
                  </a:ext>
                </a:extLst>
              </p:cNvPr>
              <p:cNvSpPr/>
              <p:nvPr/>
            </p:nvSpPr>
            <p:spPr>
              <a:xfrm>
                <a:off x="6730875"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8" name="Rektangel 1057">
                <a:extLst>
                  <a:ext uri="{FF2B5EF4-FFF2-40B4-BE49-F238E27FC236}">
                    <a16:creationId xmlns:a16="http://schemas.microsoft.com/office/drawing/2014/main" id="{876E0F1C-8C91-422C-A940-CB057EB61A5B}"/>
                  </a:ext>
                </a:extLst>
              </p:cNvPr>
              <p:cNvSpPr/>
              <p:nvPr/>
            </p:nvSpPr>
            <p:spPr>
              <a:xfrm>
                <a:off x="67308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9" name="Rektangel 1058">
                <a:extLst>
                  <a:ext uri="{FF2B5EF4-FFF2-40B4-BE49-F238E27FC236}">
                    <a16:creationId xmlns:a16="http://schemas.microsoft.com/office/drawing/2014/main" id="{3F27A3F7-9848-4A7E-915B-0830D2C77502}"/>
                  </a:ext>
                </a:extLst>
              </p:cNvPr>
              <p:cNvSpPr/>
              <p:nvPr/>
            </p:nvSpPr>
            <p:spPr>
              <a:xfrm>
                <a:off x="65022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0" name="Rektangel 1059">
                <a:extLst>
                  <a:ext uri="{FF2B5EF4-FFF2-40B4-BE49-F238E27FC236}">
                    <a16:creationId xmlns:a16="http://schemas.microsoft.com/office/drawing/2014/main" id="{3D3B9A92-52DB-4740-ADEA-28BFF74A625F}"/>
                  </a:ext>
                </a:extLst>
              </p:cNvPr>
              <p:cNvSpPr/>
              <p:nvPr/>
            </p:nvSpPr>
            <p:spPr>
              <a:xfrm>
                <a:off x="5666584"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1" name="Rektangel 1060">
                <a:extLst>
                  <a:ext uri="{FF2B5EF4-FFF2-40B4-BE49-F238E27FC236}">
                    <a16:creationId xmlns:a16="http://schemas.microsoft.com/office/drawing/2014/main" id="{4F529E35-F976-46C7-95CE-A2E14DFF7619}"/>
                  </a:ext>
                </a:extLst>
              </p:cNvPr>
              <p:cNvSpPr/>
              <p:nvPr/>
            </p:nvSpPr>
            <p:spPr>
              <a:xfrm>
                <a:off x="6003676"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2" name="Rektangel 1061">
                <a:extLst>
                  <a:ext uri="{FF2B5EF4-FFF2-40B4-BE49-F238E27FC236}">
                    <a16:creationId xmlns:a16="http://schemas.microsoft.com/office/drawing/2014/main" id="{335BA6D6-0441-4917-BB99-C8847DC5BFDD}"/>
                  </a:ext>
                </a:extLst>
              </p:cNvPr>
              <p:cNvSpPr/>
              <p:nvPr/>
            </p:nvSpPr>
            <p:spPr>
              <a:xfrm>
                <a:off x="6192058"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0" name="Gruppe 1039">
              <a:extLst>
                <a:ext uri="{FF2B5EF4-FFF2-40B4-BE49-F238E27FC236}">
                  <a16:creationId xmlns:a16="http://schemas.microsoft.com/office/drawing/2014/main" id="{02774EEC-1894-42C6-B025-04C548AEDA85}"/>
                </a:ext>
              </a:extLst>
            </p:cNvPr>
            <p:cNvGrpSpPr/>
            <p:nvPr/>
          </p:nvGrpSpPr>
          <p:grpSpPr>
            <a:xfrm>
              <a:off x="2369408" y="5341910"/>
              <a:ext cx="916095" cy="739090"/>
              <a:chOff x="3423170" y="5235767"/>
              <a:chExt cx="916095" cy="739090"/>
            </a:xfrm>
          </p:grpSpPr>
          <p:sp>
            <p:nvSpPr>
              <p:cNvPr id="1048" name="Rektangel 1047">
                <a:extLst>
                  <a:ext uri="{FF2B5EF4-FFF2-40B4-BE49-F238E27FC236}">
                    <a16:creationId xmlns:a16="http://schemas.microsoft.com/office/drawing/2014/main" id="{23A22E09-C645-4E18-AF8D-62FF4BCB7FC3}"/>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9" name="Ellipse 1048">
                <a:extLst>
                  <a:ext uri="{FF2B5EF4-FFF2-40B4-BE49-F238E27FC236}">
                    <a16:creationId xmlns:a16="http://schemas.microsoft.com/office/drawing/2014/main" id="{8C79606B-2A0D-44C1-9EE5-0CCFFB634D0A}"/>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0" name="Ellipse 1049">
                <a:extLst>
                  <a:ext uri="{FF2B5EF4-FFF2-40B4-BE49-F238E27FC236}">
                    <a16:creationId xmlns:a16="http://schemas.microsoft.com/office/drawing/2014/main" id="{AEB2D2FD-0061-4697-BA5C-44D84019377D}"/>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1" name="Ellipse 1050">
                <a:extLst>
                  <a:ext uri="{FF2B5EF4-FFF2-40B4-BE49-F238E27FC236}">
                    <a16:creationId xmlns:a16="http://schemas.microsoft.com/office/drawing/2014/main" id="{60D899D4-CD4C-4E87-A470-E35C3D85A89A}"/>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2" name="Ellipse 1051">
                <a:extLst>
                  <a:ext uri="{FF2B5EF4-FFF2-40B4-BE49-F238E27FC236}">
                    <a16:creationId xmlns:a16="http://schemas.microsoft.com/office/drawing/2014/main" id="{0CFBBE6E-76EA-4715-8CC6-A0F600A81BBF}"/>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3" name="Ellipse 1052">
                <a:extLst>
                  <a:ext uri="{FF2B5EF4-FFF2-40B4-BE49-F238E27FC236}">
                    <a16:creationId xmlns:a16="http://schemas.microsoft.com/office/drawing/2014/main" id="{35C6225B-35D7-409D-878F-9C7DFA9FF5CE}"/>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1" name="Gruppe 1040">
              <a:extLst>
                <a:ext uri="{FF2B5EF4-FFF2-40B4-BE49-F238E27FC236}">
                  <a16:creationId xmlns:a16="http://schemas.microsoft.com/office/drawing/2014/main" id="{CA410734-102A-463F-9F6F-AF66060D2891}"/>
                </a:ext>
              </a:extLst>
            </p:cNvPr>
            <p:cNvGrpSpPr/>
            <p:nvPr/>
          </p:nvGrpSpPr>
          <p:grpSpPr>
            <a:xfrm>
              <a:off x="7249387" y="5250602"/>
              <a:ext cx="916095" cy="739090"/>
              <a:chOff x="3423170" y="5235767"/>
              <a:chExt cx="916095" cy="739090"/>
            </a:xfrm>
          </p:grpSpPr>
          <p:sp>
            <p:nvSpPr>
              <p:cNvPr id="1042" name="Rektangel 1041">
                <a:extLst>
                  <a:ext uri="{FF2B5EF4-FFF2-40B4-BE49-F238E27FC236}">
                    <a16:creationId xmlns:a16="http://schemas.microsoft.com/office/drawing/2014/main" id="{07D3D8AA-358A-439D-872F-4E7CBFEF101E}"/>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3" name="Ellipse 1042">
                <a:extLst>
                  <a:ext uri="{FF2B5EF4-FFF2-40B4-BE49-F238E27FC236}">
                    <a16:creationId xmlns:a16="http://schemas.microsoft.com/office/drawing/2014/main" id="{BB0D9AF3-0565-402D-AE77-10EF1ACD000D}"/>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4" name="Ellipse 1043">
                <a:extLst>
                  <a:ext uri="{FF2B5EF4-FFF2-40B4-BE49-F238E27FC236}">
                    <a16:creationId xmlns:a16="http://schemas.microsoft.com/office/drawing/2014/main" id="{F7A455CB-60C9-4CE4-A68F-CCB32C457863}"/>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5" name="Ellipse 1044">
                <a:extLst>
                  <a:ext uri="{FF2B5EF4-FFF2-40B4-BE49-F238E27FC236}">
                    <a16:creationId xmlns:a16="http://schemas.microsoft.com/office/drawing/2014/main" id="{CD92B167-A3E9-445B-91D0-48B7821154A9}"/>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6" name="Ellipse 1045">
                <a:extLst>
                  <a:ext uri="{FF2B5EF4-FFF2-40B4-BE49-F238E27FC236}">
                    <a16:creationId xmlns:a16="http://schemas.microsoft.com/office/drawing/2014/main" id="{7B7C16E5-424F-4719-B001-72E504B70711}"/>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7" name="Ellipse 1046">
                <a:extLst>
                  <a:ext uri="{FF2B5EF4-FFF2-40B4-BE49-F238E27FC236}">
                    <a16:creationId xmlns:a16="http://schemas.microsoft.com/office/drawing/2014/main" id="{936F6B0E-9449-40F2-987C-4620852FAE76}"/>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6" name="Gruppe 5">
            <a:extLst>
              <a:ext uri="{FF2B5EF4-FFF2-40B4-BE49-F238E27FC236}">
                <a16:creationId xmlns:a16="http://schemas.microsoft.com/office/drawing/2014/main" id="{6BCA60C5-A0DA-45E6-92AA-594E86D9D53B}"/>
              </a:ext>
            </a:extLst>
          </p:cNvPr>
          <p:cNvGrpSpPr/>
          <p:nvPr userDrawn="1"/>
        </p:nvGrpSpPr>
        <p:grpSpPr>
          <a:xfrm>
            <a:off x="10802625" y="5150324"/>
            <a:ext cx="658076" cy="644507"/>
            <a:chOff x="10762407" y="5102768"/>
            <a:chExt cx="703057" cy="663486"/>
          </a:xfrm>
        </p:grpSpPr>
        <p:sp>
          <p:nvSpPr>
            <p:cNvPr id="1553" name="Rektangel 1552">
              <a:extLst>
                <a:ext uri="{FF2B5EF4-FFF2-40B4-BE49-F238E27FC236}">
                  <a16:creationId xmlns:a16="http://schemas.microsoft.com/office/drawing/2014/main" id="{B1504988-E200-4B4C-B33B-06AC7024D017}"/>
                </a:ext>
              </a:extLst>
            </p:cNvPr>
            <p:cNvSpPr/>
            <p:nvPr userDrawn="1"/>
          </p:nvSpPr>
          <p:spPr>
            <a:xfrm flipH="1">
              <a:off x="11044233" y="5595856"/>
              <a:ext cx="99539" cy="170398"/>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4" name="Ellipse 1553">
              <a:extLst>
                <a:ext uri="{FF2B5EF4-FFF2-40B4-BE49-F238E27FC236}">
                  <a16:creationId xmlns:a16="http://schemas.microsoft.com/office/drawing/2014/main" id="{A0702E9F-05C6-48F0-8DFD-8E3F1339A689}"/>
                </a:ext>
              </a:extLst>
            </p:cNvPr>
            <p:cNvSpPr/>
            <p:nvPr userDrawn="1"/>
          </p:nvSpPr>
          <p:spPr>
            <a:xfrm flipH="1">
              <a:off x="11081766" y="5326451"/>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5" name="Ellipse 1554">
              <a:extLst>
                <a:ext uri="{FF2B5EF4-FFF2-40B4-BE49-F238E27FC236}">
                  <a16:creationId xmlns:a16="http://schemas.microsoft.com/office/drawing/2014/main" id="{BF72FC00-5A78-4EA1-8B66-555C990D75C2}"/>
                </a:ext>
              </a:extLst>
            </p:cNvPr>
            <p:cNvSpPr/>
            <p:nvPr userDrawn="1"/>
          </p:nvSpPr>
          <p:spPr>
            <a:xfrm flipH="1">
              <a:off x="10861634" y="5102768"/>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6" name="Ellipse 1555">
              <a:extLst>
                <a:ext uri="{FF2B5EF4-FFF2-40B4-BE49-F238E27FC236}">
                  <a16:creationId xmlns:a16="http://schemas.microsoft.com/office/drawing/2014/main" id="{22F16B8F-A1E0-41DD-B906-CF729ACBBDCF}"/>
                </a:ext>
              </a:extLst>
            </p:cNvPr>
            <p:cNvSpPr/>
            <p:nvPr userDrawn="1"/>
          </p:nvSpPr>
          <p:spPr>
            <a:xfrm flipH="1">
              <a:off x="10924515" y="5136031"/>
              <a:ext cx="490904" cy="280717"/>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7" name="Ellipse 1556">
              <a:extLst>
                <a:ext uri="{FF2B5EF4-FFF2-40B4-BE49-F238E27FC236}">
                  <a16:creationId xmlns:a16="http://schemas.microsoft.com/office/drawing/2014/main" id="{D2AE1328-AB0B-4901-8132-3600E57D6EC5}"/>
                </a:ext>
              </a:extLst>
            </p:cNvPr>
            <p:cNvSpPr/>
            <p:nvPr userDrawn="1"/>
          </p:nvSpPr>
          <p:spPr>
            <a:xfrm flipH="1">
              <a:off x="10962046" y="5276085"/>
              <a:ext cx="383698" cy="350116"/>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8" name="Ellipse 1557">
              <a:extLst>
                <a:ext uri="{FF2B5EF4-FFF2-40B4-BE49-F238E27FC236}">
                  <a16:creationId xmlns:a16="http://schemas.microsoft.com/office/drawing/2014/main" id="{4CA26B34-D5F7-42DA-94F9-987FD19AFE90}"/>
                </a:ext>
              </a:extLst>
            </p:cNvPr>
            <p:cNvSpPr/>
            <p:nvPr userDrawn="1"/>
          </p:nvSpPr>
          <p:spPr>
            <a:xfrm flipH="1">
              <a:off x="10762407" y="5293027"/>
              <a:ext cx="355641" cy="280717"/>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618138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rederiksberg 1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9" name="Gruppe 408">
            <a:extLst>
              <a:ext uri="{FF2B5EF4-FFF2-40B4-BE49-F238E27FC236}">
                <a16:creationId xmlns:a16="http://schemas.microsoft.com/office/drawing/2014/main" id="{C7A352E4-A5C6-4A63-B76E-74A0064E1078}"/>
              </a:ext>
            </a:extLst>
          </p:cNvPr>
          <p:cNvGrpSpPr>
            <a:grpSpLocks noChangeAspect="1"/>
          </p:cNvGrpSpPr>
          <p:nvPr userDrawn="1"/>
        </p:nvGrpSpPr>
        <p:grpSpPr>
          <a:xfrm flipH="1">
            <a:off x="9330607" y="2687650"/>
            <a:ext cx="1892210" cy="693435"/>
            <a:chOff x="7698172" y="1860827"/>
            <a:chExt cx="2046398" cy="794493"/>
          </a:xfrm>
        </p:grpSpPr>
        <p:sp>
          <p:nvSpPr>
            <p:cNvPr id="410" name="Ellipse 409">
              <a:extLst>
                <a:ext uri="{FF2B5EF4-FFF2-40B4-BE49-F238E27FC236}">
                  <a16:creationId xmlns:a16="http://schemas.microsoft.com/office/drawing/2014/main" id="{F270DDC4-5F4A-422C-A11A-6A2537121524}"/>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1" name="Ellipse 410">
              <a:extLst>
                <a:ext uri="{FF2B5EF4-FFF2-40B4-BE49-F238E27FC236}">
                  <a16:creationId xmlns:a16="http://schemas.microsoft.com/office/drawing/2014/main" id="{733AFB7D-F4E7-4BBD-A28B-D48718E592EE}"/>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2" name="Ellipse 411">
              <a:extLst>
                <a:ext uri="{FF2B5EF4-FFF2-40B4-BE49-F238E27FC236}">
                  <a16:creationId xmlns:a16="http://schemas.microsoft.com/office/drawing/2014/main" id="{46338556-16B1-4920-BB26-EF31250257E1}"/>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3" name="Ellipse 412">
              <a:extLst>
                <a:ext uri="{FF2B5EF4-FFF2-40B4-BE49-F238E27FC236}">
                  <a16:creationId xmlns:a16="http://schemas.microsoft.com/office/drawing/2014/main" id="{A989BD7E-EBB5-4FD6-9003-86B1B1BCA0DD}"/>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4" name="Ellipse 413">
              <a:extLst>
                <a:ext uri="{FF2B5EF4-FFF2-40B4-BE49-F238E27FC236}">
                  <a16:creationId xmlns:a16="http://schemas.microsoft.com/office/drawing/2014/main" id="{660F0352-CA9A-407A-8F34-8B99EA4D7173}"/>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5" name="Ellipse 414">
              <a:extLst>
                <a:ext uri="{FF2B5EF4-FFF2-40B4-BE49-F238E27FC236}">
                  <a16:creationId xmlns:a16="http://schemas.microsoft.com/office/drawing/2014/main" id="{41F63CD6-B579-4649-B389-B33C43B2637D}"/>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2" name="Gruppe 401">
            <a:extLst>
              <a:ext uri="{FF2B5EF4-FFF2-40B4-BE49-F238E27FC236}">
                <a16:creationId xmlns:a16="http://schemas.microsoft.com/office/drawing/2014/main" id="{BBCD4F5C-CE7E-4168-A21E-C023293FE903}"/>
              </a:ext>
            </a:extLst>
          </p:cNvPr>
          <p:cNvGrpSpPr/>
          <p:nvPr userDrawn="1"/>
        </p:nvGrpSpPr>
        <p:grpSpPr>
          <a:xfrm>
            <a:off x="6270980" y="2317062"/>
            <a:ext cx="2046398" cy="794493"/>
            <a:chOff x="6270980" y="1977069"/>
            <a:chExt cx="2046398" cy="794493"/>
          </a:xfrm>
        </p:grpSpPr>
        <p:sp>
          <p:nvSpPr>
            <p:cNvPr id="403" name="Ellipse 402">
              <a:extLst>
                <a:ext uri="{FF2B5EF4-FFF2-40B4-BE49-F238E27FC236}">
                  <a16:creationId xmlns:a16="http://schemas.microsoft.com/office/drawing/2014/main" id="{549A09DB-0CAB-40AC-9466-AB0D31C62650}"/>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Ellipse 403">
              <a:extLst>
                <a:ext uri="{FF2B5EF4-FFF2-40B4-BE49-F238E27FC236}">
                  <a16:creationId xmlns:a16="http://schemas.microsoft.com/office/drawing/2014/main" id="{76660E34-E935-42CA-A4E0-98198D2AF10E}"/>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Ellipse 404">
              <a:extLst>
                <a:ext uri="{FF2B5EF4-FFF2-40B4-BE49-F238E27FC236}">
                  <a16:creationId xmlns:a16="http://schemas.microsoft.com/office/drawing/2014/main" id="{C6B804D5-93C9-4B96-91CE-CB049CD80C51}"/>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2BE294E7-7F92-4AEC-BD2C-AC06B8CFAB0E}"/>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E881BD8C-4992-428B-9BE0-DA6B564DFC2A}"/>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661A7E59-9B48-4EEA-AB1B-ED5E9A7989E2}"/>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986" name="Gruppe 985">
            <a:extLst>
              <a:ext uri="{FF2B5EF4-FFF2-40B4-BE49-F238E27FC236}">
                <a16:creationId xmlns:a16="http://schemas.microsoft.com/office/drawing/2014/main" id="{29DF4ADD-E9D0-4640-85BD-29A6072E9975}"/>
              </a:ext>
            </a:extLst>
          </p:cNvPr>
          <p:cNvGrpSpPr>
            <a:grpSpLocks noChangeAspect="1"/>
          </p:cNvGrpSpPr>
          <p:nvPr userDrawn="1"/>
        </p:nvGrpSpPr>
        <p:grpSpPr>
          <a:xfrm>
            <a:off x="5979654" y="3766675"/>
            <a:ext cx="5469784" cy="2055245"/>
            <a:chOff x="1555638" y="3004456"/>
            <a:chExt cx="8187846" cy="3076544"/>
          </a:xfrm>
        </p:grpSpPr>
        <p:grpSp>
          <p:nvGrpSpPr>
            <p:cNvPr id="987" name="Gruppe 986">
              <a:extLst>
                <a:ext uri="{FF2B5EF4-FFF2-40B4-BE49-F238E27FC236}">
                  <a16:creationId xmlns:a16="http://schemas.microsoft.com/office/drawing/2014/main" id="{FC26A337-80EB-406B-A10C-9ECBD8932312}"/>
                </a:ext>
              </a:extLst>
            </p:cNvPr>
            <p:cNvGrpSpPr/>
            <p:nvPr/>
          </p:nvGrpSpPr>
          <p:grpSpPr>
            <a:xfrm flipH="1">
              <a:off x="3642164" y="4610371"/>
              <a:ext cx="710658" cy="850217"/>
              <a:chOff x="1610213" y="4933721"/>
              <a:chExt cx="1169253" cy="1099213"/>
            </a:xfrm>
          </p:grpSpPr>
          <p:grpSp>
            <p:nvGrpSpPr>
              <p:cNvPr id="1545" name="Gruppe 1544">
                <a:extLst>
                  <a:ext uri="{FF2B5EF4-FFF2-40B4-BE49-F238E27FC236}">
                    <a16:creationId xmlns:a16="http://schemas.microsoft.com/office/drawing/2014/main" id="{A2E3FC3D-482B-4559-8C44-66A0320B4DBB}"/>
                  </a:ext>
                </a:extLst>
              </p:cNvPr>
              <p:cNvGrpSpPr/>
              <p:nvPr/>
            </p:nvGrpSpPr>
            <p:grpSpPr>
              <a:xfrm>
                <a:off x="2145228" y="5613320"/>
                <a:ext cx="165543" cy="419614"/>
                <a:chOff x="4852454" y="2916519"/>
                <a:chExt cx="278597" cy="366599"/>
              </a:xfrm>
            </p:grpSpPr>
            <p:sp>
              <p:nvSpPr>
                <p:cNvPr id="1551" name="Rektangel 1550">
                  <a:extLst>
                    <a:ext uri="{FF2B5EF4-FFF2-40B4-BE49-F238E27FC236}">
                      <a16:creationId xmlns:a16="http://schemas.microsoft.com/office/drawing/2014/main" id="{C93B264C-3AF0-4E42-9C27-2F0EE2764C8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2" name="Rektangel: afrundede hjørner 1551">
                  <a:extLst>
                    <a:ext uri="{FF2B5EF4-FFF2-40B4-BE49-F238E27FC236}">
                      <a16:creationId xmlns:a16="http://schemas.microsoft.com/office/drawing/2014/main" id="{CD3C570A-3AC9-40EF-8955-8A06FD013EC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46" name="Ellipse 1545">
                <a:extLst>
                  <a:ext uri="{FF2B5EF4-FFF2-40B4-BE49-F238E27FC236}">
                    <a16:creationId xmlns:a16="http://schemas.microsoft.com/office/drawing/2014/main" id="{F22EF257-D7CC-47C8-A9EA-842BC63CAAB5}"/>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7" name="Ellipse 1546">
                <a:extLst>
                  <a:ext uri="{FF2B5EF4-FFF2-40B4-BE49-F238E27FC236}">
                    <a16:creationId xmlns:a16="http://schemas.microsoft.com/office/drawing/2014/main" id="{7A3D925C-C238-4F92-AE59-DA95D071BC6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8" name="Ellipse 1547">
                <a:extLst>
                  <a:ext uri="{FF2B5EF4-FFF2-40B4-BE49-F238E27FC236}">
                    <a16:creationId xmlns:a16="http://schemas.microsoft.com/office/drawing/2014/main" id="{E105A605-DF02-4F05-B1A0-CD288856BA2B}"/>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9" name="Ellipse 1548">
                <a:extLst>
                  <a:ext uri="{FF2B5EF4-FFF2-40B4-BE49-F238E27FC236}">
                    <a16:creationId xmlns:a16="http://schemas.microsoft.com/office/drawing/2014/main" id="{057FE4E1-4BD4-4CD5-8FFF-C65D8C901884}"/>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0" name="Ellipse 1549">
                <a:extLst>
                  <a:ext uri="{FF2B5EF4-FFF2-40B4-BE49-F238E27FC236}">
                    <a16:creationId xmlns:a16="http://schemas.microsoft.com/office/drawing/2014/main" id="{48FB07C0-46FD-4BC5-B50F-D188DDEC28A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8" name="Gruppe 987">
              <a:extLst>
                <a:ext uri="{FF2B5EF4-FFF2-40B4-BE49-F238E27FC236}">
                  <a16:creationId xmlns:a16="http://schemas.microsoft.com/office/drawing/2014/main" id="{19FD6E1E-4FFE-4BC6-A492-16A61BBA1A9D}"/>
                </a:ext>
              </a:extLst>
            </p:cNvPr>
            <p:cNvGrpSpPr/>
            <p:nvPr/>
          </p:nvGrpSpPr>
          <p:grpSpPr>
            <a:xfrm flipH="1">
              <a:off x="1555638" y="4882352"/>
              <a:ext cx="1169253" cy="1099213"/>
              <a:chOff x="1610213" y="4933721"/>
              <a:chExt cx="1169253" cy="1099213"/>
            </a:xfrm>
          </p:grpSpPr>
          <p:grpSp>
            <p:nvGrpSpPr>
              <p:cNvPr id="1537" name="Gruppe 1536">
                <a:extLst>
                  <a:ext uri="{FF2B5EF4-FFF2-40B4-BE49-F238E27FC236}">
                    <a16:creationId xmlns:a16="http://schemas.microsoft.com/office/drawing/2014/main" id="{A97C3891-16CC-4713-ACAB-983E47B54F60}"/>
                  </a:ext>
                </a:extLst>
              </p:cNvPr>
              <p:cNvGrpSpPr/>
              <p:nvPr/>
            </p:nvGrpSpPr>
            <p:grpSpPr>
              <a:xfrm>
                <a:off x="2145228" y="5613320"/>
                <a:ext cx="165543" cy="419614"/>
                <a:chOff x="4852454" y="2916519"/>
                <a:chExt cx="278597" cy="366599"/>
              </a:xfrm>
            </p:grpSpPr>
            <p:sp>
              <p:nvSpPr>
                <p:cNvPr id="1543" name="Rektangel 1542">
                  <a:extLst>
                    <a:ext uri="{FF2B5EF4-FFF2-40B4-BE49-F238E27FC236}">
                      <a16:creationId xmlns:a16="http://schemas.microsoft.com/office/drawing/2014/main" id="{C2593D32-1577-433D-8661-42D407B39CC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4" name="Rektangel: afrundede hjørner 1543">
                  <a:extLst>
                    <a:ext uri="{FF2B5EF4-FFF2-40B4-BE49-F238E27FC236}">
                      <a16:creationId xmlns:a16="http://schemas.microsoft.com/office/drawing/2014/main" id="{DF7D0025-5E1C-4DB3-83BB-C575CE34DBD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38" name="Ellipse 1537">
                <a:extLst>
                  <a:ext uri="{FF2B5EF4-FFF2-40B4-BE49-F238E27FC236}">
                    <a16:creationId xmlns:a16="http://schemas.microsoft.com/office/drawing/2014/main" id="{0516620D-625D-4696-962E-A5F83F71EB0C}"/>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9" name="Ellipse 1538">
                <a:extLst>
                  <a:ext uri="{FF2B5EF4-FFF2-40B4-BE49-F238E27FC236}">
                    <a16:creationId xmlns:a16="http://schemas.microsoft.com/office/drawing/2014/main" id="{7C561D4D-28BA-482D-8E3C-C71EDE416BB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0" name="Ellipse 1539">
                <a:extLst>
                  <a:ext uri="{FF2B5EF4-FFF2-40B4-BE49-F238E27FC236}">
                    <a16:creationId xmlns:a16="http://schemas.microsoft.com/office/drawing/2014/main" id="{135D7A2F-1AB1-48F3-BF80-A91F0C514101}"/>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1" name="Ellipse 1540">
                <a:extLst>
                  <a:ext uri="{FF2B5EF4-FFF2-40B4-BE49-F238E27FC236}">
                    <a16:creationId xmlns:a16="http://schemas.microsoft.com/office/drawing/2014/main" id="{51F29FB4-1D01-4BF1-B968-12210E7621B2}"/>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2" name="Ellipse 1541">
                <a:extLst>
                  <a:ext uri="{FF2B5EF4-FFF2-40B4-BE49-F238E27FC236}">
                    <a16:creationId xmlns:a16="http://schemas.microsoft.com/office/drawing/2014/main" id="{A1562239-857E-4FC2-BFC0-11479A76CAB4}"/>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9" name="Gruppe 988">
              <a:extLst>
                <a:ext uri="{FF2B5EF4-FFF2-40B4-BE49-F238E27FC236}">
                  <a16:creationId xmlns:a16="http://schemas.microsoft.com/office/drawing/2014/main" id="{BB73338B-C398-4580-B5AA-C90DC436F3CC}"/>
                </a:ext>
              </a:extLst>
            </p:cNvPr>
            <p:cNvGrpSpPr/>
            <p:nvPr/>
          </p:nvGrpSpPr>
          <p:grpSpPr>
            <a:xfrm>
              <a:off x="2199991" y="4956747"/>
              <a:ext cx="2185717" cy="1019561"/>
              <a:chOff x="1301751" y="4539266"/>
              <a:chExt cx="2540922" cy="1160633"/>
            </a:xfrm>
          </p:grpSpPr>
          <p:sp>
            <p:nvSpPr>
              <p:cNvPr id="1481" name="Rektangel 1480">
                <a:extLst>
                  <a:ext uri="{FF2B5EF4-FFF2-40B4-BE49-F238E27FC236}">
                    <a16:creationId xmlns:a16="http://schemas.microsoft.com/office/drawing/2014/main" id="{003EDE3B-BBAE-49CA-A63D-81DAC76C590C}"/>
                  </a:ext>
                </a:extLst>
              </p:cNvPr>
              <p:cNvSpPr/>
              <p:nvPr/>
            </p:nvSpPr>
            <p:spPr>
              <a:xfrm>
                <a:off x="2616201" y="483785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82" name="Gruppe 1481">
                <a:extLst>
                  <a:ext uri="{FF2B5EF4-FFF2-40B4-BE49-F238E27FC236}">
                    <a16:creationId xmlns:a16="http://schemas.microsoft.com/office/drawing/2014/main" id="{CE03396B-C23E-4796-BE2F-9588CD01F1D4}"/>
                  </a:ext>
                </a:extLst>
              </p:cNvPr>
              <p:cNvGrpSpPr/>
              <p:nvPr/>
            </p:nvGrpSpPr>
            <p:grpSpPr>
              <a:xfrm>
                <a:off x="3068357" y="5058181"/>
                <a:ext cx="45719" cy="171705"/>
                <a:chOff x="4852454" y="2916519"/>
                <a:chExt cx="278597" cy="366599"/>
              </a:xfrm>
            </p:grpSpPr>
            <p:sp>
              <p:nvSpPr>
                <p:cNvPr id="1535" name="Rektangel 1534">
                  <a:extLst>
                    <a:ext uri="{FF2B5EF4-FFF2-40B4-BE49-F238E27FC236}">
                      <a16:creationId xmlns:a16="http://schemas.microsoft.com/office/drawing/2014/main" id="{4D716B56-A185-4D2B-B8C0-996030ECEE2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6" name="Rektangel: afrundede hjørner 1535">
                  <a:extLst>
                    <a:ext uri="{FF2B5EF4-FFF2-40B4-BE49-F238E27FC236}">
                      <a16:creationId xmlns:a16="http://schemas.microsoft.com/office/drawing/2014/main" id="{52C2AEE8-3E06-4BD7-B0C7-A5DB5A2AE73C}"/>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83" name="Rektangel 1482">
                <a:extLst>
                  <a:ext uri="{FF2B5EF4-FFF2-40B4-BE49-F238E27FC236}">
                    <a16:creationId xmlns:a16="http://schemas.microsoft.com/office/drawing/2014/main" id="{795076BB-7A65-45B0-8BBD-CA6C70627D8F}"/>
                  </a:ext>
                </a:extLst>
              </p:cNvPr>
              <p:cNvSpPr/>
              <p:nvPr/>
            </p:nvSpPr>
            <p:spPr>
              <a:xfrm>
                <a:off x="2616201" y="5146908"/>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4" name="Ellipse 1483">
                <a:extLst>
                  <a:ext uri="{FF2B5EF4-FFF2-40B4-BE49-F238E27FC236}">
                    <a16:creationId xmlns:a16="http://schemas.microsoft.com/office/drawing/2014/main" id="{C8F19F26-3903-4666-9338-E21235E3C22F}"/>
                  </a:ext>
                </a:extLst>
              </p:cNvPr>
              <p:cNvSpPr/>
              <p:nvPr/>
            </p:nvSpPr>
            <p:spPr>
              <a:xfrm>
                <a:off x="3036544" y="5466105"/>
                <a:ext cx="80273" cy="7538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5" name="Ellipse 1484">
                <a:extLst>
                  <a:ext uri="{FF2B5EF4-FFF2-40B4-BE49-F238E27FC236}">
                    <a16:creationId xmlns:a16="http://schemas.microsoft.com/office/drawing/2014/main" id="{FCC090FE-456D-46CF-8F54-A4D17D1F19DA}"/>
                  </a:ext>
                </a:extLst>
              </p:cNvPr>
              <p:cNvSpPr/>
              <p:nvPr/>
            </p:nvSpPr>
            <p:spPr>
              <a:xfrm>
                <a:off x="2993094" y="5393088"/>
                <a:ext cx="149555" cy="9679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6" name="Rektangel 1485">
                <a:extLst>
                  <a:ext uri="{FF2B5EF4-FFF2-40B4-BE49-F238E27FC236}">
                    <a16:creationId xmlns:a16="http://schemas.microsoft.com/office/drawing/2014/main" id="{6DA1DAD9-2A07-4924-AC6D-150C0D483F26}"/>
                  </a:ext>
                </a:extLst>
              </p:cNvPr>
              <p:cNvSpPr/>
              <p:nvPr/>
            </p:nvSpPr>
            <p:spPr>
              <a:xfrm>
                <a:off x="2616201" y="546072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7" name="Rektangel 1486">
                <a:extLst>
                  <a:ext uri="{FF2B5EF4-FFF2-40B4-BE49-F238E27FC236}">
                    <a16:creationId xmlns:a16="http://schemas.microsoft.com/office/drawing/2014/main" id="{8EB91C25-A44F-4B40-B02B-A0083A4A685B}"/>
                  </a:ext>
                </a:extLst>
              </p:cNvPr>
              <p:cNvSpPr/>
              <p:nvPr/>
            </p:nvSpPr>
            <p:spPr>
              <a:xfrm>
                <a:off x="2616201" y="55417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8" name="Rektangel 1487">
                <a:extLst>
                  <a:ext uri="{FF2B5EF4-FFF2-40B4-BE49-F238E27FC236}">
                    <a16:creationId xmlns:a16="http://schemas.microsoft.com/office/drawing/2014/main" id="{B52853A3-3A4B-4815-8F62-6FEACDCB07F9}"/>
                  </a:ext>
                </a:extLst>
              </p:cNvPr>
              <p:cNvSpPr/>
              <p:nvPr/>
            </p:nvSpPr>
            <p:spPr>
              <a:xfrm>
                <a:off x="2616201" y="52301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9" name="Rektangel 1488">
                <a:extLst>
                  <a:ext uri="{FF2B5EF4-FFF2-40B4-BE49-F238E27FC236}">
                    <a16:creationId xmlns:a16="http://schemas.microsoft.com/office/drawing/2014/main" id="{465F7D9A-FEB8-448B-B1E0-2A5AC035054D}"/>
                  </a:ext>
                </a:extLst>
              </p:cNvPr>
              <p:cNvSpPr/>
              <p:nvPr/>
            </p:nvSpPr>
            <p:spPr>
              <a:xfrm>
                <a:off x="2616201" y="4924904"/>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90" name="Gruppe 1489">
                <a:extLst>
                  <a:ext uri="{FF2B5EF4-FFF2-40B4-BE49-F238E27FC236}">
                    <a16:creationId xmlns:a16="http://schemas.microsoft.com/office/drawing/2014/main" id="{DFF9237E-6CA6-4F75-8E0C-385D451D5FF0}"/>
                  </a:ext>
                </a:extLst>
              </p:cNvPr>
              <p:cNvGrpSpPr/>
              <p:nvPr/>
            </p:nvGrpSpPr>
            <p:grpSpPr>
              <a:xfrm>
                <a:off x="1301751" y="4539266"/>
                <a:ext cx="1816100" cy="1160633"/>
                <a:chOff x="1301750" y="4539266"/>
                <a:chExt cx="2703513" cy="1160633"/>
              </a:xfrm>
            </p:grpSpPr>
            <p:sp>
              <p:nvSpPr>
                <p:cNvPr id="1529" name="Rektangel: afrundede hjørner 1528">
                  <a:extLst>
                    <a:ext uri="{FF2B5EF4-FFF2-40B4-BE49-F238E27FC236}">
                      <a16:creationId xmlns:a16="http://schemas.microsoft.com/office/drawing/2014/main" id="{4318D866-F4F1-49E9-89CE-1B3541B66D24}"/>
                    </a:ext>
                  </a:extLst>
                </p:cNvPr>
                <p:cNvSpPr/>
                <p:nvPr/>
              </p:nvSpPr>
              <p:spPr>
                <a:xfrm>
                  <a:off x="1301750" y="4539266"/>
                  <a:ext cx="1399019" cy="753249"/>
                </a:xfrm>
                <a:prstGeom prst="roundRect">
                  <a:avLst>
                    <a:gd name="adj" fmla="val 50000"/>
                  </a:avLst>
                </a:prstGeom>
                <a:solidFill>
                  <a:srgbClr val="646464"/>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30" name="Rektangel 1529">
                  <a:extLst>
                    <a:ext uri="{FF2B5EF4-FFF2-40B4-BE49-F238E27FC236}">
                      <a16:creationId xmlns:a16="http://schemas.microsoft.com/office/drawing/2014/main" id="{6D7F2756-1200-4612-A7FB-5EC7AF57750C}"/>
                    </a:ext>
                  </a:extLst>
                </p:cNvPr>
                <p:cNvSpPr/>
                <p:nvPr/>
              </p:nvSpPr>
              <p:spPr>
                <a:xfrm>
                  <a:off x="2006600" y="4539267"/>
                  <a:ext cx="15557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1" name="Rektangel 1530">
                  <a:extLst>
                    <a:ext uri="{FF2B5EF4-FFF2-40B4-BE49-F238E27FC236}">
                      <a16:creationId xmlns:a16="http://schemas.microsoft.com/office/drawing/2014/main" id="{5E3EC3D8-5A8C-4A7B-8410-5E72B409319F}"/>
                    </a:ext>
                  </a:extLst>
                </p:cNvPr>
                <p:cNvSpPr/>
                <p:nvPr/>
              </p:nvSpPr>
              <p:spPr>
                <a:xfrm>
                  <a:off x="1301750" y="4946649"/>
                  <a:ext cx="704850" cy="753249"/>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532" name="Lige forbindelse 1531">
                  <a:extLst>
                    <a:ext uri="{FF2B5EF4-FFF2-40B4-BE49-F238E27FC236}">
                      <a16:creationId xmlns:a16="http://schemas.microsoft.com/office/drawing/2014/main" id="{2B229DBB-EF93-46AE-A37A-9F13C5A2ED1C}"/>
                    </a:ext>
                  </a:extLst>
                </p:cNvPr>
                <p:cNvCxnSpPr>
                  <a:cxnSpLocks/>
                  <a:stCxn id="1529" idx="1"/>
                </p:cNvCxnSpPr>
                <p:nvPr/>
              </p:nvCxnSpPr>
              <p:spPr>
                <a:xfrm>
                  <a:off x="1301750" y="4915891"/>
                  <a:ext cx="0" cy="784007"/>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33" name="Retvinklet trekant 1532">
                  <a:extLst>
                    <a:ext uri="{FF2B5EF4-FFF2-40B4-BE49-F238E27FC236}">
                      <a16:creationId xmlns:a16="http://schemas.microsoft.com/office/drawing/2014/main" id="{40497C40-CC6A-41A1-AA86-409297CCE623}"/>
                    </a:ext>
                  </a:extLst>
                </p:cNvPr>
                <p:cNvSpPr/>
                <p:nvPr/>
              </p:nvSpPr>
              <p:spPr>
                <a:xfrm rot="5400000">
                  <a:off x="3203492" y="4898127"/>
                  <a:ext cx="1160629" cy="442913"/>
                </a:xfrm>
                <a:prstGeom prst="rtTriangle">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cxnSp>
              <p:nvCxnSpPr>
                <p:cNvPr id="1534" name="Lige forbindelse 1533">
                  <a:extLst>
                    <a:ext uri="{FF2B5EF4-FFF2-40B4-BE49-F238E27FC236}">
                      <a16:creationId xmlns:a16="http://schemas.microsoft.com/office/drawing/2014/main" id="{11D2D4E1-7982-4345-8324-2260B19A6F40}"/>
                    </a:ext>
                  </a:extLst>
                </p:cNvPr>
                <p:cNvCxnSpPr>
                  <a:cxnSpLocks/>
                </p:cNvCxnSpPr>
                <p:nvPr/>
              </p:nvCxnSpPr>
              <p:spPr>
                <a:xfrm>
                  <a:off x="2006600" y="4539266"/>
                  <a:ext cx="199866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91" name="Rektangel 1490">
                <a:extLst>
                  <a:ext uri="{FF2B5EF4-FFF2-40B4-BE49-F238E27FC236}">
                    <a16:creationId xmlns:a16="http://schemas.microsoft.com/office/drawing/2014/main" id="{1287AC5B-DB22-4F11-9F3B-4BB06308D426}"/>
                  </a:ext>
                </a:extLst>
              </p:cNvPr>
              <p:cNvSpPr/>
              <p:nvPr/>
            </p:nvSpPr>
            <p:spPr>
              <a:xfrm>
                <a:off x="3341023" y="4539267"/>
                <a:ext cx="5016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92" name="Lige forbindelse 1491">
                <a:extLst>
                  <a:ext uri="{FF2B5EF4-FFF2-40B4-BE49-F238E27FC236}">
                    <a16:creationId xmlns:a16="http://schemas.microsoft.com/office/drawing/2014/main" id="{3CE57A74-89AB-46D7-931E-C0814B256FB8}"/>
                  </a:ext>
                </a:extLst>
              </p:cNvPr>
              <p:cNvCxnSpPr>
                <a:cxnSpLocks/>
              </p:cNvCxnSpPr>
              <p:nvPr/>
            </p:nvCxnSpPr>
            <p:spPr>
              <a:xfrm>
                <a:off x="3341023" y="4539266"/>
                <a:ext cx="5016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93" name="Rektangel 1492">
                <a:extLst>
                  <a:ext uri="{FF2B5EF4-FFF2-40B4-BE49-F238E27FC236}">
                    <a16:creationId xmlns:a16="http://schemas.microsoft.com/office/drawing/2014/main" id="{5D0B2647-A614-4881-A4FB-458233884446}"/>
                  </a:ext>
                </a:extLst>
              </p:cNvPr>
              <p:cNvSpPr/>
              <p:nvPr/>
            </p:nvSpPr>
            <p:spPr>
              <a:xfrm>
                <a:off x="1423856"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4" name="Rektangel 1493">
                <a:extLst>
                  <a:ext uri="{FF2B5EF4-FFF2-40B4-BE49-F238E27FC236}">
                    <a16:creationId xmlns:a16="http://schemas.microsoft.com/office/drawing/2014/main" id="{C1E3F4EE-FD12-4982-B531-A1E89F9998F6}"/>
                  </a:ext>
                </a:extLst>
              </p:cNvPr>
              <p:cNvSpPr/>
              <p:nvPr/>
            </p:nvSpPr>
            <p:spPr>
              <a:xfrm>
                <a:off x="1562149"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5" name="Rektangel 1494">
                <a:extLst>
                  <a:ext uri="{FF2B5EF4-FFF2-40B4-BE49-F238E27FC236}">
                    <a16:creationId xmlns:a16="http://schemas.microsoft.com/office/drawing/2014/main" id="{E3C7FBF8-86BB-4318-9497-23BF955B6863}"/>
                  </a:ext>
                </a:extLst>
              </p:cNvPr>
              <p:cNvSpPr/>
              <p:nvPr/>
            </p:nvSpPr>
            <p:spPr>
              <a:xfrm>
                <a:off x="1755402"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6" name="Rektangel 1495">
                <a:extLst>
                  <a:ext uri="{FF2B5EF4-FFF2-40B4-BE49-F238E27FC236}">
                    <a16:creationId xmlns:a16="http://schemas.microsoft.com/office/drawing/2014/main" id="{AF3CF836-704E-4D3E-BE81-80E61C838086}"/>
                  </a:ext>
                </a:extLst>
              </p:cNvPr>
              <p:cNvSpPr/>
              <p:nvPr/>
            </p:nvSpPr>
            <p:spPr>
              <a:xfrm>
                <a:off x="1838735"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7" name="Rektangel 1496">
                <a:extLst>
                  <a:ext uri="{FF2B5EF4-FFF2-40B4-BE49-F238E27FC236}">
                    <a16:creationId xmlns:a16="http://schemas.microsoft.com/office/drawing/2014/main" id="{AEB6850D-419A-4406-9F1D-5328A4DBB6D8}"/>
                  </a:ext>
                </a:extLst>
              </p:cNvPr>
              <p:cNvSpPr/>
              <p:nvPr/>
            </p:nvSpPr>
            <p:spPr>
              <a:xfrm>
                <a:off x="225361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8" name="Rektangel 1497">
                <a:extLst>
                  <a:ext uri="{FF2B5EF4-FFF2-40B4-BE49-F238E27FC236}">
                    <a16:creationId xmlns:a16="http://schemas.microsoft.com/office/drawing/2014/main" id="{BC44FC20-7060-44F4-9627-1EF1FBB57DC2}"/>
                  </a:ext>
                </a:extLst>
              </p:cNvPr>
              <p:cNvSpPr/>
              <p:nvPr/>
            </p:nvSpPr>
            <p:spPr>
              <a:xfrm>
                <a:off x="1977028"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9" name="Rektangel 1498">
                <a:extLst>
                  <a:ext uri="{FF2B5EF4-FFF2-40B4-BE49-F238E27FC236}">
                    <a16:creationId xmlns:a16="http://schemas.microsoft.com/office/drawing/2014/main" id="{2E0ED860-D01F-4912-91C3-6A2FFE39A169}"/>
                  </a:ext>
                </a:extLst>
              </p:cNvPr>
              <p:cNvSpPr/>
              <p:nvPr/>
            </p:nvSpPr>
            <p:spPr>
              <a:xfrm>
                <a:off x="239190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0" name="Rektangel 1499">
                <a:extLst>
                  <a:ext uri="{FF2B5EF4-FFF2-40B4-BE49-F238E27FC236}">
                    <a16:creationId xmlns:a16="http://schemas.microsoft.com/office/drawing/2014/main" id="{B9907D91-92BD-4E50-B4B9-E911AED3EF85}"/>
                  </a:ext>
                </a:extLst>
              </p:cNvPr>
              <p:cNvSpPr/>
              <p:nvPr/>
            </p:nvSpPr>
            <p:spPr>
              <a:xfrm>
                <a:off x="2497994"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1" name="Rektangel 1500">
                <a:extLst>
                  <a:ext uri="{FF2B5EF4-FFF2-40B4-BE49-F238E27FC236}">
                    <a16:creationId xmlns:a16="http://schemas.microsoft.com/office/drawing/2014/main" id="{AEDDE06B-D126-4F23-BAE0-72F7F10D5BF7}"/>
                  </a:ext>
                </a:extLst>
              </p:cNvPr>
              <p:cNvSpPr/>
              <p:nvPr/>
            </p:nvSpPr>
            <p:spPr>
              <a:xfrm>
                <a:off x="142385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2" name="Rektangel 1501">
                <a:extLst>
                  <a:ext uri="{FF2B5EF4-FFF2-40B4-BE49-F238E27FC236}">
                    <a16:creationId xmlns:a16="http://schemas.microsoft.com/office/drawing/2014/main" id="{0E98E241-DF87-480C-9E8F-E0CDEA8A696E}"/>
                  </a:ext>
                </a:extLst>
              </p:cNvPr>
              <p:cNvSpPr/>
              <p:nvPr/>
            </p:nvSpPr>
            <p:spPr>
              <a:xfrm>
                <a:off x="151071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3" name="Rektangel 1502">
                <a:extLst>
                  <a:ext uri="{FF2B5EF4-FFF2-40B4-BE49-F238E27FC236}">
                    <a16:creationId xmlns:a16="http://schemas.microsoft.com/office/drawing/2014/main" id="{83C4BF23-6C95-4697-9220-D72A215C7D17}"/>
                  </a:ext>
                </a:extLst>
              </p:cNvPr>
              <p:cNvSpPr/>
              <p:nvPr/>
            </p:nvSpPr>
            <p:spPr>
              <a:xfrm>
                <a:off x="2253614"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4" name="Rektangel 1503">
                <a:extLst>
                  <a:ext uri="{FF2B5EF4-FFF2-40B4-BE49-F238E27FC236}">
                    <a16:creationId xmlns:a16="http://schemas.microsoft.com/office/drawing/2014/main" id="{E0DC4B39-5EC3-4651-AACF-3C55EC3C32CA}"/>
                  </a:ext>
                </a:extLst>
              </p:cNvPr>
              <p:cNvSpPr/>
              <p:nvPr/>
            </p:nvSpPr>
            <p:spPr>
              <a:xfrm>
                <a:off x="1977028"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5" name="Rektangel 1504">
                <a:extLst>
                  <a:ext uri="{FF2B5EF4-FFF2-40B4-BE49-F238E27FC236}">
                    <a16:creationId xmlns:a16="http://schemas.microsoft.com/office/drawing/2014/main" id="{14F40209-F69E-4F46-9CE3-0A3D1629CC63}"/>
                  </a:ext>
                </a:extLst>
              </p:cNvPr>
              <p:cNvSpPr/>
              <p:nvPr/>
            </p:nvSpPr>
            <p:spPr>
              <a:xfrm>
                <a:off x="2653707"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6" name="Rektangel 1505">
                <a:extLst>
                  <a:ext uri="{FF2B5EF4-FFF2-40B4-BE49-F238E27FC236}">
                    <a16:creationId xmlns:a16="http://schemas.microsoft.com/office/drawing/2014/main" id="{5F190E8E-F113-4C1F-A141-472356A64F69}"/>
                  </a:ext>
                </a:extLst>
              </p:cNvPr>
              <p:cNvSpPr/>
              <p:nvPr/>
            </p:nvSpPr>
            <p:spPr>
              <a:xfrm>
                <a:off x="2497994"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7" name="Rektangel 1506">
                <a:extLst>
                  <a:ext uri="{FF2B5EF4-FFF2-40B4-BE49-F238E27FC236}">
                    <a16:creationId xmlns:a16="http://schemas.microsoft.com/office/drawing/2014/main" id="{7384EB8B-723B-4925-8854-106D88E20A57}"/>
                  </a:ext>
                </a:extLst>
              </p:cNvPr>
              <p:cNvSpPr/>
              <p:nvPr/>
            </p:nvSpPr>
            <p:spPr>
              <a:xfrm>
                <a:off x="1755402"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8" name="Rektangel 1507">
                <a:extLst>
                  <a:ext uri="{FF2B5EF4-FFF2-40B4-BE49-F238E27FC236}">
                    <a16:creationId xmlns:a16="http://schemas.microsoft.com/office/drawing/2014/main" id="{6AE4ED7F-7BA0-4ED1-A169-681CCC3A929E}"/>
                  </a:ext>
                </a:extLst>
              </p:cNvPr>
              <p:cNvSpPr/>
              <p:nvPr/>
            </p:nvSpPr>
            <p:spPr>
              <a:xfrm>
                <a:off x="162705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9" name="Rektangel 1508">
                <a:extLst>
                  <a:ext uri="{FF2B5EF4-FFF2-40B4-BE49-F238E27FC236}">
                    <a16:creationId xmlns:a16="http://schemas.microsoft.com/office/drawing/2014/main" id="{6397C1AF-ABEE-4DED-AACF-BB32CBF5C961}"/>
                  </a:ext>
                </a:extLst>
              </p:cNvPr>
              <p:cNvSpPr/>
              <p:nvPr/>
            </p:nvSpPr>
            <p:spPr>
              <a:xfrm>
                <a:off x="171391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0" name="Rektangel 1509">
                <a:extLst>
                  <a:ext uri="{FF2B5EF4-FFF2-40B4-BE49-F238E27FC236}">
                    <a16:creationId xmlns:a16="http://schemas.microsoft.com/office/drawing/2014/main" id="{245431BB-9118-48AB-91EE-D8F32699BB95}"/>
                  </a:ext>
                </a:extLst>
              </p:cNvPr>
              <p:cNvSpPr/>
              <p:nvPr/>
            </p:nvSpPr>
            <p:spPr>
              <a:xfrm>
                <a:off x="2456814"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1" name="Rektangel 1510">
                <a:extLst>
                  <a:ext uri="{FF2B5EF4-FFF2-40B4-BE49-F238E27FC236}">
                    <a16:creationId xmlns:a16="http://schemas.microsoft.com/office/drawing/2014/main" id="{1F082636-4778-441C-B5A5-E68DEBAE6000}"/>
                  </a:ext>
                </a:extLst>
              </p:cNvPr>
              <p:cNvSpPr/>
              <p:nvPr/>
            </p:nvSpPr>
            <p:spPr>
              <a:xfrm>
                <a:off x="2180228"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2" name="Rektangel 1511">
                <a:extLst>
                  <a:ext uri="{FF2B5EF4-FFF2-40B4-BE49-F238E27FC236}">
                    <a16:creationId xmlns:a16="http://schemas.microsoft.com/office/drawing/2014/main" id="{EAF9F9B8-31B7-4DBB-B4F4-B528B4E10066}"/>
                  </a:ext>
                </a:extLst>
              </p:cNvPr>
              <p:cNvSpPr/>
              <p:nvPr/>
            </p:nvSpPr>
            <p:spPr>
              <a:xfrm>
                <a:off x="2856907"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3" name="Rektangel 1512">
                <a:extLst>
                  <a:ext uri="{FF2B5EF4-FFF2-40B4-BE49-F238E27FC236}">
                    <a16:creationId xmlns:a16="http://schemas.microsoft.com/office/drawing/2014/main" id="{05B98FE6-C501-4F65-9CE8-F3B7F19631F7}"/>
                  </a:ext>
                </a:extLst>
              </p:cNvPr>
              <p:cNvSpPr/>
              <p:nvPr/>
            </p:nvSpPr>
            <p:spPr>
              <a:xfrm>
                <a:off x="2701194"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4" name="Rektangel 1513">
                <a:extLst>
                  <a:ext uri="{FF2B5EF4-FFF2-40B4-BE49-F238E27FC236}">
                    <a16:creationId xmlns:a16="http://schemas.microsoft.com/office/drawing/2014/main" id="{EFBA006C-5C8F-43B7-9A0B-66C9A945D026}"/>
                  </a:ext>
                </a:extLst>
              </p:cNvPr>
              <p:cNvSpPr/>
              <p:nvPr/>
            </p:nvSpPr>
            <p:spPr>
              <a:xfrm>
                <a:off x="1958602"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5" name="Ellipse 1514">
                <a:extLst>
                  <a:ext uri="{FF2B5EF4-FFF2-40B4-BE49-F238E27FC236}">
                    <a16:creationId xmlns:a16="http://schemas.microsoft.com/office/drawing/2014/main" id="{A82AC859-7658-4798-BA7C-B6F112BA7D00}"/>
                  </a:ext>
                </a:extLst>
              </p:cNvPr>
              <p:cNvSpPr/>
              <p:nvPr/>
            </p:nvSpPr>
            <p:spPr>
              <a:xfrm>
                <a:off x="3064582" y="5032786"/>
                <a:ext cx="165723" cy="9108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6" name="Ellipse 1515">
                <a:extLst>
                  <a:ext uri="{FF2B5EF4-FFF2-40B4-BE49-F238E27FC236}">
                    <a16:creationId xmlns:a16="http://schemas.microsoft.com/office/drawing/2014/main" id="{9BC4DB81-3D4B-4AAF-856C-5069F9D48483}"/>
                  </a:ext>
                </a:extLst>
              </p:cNvPr>
              <p:cNvSpPr/>
              <p:nvPr/>
            </p:nvSpPr>
            <p:spPr>
              <a:xfrm>
                <a:off x="3010944" y="5020033"/>
                <a:ext cx="131706" cy="9295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7" name="Ellipse 1516">
                <a:extLst>
                  <a:ext uri="{FF2B5EF4-FFF2-40B4-BE49-F238E27FC236}">
                    <a16:creationId xmlns:a16="http://schemas.microsoft.com/office/drawing/2014/main" id="{E6546790-FE2B-4623-AF0E-F24B66CE2C36}"/>
                  </a:ext>
                </a:extLst>
              </p:cNvPr>
              <p:cNvSpPr/>
              <p:nvPr/>
            </p:nvSpPr>
            <p:spPr>
              <a:xfrm>
                <a:off x="3036544" y="4984212"/>
                <a:ext cx="114753" cy="91083"/>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8" name="Rektangel 1517">
                <a:extLst>
                  <a:ext uri="{FF2B5EF4-FFF2-40B4-BE49-F238E27FC236}">
                    <a16:creationId xmlns:a16="http://schemas.microsoft.com/office/drawing/2014/main" id="{9C90521D-C6CE-4661-A4D3-B40EC87F767A}"/>
                  </a:ext>
                </a:extLst>
              </p:cNvPr>
              <p:cNvSpPr/>
              <p:nvPr/>
            </p:nvSpPr>
            <p:spPr>
              <a:xfrm>
                <a:off x="3080370" y="5146446"/>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9" name="Rektangel 1518">
                <a:extLst>
                  <a:ext uri="{FF2B5EF4-FFF2-40B4-BE49-F238E27FC236}">
                    <a16:creationId xmlns:a16="http://schemas.microsoft.com/office/drawing/2014/main" id="{0A52176C-FDF2-4CC2-8DCD-48129633F989}"/>
                  </a:ext>
                </a:extLst>
              </p:cNvPr>
              <p:cNvSpPr/>
              <p:nvPr/>
            </p:nvSpPr>
            <p:spPr>
              <a:xfrm>
                <a:off x="3080370" y="546101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0" name="Rektangel 1519">
                <a:extLst>
                  <a:ext uri="{FF2B5EF4-FFF2-40B4-BE49-F238E27FC236}">
                    <a16:creationId xmlns:a16="http://schemas.microsoft.com/office/drawing/2014/main" id="{961048D5-1D60-480F-A226-8AC1063556EA}"/>
                  </a:ext>
                </a:extLst>
              </p:cNvPr>
              <p:cNvSpPr/>
              <p:nvPr/>
            </p:nvSpPr>
            <p:spPr>
              <a:xfrm>
                <a:off x="3080370" y="483847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1" name="Rektangel 1520">
                <a:extLst>
                  <a:ext uri="{FF2B5EF4-FFF2-40B4-BE49-F238E27FC236}">
                    <a16:creationId xmlns:a16="http://schemas.microsoft.com/office/drawing/2014/main" id="{6E1567B5-E344-443D-BE60-258796B8B793}"/>
                  </a:ext>
                </a:extLst>
              </p:cNvPr>
              <p:cNvSpPr/>
              <p:nvPr/>
            </p:nvSpPr>
            <p:spPr>
              <a:xfrm>
                <a:off x="339549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2" name="Rektangel 1521">
                <a:extLst>
                  <a:ext uri="{FF2B5EF4-FFF2-40B4-BE49-F238E27FC236}">
                    <a16:creationId xmlns:a16="http://schemas.microsoft.com/office/drawing/2014/main" id="{8BCEA054-F616-4F3C-BEA9-2A97C4E7CC82}"/>
                  </a:ext>
                </a:extLst>
              </p:cNvPr>
              <p:cNvSpPr/>
              <p:nvPr/>
            </p:nvSpPr>
            <p:spPr>
              <a:xfrm>
                <a:off x="347882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3" name="Rektangel 1522">
                <a:extLst>
                  <a:ext uri="{FF2B5EF4-FFF2-40B4-BE49-F238E27FC236}">
                    <a16:creationId xmlns:a16="http://schemas.microsoft.com/office/drawing/2014/main" id="{B4A3893E-83E5-470C-8642-06FCEEC44CFF}"/>
                  </a:ext>
                </a:extLst>
              </p:cNvPr>
              <p:cNvSpPr/>
              <p:nvPr/>
            </p:nvSpPr>
            <p:spPr>
              <a:xfrm>
                <a:off x="3663350"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4" name="Rektangel 1523">
                <a:extLst>
                  <a:ext uri="{FF2B5EF4-FFF2-40B4-BE49-F238E27FC236}">
                    <a16:creationId xmlns:a16="http://schemas.microsoft.com/office/drawing/2014/main" id="{3355AD96-D93F-428D-A90F-A36F043482CA}"/>
                  </a:ext>
                </a:extLst>
              </p:cNvPr>
              <p:cNvSpPr/>
              <p:nvPr/>
            </p:nvSpPr>
            <p:spPr>
              <a:xfrm>
                <a:off x="3621412"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5" name="Rektangel 1524">
                <a:extLst>
                  <a:ext uri="{FF2B5EF4-FFF2-40B4-BE49-F238E27FC236}">
                    <a16:creationId xmlns:a16="http://schemas.microsoft.com/office/drawing/2014/main" id="{BB2B1872-1BFB-4B1E-960A-087EF0E8E292}"/>
                  </a:ext>
                </a:extLst>
              </p:cNvPr>
              <p:cNvSpPr/>
              <p:nvPr/>
            </p:nvSpPr>
            <p:spPr>
              <a:xfrm>
                <a:off x="3478827"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6" name="Rektangel 1525">
                <a:extLst>
                  <a:ext uri="{FF2B5EF4-FFF2-40B4-BE49-F238E27FC236}">
                    <a16:creationId xmlns:a16="http://schemas.microsoft.com/office/drawing/2014/main" id="{B53A2CB3-52CD-4BCF-A4C0-605810930A80}"/>
                  </a:ext>
                </a:extLst>
              </p:cNvPr>
              <p:cNvSpPr/>
              <p:nvPr/>
            </p:nvSpPr>
            <p:spPr>
              <a:xfrm>
                <a:off x="3621412"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7" name="Rektangel 1526">
                <a:extLst>
                  <a:ext uri="{FF2B5EF4-FFF2-40B4-BE49-F238E27FC236}">
                    <a16:creationId xmlns:a16="http://schemas.microsoft.com/office/drawing/2014/main" id="{C1CEC17E-651C-460C-A841-AFE0DBDFC0D1}"/>
                  </a:ext>
                </a:extLst>
              </p:cNvPr>
              <p:cNvSpPr/>
              <p:nvPr/>
            </p:nvSpPr>
            <p:spPr>
              <a:xfrm>
                <a:off x="3393403"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8" name="Rektangel 1527">
                <a:extLst>
                  <a:ext uri="{FF2B5EF4-FFF2-40B4-BE49-F238E27FC236}">
                    <a16:creationId xmlns:a16="http://schemas.microsoft.com/office/drawing/2014/main" id="{EE3D0283-F3F0-45C5-B33F-F394BCB103FB}"/>
                  </a:ext>
                </a:extLst>
              </p:cNvPr>
              <p:cNvSpPr/>
              <p:nvPr/>
            </p:nvSpPr>
            <p:spPr>
              <a:xfrm>
                <a:off x="3478827" y="4702432"/>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90" name="Gruppe 989">
              <a:extLst>
                <a:ext uri="{FF2B5EF4-FFF2-40B4-BE49-F238E27FC236}">
                  <a16:creationId xmlns:a16="http://schemas.microsoft.com/office/drawing/2014/main" id="{795DDC37-9A8D-4616-9FB0-3FFC0324F17A}"/>
                </a:ext>
              </a:extLst>
            </p:cNvPr>
            <p:cNvGrpSpPr/>
            <p:nvPr/>
          </p:nvGrpSpPr>
          <p:grpSpPr>
            <a:xfrm flipH="1">
              <a:off x="7204140" y="4675110"/>
              <a:ext cx="970004" cy="939600"/>
              <a:chOff x="1610213" y="4933721"/>
              <a:chExt cx="1169253" cy="1099213"/>
            </a:xfrm>
          </p:grpSpPr>
          <p:grpSp>
            <p:nvGrpSpPr>
              <p:cNvPr id="1473" name="Gruppe 1472">
                <a:extLst>
                  <a:ext uri="{FF2B5EF4-FFF2-40B4-BE49-F238E27FC236}">
                    <a16:creationId xmlns:a16="http://schemas.microsoft.com/office/drawing/2014/main" id="{38AB00E1-9DFF-4A85-A3EB-EE5EFDA28AEC}"/>
                  </a:ext>
                </a:extLst>
              </p:cNvPr>
              <p:cNvGrpSpPr/>
              <p:nvPr/>
            </p:nvGrpSpPr>
            <p:grpSpPr>
              <a:xfrm>
                <a:off x="2145228" y="5613320"/>
                <a:ext cx="165543" cy="419614"/>
                <a:chOff x="4852454" y="2916519"/>
                <a:chExt cx="278597" cy="366599"/>
              </a:xfrm>
            </p:grpSpPr>
            <p:sp>
              <p:nvSpPr>
                <p:cNvPr id="1479" name="Rektangel 1478">
                  <a:extLst>
                    <a:ext uri="{FF2B5EF4-FFF2-40B4-BE49-F238E27FC236}">
                      <a16:creationId xmlns:a16="http://schemas.microsoft.com/office/drawing/2014/main" id="{93098845-9AF8-4286-AF46-4A348319F5C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0" name="Rektangel: afrundede hjørner 1479">
                  <a:extLst>
                    <a:ext uri="{FF2B5EF4-FFF2-40B4-BE49-F238E27FC236}">
                      <a16:creationId xmlns:a16="http://schemas.microsoft.com/office/drawing/2014/main" id="{E07619C2-0C57-47E9-9578-7C1189192C3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4" name="Ellipse 1473">
                <a:extLst>
                  <a:ext uri="{FF2B5EF4-FFF2-40B4-BE49-F238E27FC236}">
                    <a16:creationId xmlns:a16="http://schemas.microsoft.com/office/drawing/2014/main" id="{A56D7D96-5AD4-419B-8C08-025CB25D46D4}"/>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5" name="Ellipse 1474">
                <a:extLst>
                  <a:ext uri="{FF2B5EF4-FFF2-40B4-BE49-F238E27FC236}">
                    <a16:creationId xmlns:a16="http://schemas.microsoft.com/office/drawing/2014/main" id="{249600D8-425D-4E28-A433-226568E5100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6" name="Ellipse 1475">
                <a:extLst>
                  <a:ext uri="{FF2B5EF4-FFF2-40B4-BE49-F238E27FC236}">
                    <a16:creationId xmlns:a16="http://schemas.microsoft.com/office/drawing/2014/main" id="{D453CB44-EFDD-44CA-BFDF-EBFE8D21E5CD}"/>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7" name="Ellipse 1476">
                <a:extLst>
                  <a:ext uri="{FF2B5EF4-FFF2-40B4-BE49-F238E27FC236}">
                    <a16:creationId xmlns:a16="http://schemas.microsoft.com/office/drawing/2014/main" id="{1D2CB689-A7DE-4668-ACC0-4B4EE279CF6E}"/>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8" name="Ellipse 1477">
                <a:extLst>
                  <a:ext uri="{FF2B5EF4-FFF2-40B4-BE49-F238E27FC236}">
                    <a16:creationId xmlns:a16="http://schemas.microsoft.com/office/drawing/2014/main" id="{C67CC128-530B-4782-A5AA-E2CB7EB145E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1" name="Rektangel 990">
              <a:extLst>
                <a:ext uri="{FF2B5EF4-FFF2-40B4-BE49-F238E27FC236}">
                  <a16:creationId xmlns:a16="http://schemas.microsoft.com/office/drawing/2014/main" id="{779A918B-23AB-4132-A684-314A1D545A4F}"/>
                </a:ext>
              </a:extLst>
            </p:cNvPr>
            <p:cNvSpPr/>
            <p:nvPr/>
          </p:nvSpPr>
          <p:spPr>
            <a:xfrm rot="5400000">
              <a:off x="7638420" y="5241726"/>
              <a:ext cx="750377"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2" name="Rektangel 991">
              <a:extLst>
                <a:ext uri="{FF2B5EF4-FFF2-40B4-BE49-F238E27FC236}">
                  <a16:creationId xmlns:a16="http://schemas.microsoft.com/office/drawing/2014/main" id="{4588BBC6-80C9-4C22-945B-5A2D49ACB10B}"/>
                </a:ext>
              </a:extLst>
            </p:cNvPr>
            <p:cNvSpPr/>
            <p:nvPr/>
          </p:nvSpPr>
          <p:spPr>
            <a:xfrm>
              <a:off x="8486812" y="4838095"/>
              <a:ext cx="1184999" cy="1142492"/>
            </a:xfrm>
            <a:prstGeom prst="rect">
              <a:avLst/>
            </a:prstGeom>
            <a:gradFill flip="none" rotWithShape="1">
              <a:gsLst>
                <a:gs pos="63000">
                  <a:srgbClr val="8F5757"/>
                </a:gs>
                <a:gs pos="21000">
                  <a:srgbClr val="8F5757"/>
                </a:gs>
                <a:gs pos="0">
                  <a:srgbClr val="8B6767"/>
                </a:gs>
                <a:gs pos="100000">
                  <a:srgbClr val="91616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3" name="Rektangel 992">
              <a:extLst>
                <a:ext uri="{FF2B5EF4-FFF2-40B4-BE49-F238E27FC236}">
                  <a16:creationId xmlns:a16="http://schemas.microsoft.com/office/drawing/2014/main" id="{14E08DC0-85ED-48C9-8A15-91F0EDD8B141}"/>
                </a:ext>
              </a:extLst>
            </p:cNvPr>
            <p:cNvSpPr/>
            <p:nvPr/>
          </p:nvSpPr>
          <p:spPr>
            <a:xfrm>
              <a:off x="9147798" y="4849666"/>
              <a:ext cx="353539" cy="1128210"/>
            </a:xfrm>
            <a:prstGeom prst="rect">
              <a:avLst/>
            </a:prstGeom>
            <a:gradFill flip="none" rotWithShape="1">
              <a:gsLst>
                <a:gs pos="39000">
                  <a:srgbClr val="8F5757"/>
                </a:gs>
                <a:gs pos="0">
                  <a:srgbClr val="8B6767"/>
                </a:gs>
                <a:gs pos="100000">
                  <a:srgbClr val="916161"/>
                </a:gs>
              </a:gsLst>
              <a:lin ang="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994" name="Gruppe 993">
              <a:extLst>
                <a:ext uri="{FF2B5EF4-FFF2-40B4-BE49-F238E27FC236}">
                  <a16:creationId xmlns:a16="http://schemas.microsoft.com/office/drawing/2014/main" id="{94231055-E2DF-4C01-8577-DC3E854C65C7}"/>
                </a:ext>
              </a:extLst>
            </p:cNvPr>
            <p:cNvGrpSpPr/>
            <p:nvPr/>
          </p:nvGrpSpPr>
          <p:grpSpPr>
            <a:xfrm>
              <a:off x="4163020" y="3004456"/>
              <a:ext cx="3554706" cy="2971852"/>
              <a:chOff x="1654814" y="2111604"/>
              <a:chExt cx="4529480" cy="3923488"/>
            </a:xfrm>
          </p:grpSpPr>
          <p:sp>
            <p:nvSpPr>
              <p:cNvPr id="1108" name="Rektangel: afrundede hjørner 1107">
                <a:extLst>
                  <a:ext uri="{FF2B5EF4-FFF2-40B4-BE49-F238E27FC236}">
                    <a16:creationId xmlns:a16="http://schemas.microsoft.com/office/drawing/2014/main" id="{A862F8AF-E8A7-4DFA-A100-C874C7B1098C}"/>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9" name="Rektangel: afrundede hjørner 1108">
                <a:extLst>
                  <a:ext uri="{FF2B5EF4-FFF2-40B4-BE49-F238E27FC236}">
                    <a16:creationId xmlns:a16="http://schemas.microsoft.com/office/drawing/2014/main" id="{39A12C18-335D-472B-8DEB-24EB1FD4A0FA}"/>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0" name="Rektangel: afrundede hjørner 1109">
                <a:extLst>
                  <a:ext uri="{FF2B5EF4-FFF2-40B4-BE49-F238E27FC236}">
                    <a16:creationId xmlns:a16="http://schemas.microsoft.com/office/drawing/2014/main" id="{C01F0A7B-1F59-4F65-AE50-C8F3A44CAF6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1" name="Gruppe 1110">
                <a:extLst>
                  <a:ext uri="{FF2B5EF4-FFF2-40B4-BE49-F238E27FC236}">
                    <a16:creationId xmlns:a16="http://schemas.microsoft.com/office/drawing/2014/main" id="{D2005D57-423F-4622-97EF-57446BCEC05D}"/>
                  </a:ext>
                </a:extLst>
              </p:cNvPr>
              <p:cNvGrpSpPr/>
              <p:nvPr/>
            </p:nvGrpSpPr>
            <p:grpSpPr>
              <a:xfrm>
                <a:off x="2852905" y="4409245"/>
                <a:ext cx="1032122" cy="975758"/>
                <a:chOff x="1610213" y="4933721"/>
                <a:chExt cx="1169253" cy="1099213"/>
              </a:xfrm>
            </p:grpSpPr>
            <p:grpSp>
              <p:nvGrpSpPr>
                <p:cNvPr id="1465" name="Gruppe 1464">
                  <a:extLst>
                    <a:ext uri="{FF2B5EF4-FFF2-40B4-BE49-F238E27FC236}">
                      <a16:creationId xmlns:a16="http://schemas.microsoft.com/office/drawing/2014/main" id="{FC800A27-203C-47F4-924D-F6C4EE018B1B}"/>
                    </a:ext>
                  </a:extLst>
                </p:cNvPr>
                <p:cNvGrpSpPr/>
                <p:nvPr/>
              </p:nvGrpSpPr>
              <p:grpSpPr>
                <a:xfrm>
                  <a:off x="2145228" y="5613320"/>
                  <a:ext cx="165543" cy="419614"/>
                  <a:chOff x="4852454" y="2916519"/>
                  <a:chExt cx="278597" cy="366599"/>
                </a:xfrm>
              </p:grpSpPr>
              <p:sp>
                <p:nvSpPr>
                  <p:cNvPr id="1471" name="Rektangel 1470">
                    <a:extLst>
                      <a:ext uri="{FF2B5EF4-FFF2-40B4-BE49-F238E27FC236}">
                        <a16:creationId xmlns:a16="http://schemas.microsoft.com/office/drawing/2014/main" id="{73451B0D-32ED-4BCC-9B42-80758C1E939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2" name="Rektangel: afrundede hjørner 1471">
                    <a:extLst>
                      <a:ext uri="{FF2B5EF4-FFF2-40B4-BE49-F238E27FC236}">
                        <a16:creationId xmlns:a16="http://schemas.microsoft.com/office/drawing/2014/main" id="{E2D3CBA6-1440-4C04-9E4E-9E7982B14790}"/>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66" name="Ellipse 1465">
                  <a:extLst>
                    <a:ext uri="{FF2B5EF4-FFF2-40B4-BE49-F238E27FC236}">
                      <a16:creationId xmlns:a16="http://schemas.microsoft.com/office/drawing/2014/main" id="{F24D4AA2-5505-4FDD-9010-07BE835DB5F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7" name="Ellipse 1466">
                  <a:extLst>
                    <a:ext uri="{FF2B5EF4-FFF2-40B4-BE49-F238E27FC236}">
                      <a16:creationId xmlns:a16="http://schemas.microsoft.com/office/drawing/2014/main" id="{8F8FD3A9-376D-4313-BF47-1F43E927992E}"/>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8" name="Ellipse 1467">
                  <a:extLst>
                    <a:ext uri="{FF2B5EF4-FFF2-40B4-BE49-F238E27FC236}">
                      <a16:creationId xmlns:a16="http://schemas.microsoft.com/office/drawing/2014/main" id="{70348CB7-221F-4219-A076-81FD2C502759}"/>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9" name="Ellipse 1468">
                  <a:extLst>
                    <a:ext uri="{FF2B5EF4-FFF2-40B4-BE49-F238E27FC236}">
                      <a16:creationId xmlns:a16="http://schemas.microsoft.com/office/drawing/2014/main" id="{7FD634F6-49D0-4126-A901-FB34C445B8A6}"/>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0" name="Ellipse 1469">
                  <a:extLst>
                    <a:ext uri="{FF2B5EF4-FFF2-40B4-BE49-F238E27FC236}">
                      <a16:creationId xmlns:a16="http://schemas.microsoft.com/office/drawing/2014/main" id="{0FEEFA4A-EB56-4280-8491-E4C134B1EBB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2" name="Gruppe 1111">
                <a:extLst>
                  <a:ext uri="{FF2B5EF4-FFF2-40B4-BE49-F238E27FC236}">
                    <a16:creationId xmlns:a16="http://schemas.microsoft.com/office/drawing/2014/main" id="{D28715FD-DF05-4622-B65E-DC81D0D65909}"/>
                  </a:ext>
                </a:extLst>
              </p:cNvPr>
              <p:cNvGrpSpPr/>
              <p:nvPr/>
            </p:nvGrpSpPr>
            <p:grpSpPr>
              <a:xfrm flipH="1">
                <a:off x="4708158" y="4232264"/>
                <a:ext cx="1032122" cy="975758"/>
                <a:chOff x="1610213" y="4933721"/>
                <a:chExt cx="1169253" cy="1099213"/>
              </a:xfrm>
            </p:grpSpPr>
            <p:grpSp>
              <p:nvGrpSpPr>
                <p:cNvPr id="1457" name="Gruppe 1456">
                  <a:extLst>
                    <a:ext uri="{FF2B5EF4-FFF2-40B4-BE49-F238E27FC236}">
                      <a16:creationId xmlns:a16="http://schemas.microsoft.com/office/drawing/2014/main" id="{7E9BB4BE-BFCC-4EE7-BC52-98BA229391F1}"/>
                    </a:ext>
                  </a:extLst>
                </p:cNvPr>
                <p:cNvGrpSpPr/>
                <p:nvPr/>
              </p:nvGrpSpPr>
              <p:grpSpPr>
                <a:xfrm>
                  <a:off x="2145228" y="5613320"/>
                  <a:ext cx="165543" cy="419614"/>
                  <a:chOff x="4852454" y="2916519"/>
                  <a:chExt cx="278597" cy="366599"/>
                </a:xfrm>
              </p:grpSpPr>
              <p:sp>
                <p:nvSpPr>
                  <p:cNvPr id="1463" name="Rektangel 1462">
                    <a:extLst>
                      <a:ext uri="{FF2B5EF4-FFF2-40B4-BE49-F238E27FC236}">
                        <a16:creationId xmlns:a16="http://schemas.microsoft.com/office/drawing/2014/main" id="{15D6957A-6614-4A09-8462-C7AE7DAC1122}"/>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4" name="Rektangel: afrundede hjørner 1463">
                    <a:extLst>
                      <a:ext uri="{FF2B5EF4-FFF2-40B4-BE49-F238E27FC236}">
                        <a16:creationId xmlns:a16="http://schemas.microsoft.com/office/drawing/2014/main" id="{DC4F8D03-4721-425C-8E52-1668652EF92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8" name="Ellipse 1457">
                  <a:extLst>
                    <a:ext uri="{FF2B5EF4-FFF2-40B4-BE49-F238E27FC236}">
                      <a16:creationId xmlns:a16="http://schemas.microsoft.com/office/drawing/2014/main" id="{F083FBF6-9352-43D3-8651-2F7543ADF3C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9" name="Ellipse 1458">
                  <a:extLst>
                    <a:ext uri="{FF2B5EF4-FFF2-40B4-BE49-F238E27FC236}">
                      <a16:creationId xmlns:a16="http://schemas.microsoft.com/office/drawing/2014/main" id="{4687B2C8-64A4-4D06-A83E-8F0142703E83}"/>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0" name="Ellipse 1459">
                  <a:extLst>
                    <a:ext uri="{FF2B5EF4-FFF2-40B4-BE49-F238E27FC236}">
                      <a16:creationId xmlns:a16="http://schemas.microsoft.com/office/drawing/2014/main" id="{FD423282-F89F-4419-87A9-EAEDB1E3E915}"/>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1" name="Ellipse 1460">
                  <a:extLst>
                    <a:ext uri="{FF2B5EF4-FFF2-40B4-BE49-F238E27FC236}">
                      <a16:creationId xmlns:a16="http://schemas.microsoft.com/office/drawing/2014/main" id="{61507A6D-49B6-42DC-B55D-98643991BB9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2" name="Ellipse 1461">
                  <a:extLst>
                    <a:ext uri="{FF2B5EF4-FFF2-40B4-BE49-F238E27FC236}">
                      <a16:creationId xmlns:a16="http://schemas.microsoft.com/office/drawing/2014/main" id="{1276DF44-260C-4845-9743-DDE13CE61F6C}"/>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3" name="Gruppe 1112">
                <a:extLst>
                  <a:ext uri="{FF2B5EF4-FFF2-40B4-BE49-F238E27FC236}">
                    <a16:creationId xmlns:a16="http://schemas.microsoft.com/office/drawing/2014/main" id="{C96A1AA6-2495-4857-B187-A2F5C75C3B87}"/>
                  </a:ext>
                </a:extLst>
              </p:cNvPr>
              <p:cNvGrpSpPr/>
              <p:nvPr/>
            </p:nvGrpSpPr>
            <p:grpSpPr>
              <a:xfrm>
                <a:off x="1654814" y="4240269"/>
                <a:ext cx="1167307" cy="975758"/>
                <a:chOff x="1501738" y="4933721"/>
                <a:chExt cx="1322399" cy="1099213"/>
              </a:xfrm>
            </p:grpSpPr>
            <p:grpSp>
              <p:nvGrpSpPr>
                <p:cNvPr id="1449" name="Gruppe 1448">
                  <a:extLst>
                    <a:ext uri="{FF2B5EF4-FFF2-40B4-BE49-F238E27FC236}">
                      <a16:creationId xmlns:a16="http://schemas.microsoft.com/office/drawing/2014/main" id="{D07584FA-5999-4FFF-9E92-4AB8F757D7BB}"/>
                    </a:ext>
                  </a:extLst>
                </p:cNvPr>
                <p:cNvGrpSpPr/>
                <p:nvPr/>
              </p:nvGrpSpPr>
              <p:grpSpPr>
                <a:xfrm>
                  <a:off x="2145228" y="5613320"/>
                  <a:ext cx="165543" cy="419614"/>
                  <a:chOff x="4852454" y="2916519"/>
                  <a:chExt cx="278597" cy="366599"/>
                </a:xfrm>
              </p:grpSpPr>
              <p:sp>
                <p:nvSpPr>
                  <p:cNvPr id="1455" name="Rektangel 1454">
                    <a:extLst>
                      <a:ext uri="{FF2B5EF4-FFF2-40B4-BE49-F238E27FC236}">
                        <a16:creationId xmlns:a16="http://schemas.microsoft.com/office/drawing/2014/main" id="{02261D1C-98E5-4596-A508-E714B7E1A52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6" name="Rektangel: afrundede hjørner 1455">
                    <a:extLst>
                      <a:ext uri="{FF2B5EF4-FFF2-40B4-BE49-F238E27FC236}">
                        <a16:creationId xmlns:a16="http://schemas.microsoft.com/office/drawing/2014/main" id="{F6874153-3C32-44A8-848B-CD25BD8DB96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0" name="Ellipse 1449">
                  <a:extLst>
                    <a:ext uri="{FF2B5EF4-FFF2-40B4-BE49-F238E27FC236}">
                      <a16:creationId xmlns:a16="http://schemas.microsoft.com/office/drawing/2014/main" id="{E997C15C-2608-490C-955B-09948A23F62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1" name="Ellipse 1450">
                  <a:extLst>
                    <a:ext uri="{FF2B5EF4-FFF2-40B4-BE49-F238E27FC236}">
                      <a16:creationId xmlns:a16="http://schemas.microsoft.com/office/drawing/2014/main" id="{1BDB4B5B-E623-4D32-A9B3-7822EDAAB09A}"/>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2" name="Ellipse 1451">
                  <a:extLst>
                    <a:ext uri="{FF2B5EF4-FFF2-40B4-BE49-F238E27FC236}">
                      <a16:creationId xmlns:a16="http://schemas.microsoft.com/office/drawing/2014/main" id="{C9B69FC1-61EA-48DC-875A-6CAA6E2A55A6}"/>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3" name="Ellipse 1452">
                  <a:extLst>
                    <a:ext uri="{FF2B5EF4-FFF2-40B4-BE49-F238E27FC236}">
                      <a16:creationId xmlns:a16="http://schemas.microsoft.com/office/drawing/2014/main" id="{F0D05405-5F45-4058-85ED-87181B5E3C4C}"/>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4" name="Ellipse 1453">
                  <a:extLst>
                    <a:ext uri="{FF2B5EF4-FFF2-40B4-BE49-F238E27FC236}">
                      <a16:creationId xmlns:a16="http://schemas.microsoft.com/office/drawing/2014/main" id="{0571656E-18D0-4B66-8D60-F4E4645BE8C1}"/>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4" name="Rektangel 1113">
                <a:extLst>
                  <a:ext uri="{FF2B5EF4-FFF2-40B4-BE49-F238E27FC236}">
                    <a16:creationId xmlns:a16="http://schemas.microsoft.com/office/drawing/2014/main" id="{886E7A65-7BCA-4D11-9D9B-D8DF7DE282A0}"/>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5" name="Rektangel 1114">
                <a:extLst>
                  <a:ext uri="{FF2B5EF4-FFF2-40B4-BE49-F238E27FC236}">
                    <a16:creationId xmlns:a16="http://schemas.microsoft.com/office/drawing/2014/main" id="{EC9DEA40-0289-42B6-B242-F8015329896E}"/>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6" name="Rektangel 1115">
                <a:extLst>
                  <a:ext uri="{FF2B5EF4-FFF2-40B4-BE49-F238E27FC236}">
                    <a16:creationId xmlns:a16="http://schemas.microsoft.com/office/drawing/2014/main" id="{794712A0-2140-498D-87F6-3F083DE137DD}"/>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7" name="Rektangel 1116">
                <a:extLst>
                  <a:ext uri="{FF2B5EF4-FFF2-40B4-BE49-F238E27FC236}">
                    <a16:creationId xmlns:a16="http://schemas.microsoft.com/office/drawing/2014/main" id="{A17B26DD-FEB9-4A06-9913-F24913919542}"/>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8" name="Gruppe 1117">
                <a:extLst>
                  <a:ext uri="{FF2B5EF4-FFF2-40B4-BE49-F238E27FC236}">
                    <a16:creationId xmlns:a16="http://schemas.microsoft.com/office/drawing/2014/main" id="{07FB93FD-EA92-4331-A87C-6C8ABAE1CE93}"/>
                  </a:ext>
                </a:extLst>
              </p:cNvPr>
              <p:cNvGrpSpPr/>
              <p:nvPr/>
            </p:nvGrpSpPr>
            <p:grpSpPr>
              <a:xfrm>
                <a:off x="1698371" y="4660669"/>
                <a:ext cx="4376784" cy="325426"/>
                <a:chOff x="1209635" y="3152432"/>
                <a:chExt cx="9240230" cy="585788"/>
              </a:xfrm>
            </p:grpSpPr>
            <p:sp>
              <p:nvSpPr>
                <p:cNvPr id="1446" name="Retvinklet trekant 1445">
                  <a:extLst>
                    <a:ext uri="{FF2B5EF4-FFF2-40B4-BE49-F238E27FC236}">
                      <a16:creationId xmlns:a16="http://schemas.microsoft.com/office/drawing/2014/main" id="{5060644D-E60C-4B8B-A519-29D0B647BFB1}"/>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7" name="Rektangel 1446">
                  <a:extLst>
                    <a:ext uri="{FF2B5EF4-FFF2-40B4-BE49-F238E27FC236}">
                      <a16:creationId xmlns:a16="http://schemas.microsoft.com/office/drawing/2014/main" id="{C91F750F-0949-4F73-A361-9D50652468A9}"/>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8" name="Retvinklet trekant 1447">
                  <a:extLst>
                    <a:ext uri="{FF2B5EF4-FFF2-40B4-BE49-F238E27FC236}">
                      <a16:creationId xmlns:a16="http://schemas.microsoft.com/office/drawing/2014/main" id="{AEAE42CD-28E3-4200-8BB4-192A152E9F32}"/>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9" name="Rektangel 1118">
                <a:extLst>
                  <a:ext uri="{FF2B5EF4-FFF2-40B4-BE49-F238E27FC236}">
                    <a16:creationId xmlns:a16="http://schemas.microsoft.com/office/drawing/2014/main" id="{9BA742B7-5D69-4648-ADFE-4D627F42B16E}"/>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0" name="Rektangel 1119">
                <a:extLst>
                  <a:ext uri="{FF2B5EF4-FFF2-40B4-BE49-F238E27FC236}">
                    <a16:creationId xmlns:a16="http://schemas.microsoft.com/office/drawing/2014/main" id="{EC8D5062-A6A5-4FB3-846E-AC7CADE356F3}"/>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21" name="Gruppe 1120">
                <a:extLst>
                  <a:ext uri="{FF2B5EF4-FFF2-40B4-BE49-F238E27FC236}">
                    <a16:creationId xmlns:a16="http://schemas.microsoft.com/office/drawing/2014/main" id="{914ED149-52FA-4E78-9E85-D389D014E6DA}"/>
                  </a:ext>
                </a:extLst>
              </p:cNvPr>
              <p:cNvGrpSpPr/>
              <p:nvPr/>
            </p:nvGrpSpPr>
            <p:grpSpPr>
              <a:xfrm>
                <a:off x="1827227" y="5182532"/>
                <a:ext cx="110215" cy="202903"/>
                <a:chOff x="1758507" y="5170209"/>
                <a:chExt cx="156925" cy="285896"/>
              </a:xfrm>
            </p:grpSpPr>
            <p:sp>
              <p:nvSpPr>
                <p:cNvPr id="1443" name="Rektangel 1442">
                  <a:extLst>
                    <a:ext uri="{FF2B5EF4-FFF2-40B4-BE49-F238E27FC236}">
                      <a16:creationId xmlns:a16="http://schemas.microsoft.com/office/drawing/2014/main" id="{2808BCCD-82CD-4F52-ABEA-B1B8B664355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4" name="Lige forbindelse 1443">
                  <a:extLst>
                    <a:ext uri="{FF2B5EF4-FFF2-40B4-BE49-F238E27FC236}">
                      <a16:creationId xmlns:a16="http://schemas.microsoft.com/office/drawing/2014/main" id="{78CE9889-DA57-4BE1-9C68-19B2B01DB366}"/>
                    </a:ext>
                  </a:extLst>
                </p:cNvPr>
                <p:cNvCxnSpPr>
                  <a:cxnSpLocks/>
                  <a:stCxn id="1443" idx="0"/>
                  <a:endCxn id="144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5" name="Lige forbindelse 1444">
                  <a:extLst>
                    <a:ext uri="{FF2B5EF4-FFF2-40B4-BE49-F238E27FC236}">
                      <a16:creationId xmlns:a16="http://schemas.microsoft.com/office/drawing/2014/main" id="{B1073E62-5706-470F-865F-497ADD036BF2}"/>
                    </a:ext>
                  </a:extLst>
                </p:cNvPr>
                <p:cNvCxnSpPr>
                  <a:cxnSpLocks/>
                  <a:stCxn id="1443" idx="1"/>
                  <a:endCxn id="144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2" name="Gruppe 1121">
                <a:extLst>
                  <a:ext uri="{FF2B5EF4-FFF2-40B4-BE49-F238E27FC236}">
                    <a16:creationId xmlns:a16="http://schemas.microsoft.com/office/drawing/2014/main" id="{622F9377-6E11-4728-BA1F-65058314354B}"/>
                  </a:ext>
                </a:extLst>
              </p:cNvPr>
              <p:cNvGrpSpPr/>
              <p:nvPr/>
            </p:nvGrpSpPr>
            <p:grpSpPr>
              <a:xfrm>
                <a:off x="2018117" y="5182532"/>
                <a:ext cx="110215" cy="202903"/>
                <a:chOff x="1758507" y="5170209"/>
                <a:chExt cx="156925" cy="285896"/>
              </a:xfrm>
            </p:grpSpPr>
            <p:sp>
              <p:nvSpPr>
                <p:cNvPr id="1440" name="Rektangel 1439">
                  <a:extLst>
                    <a:ext uri="{FF2B5EF4-FFF2-40B4-BE49-F238E27FC236}">
                      <a16:creationId xmlns:a16="http://schemas.microsoft.com/office/drawing/2014/main" id="{18ECFB4A-CF15-41BD-A05E-648393F8A7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1" name="Lige forbindelse 1440">
                  <a:extLst>
                    <a:ext uri="{FF2B5EF4-FFF2-40B4-BE49-F238E27FC236}">
                      <a16:creationId xmlns:a16="http://schemas.microsoft.com/office/drawing/2014/main" id="{D96FCD53-5DFA-4FCD-8296-22DAFAF572F0}"/>
                    </a:ext>
                  </a:extLst>
                </p:cNvPr>
                <p:cNvCxnSpPr>
                  <a:cxnSpLocks/>
                  <a:stCxn id="1440" idx="0"/>
                  <a:endCxn id="144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2" name="Lige forbindelse 1441">
                  <a:extLst>
                    <a:ext uri="{FF2B5EF4-FFF2-40B4-BE49-F238E27FC236}">
                      <a16:creationId xmlns:a16="http://schemas.microsoft.com/office/drawing/2014/main" id="{6C40197E-7340-4266-AE6A-42B9F1054C76}"/>
                    </a:ext>
                  </a:extLst>
                </p:cNvPr>
                <p:cNvCxnSpPr>
                  <a:cxnSpLocks/>
                  <a:stCxn id="1440" idx="1"/>
                  <a:endCxn id="144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3" name="Gruppe 1122">
                <a:extLst>
                  <a:ext uri="{FF2B5EF4-FFF2-40B4-BE49-F238E27FC236}">
                    <a16:creationId xmlns:a16="http://schemas.microsoft.com/office/drawing/2014/main" id="{504FCF5C-3010-4A8E-93C0-AC3B054E32F4}"/>
                  </a:ext>
                </a:extLst>
              </p:cNvPr>
              <p:cNvGrpSpPr/>
              <p:nvPr/>
            </p:nvGrpSpPr>
            <p:grpSpPr>
              <a:xfrm>
                <a:off x="2209008" y="5182532"/>
                <a:ext cx="110215" cy="202903"/>
                <a:chOff x="1758507" y="5170209"/>
                <a:chExt cx="156925" cy="285896"/>
              </a:xfrm>
            </p:grpSpPr>
            <p:sp>
              <p:nvSpPr>
                <p:cNvPr id="1437" name="Rektangel 1436">
                  <a:extLst>
                    <a:ext uri="{FF2B5EF4-FFF2-40B4-BE49-F238E27FC236}">
                      <a16:creationId xmlns:a16="http://schemas.microsoft.com/office/drawing/2014/main" id="{757623A4-B49F-4248-BFC1-FF3BEF5121F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8" name="Lige forbindelse 1437">
                  <a:extLst>
                    <a:ext uri="{FF2B5EF4-FFF2-40B4-BE49-F238E27FC236}">
                      <a16:creationId xmlns:a16="http://schemas.microsoft.com/office/drawing/2014/main" id="{1861A36A-434B-432D-B8F7-F2404EB6469B}"/>
                    </a:ext>
                  </a:extLst>
                </p:cNvPr>
                <p:cNvCxnSpPr>
                  <a:cxnSpLocks/>
                  <a:stCxn id="1437" idx="0"/>
                  <a:endCxn id="143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9" name="Lige forbindelse 1438">
                  <a:extLst>
                    <a:ext uri="{FF2B5EF4-FFF2-40B4-BE49-F238E27FC236}">
                      <a16:creationId xmlns:a16="http://schemas.microsoft.com/office/drawing/2014/main" id="{91BF85F8-48A2-4C9A-9A5D-3CCD5E414B23}"/>
                    </a:ext>
                  </a:extLst>
                </p:cNvPr>
                <p:cNvCxnSpPr>
                  <a:cxnSpLocks/>
                  <a:stCxn id="1437" idx="1"/>
                  <a:endCxn id="143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4" name="Gruppe 1123">
                <a:extLst>
                  <a:ext uri="{FF2B5EF4-FFF2-40B4-BE49-F238E27FC236}">
                    <a16:creationId xmlns:a16="http://schemas.microsoft.com/office/drawing/2014/main" id="{C440B6E9-6836-4233-8EEC-588622106987}"/>
                  </a:ext>
                </a:extLst>
              </p:cNvPr>
              <p:cNvGrpSpPr/>
              <p:nvPr/>
            </p:nvGrpSpPr>
            <p:grpSpPr>
              <a:xfrm>
                <a:off x="2399898" y="5182532"/>
                <a:ext cx="110215" cy="202903"/>
                <a:chOff x="1758507" y="5170209"/>
                <a:chExt cx="156925" cy="285896"/>
              </a:xfrm>
            </p:grpSpPr>
            <p:sp>
              <p:nvSpPr>
                <p:cNvPr id="1434" name="Rektangel 1433">
                  <a:extLst>
                    <a:ext uri="{FF2B5EF4-FFF2-40B4-BE49-F238E27FC236}">
                      <a16:creationId xmlns:a16="http://schemas.microsoft.com/office/drawing/2014/main" id="{0B633FD7-FD01-4F03-9F01-A2CADC2F8DF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5" name="Lige forbindelse 1434">
                  <a:extLst>
                    <a:ext uri="{FF2B5EF4-FFF2-40B4-BE49-F238E27FC236}">
                      <a16:creationId xmlns:a16="http://schemas.microsoft.com/office/drawing/2014/main" id="{B8F8FCE2-5AB6-445F-B0F6-BB21087907A0}"/>
                    </a:ext>
                  </a:extLst>
                </p:cNvPr>
                <p:cNvCxnSpPr>
                  <a:cxnSpLocks/>
                  <a:stCxn id="1434" idx="0"/>
                  <a:endCxn id="143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6" name="Lige forbindelse 1435">
                  <a:extLst>
                    <a:ext uri="{FF2B5EF4-FFF2-40B4-BE49-F238E27FC236}">
                      <a16:creationId xmlns:a16="http://schemas.microsoft.com/office/drawing/2014/main" id="{24D8B0D8-1213-4D12-AA23-F997F602A154}"/>
                    </a:ext>
                  </a:extLst>
                </p:cNvPr>
                <p:cNvCxnSpPr>
                  <a:cxnSpLocks/>
                  <a:stCxn id="1434" idx="1"/>
                  <a:endCxn id="143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5" name="Gruppe 1124">
                <a:extLst>
                  <a:ext uri="{FF2B5EF4-FFF2-40B4-BE49-F238E27FC236}">
                    <a16:creationId xmlns:a16="http://schemas.microsoft.com/office/drawing/2014/main" id="{99569D9A-0B95-4F7D-94F0-53BBC1A5AF93}"/>
                  </a:ext>
                </a:extLst>
              </p:cNvPr>
              <p:cNvGrpSpPr/>
              <p:nvPr/>
            </p:nvGrpSpPr>
            <p:grpSpPr>
              <a:xfrm>
                <a:off x="2590789" y="5182532"/>
                <a:ext cx="110215" cy="202903"/>
                <a:chOff x="1758507" y="5170209"/>
                <a:chExt cx="156925" cy="285896"/>
              </a:xfrm>
            </p:grpSpPr>
            <p:sp>
              <p:nvSpPr>
                <p:cNvPr id="1431" name="Rektangel 1430">
                  <a:extLst>
                    <a:ext uri="{FF2B5EF4-FFF2-40B4-BE49-F238E27FC236}">
                      <a16:creationId xmlns:a16="http://schemas.microsoft.com/office/drawing/2014/main" id="{5E3ACD93-187B-4757-9CDB-A11F394C336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2" name="Lige forbindelse 1431">
                  <a:extLst>
                    <a:ext uri="{FF2B5EF4-FFF2-40B4-BE49-F238E27FC236}">
                      <a16:creationId xmlns:a16="http://schemas.microsoft.com/office/drawing/2014/main" id="{A87D693B-DD2A-4D87-8F62-FE5DF7D4F014}"/>
                    </a:ext>
                  </a:extLst>
                </p:cNvPr>
                <p:cNvCxnSpPr>
                  <a:cxnSpLocks/>
                  <a:stCxn id="1431" idx="0"/>
                  <a:endCxn id="143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3" name="Lige forbindelse 1432">
                  <a:extLst>
                    <a:ext uri="{FF2B5EF4-FFF2-40B4-BE49-F238E27FC236}">
                      <a16:creationId xmlns:a16="http://schemas.microsoft.com/office/drawing/2014/main" id="{FAAEFC57-28FF-44B5-98D8-FD10DCA97519}"/>
                    </a:ext>
                  </a:extLst>
                </p:cNvPr>
                <p:cNvCxnSpPr>
                  <a:cxnSpLocks/>
                  <a:stCxn id="1431" idx="1"/>
                  <a:endCxn id="143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6" name="Gruppe 1125">
                <a:extLst>
                  <a:ext uri="{FF2B5EF4-FFF2-40B4-BE49-F238E27FC236}">
                    <a16:creationId xmlns:a16="http://schemas.microsoft.com/office/drawing/2014/main" id="{DBCB73A7-7193-40C7-8B74-6491F309C5A6}"/>
                  </a:ext>
                </a:extLst>
              </p:cNvPr>
              <p:cNvGrpSpPr/>
              <p:nvPr/>
            </p:nvGrpSpPr>
            <p:grpSpPr>
              <a:xfrm>
                <a:off x="2781680" y="5182532"/>
                <a:ext cx="110215" cy="202903"/>
                <a:chOff x="1758507" y="5170209"/>
                <a:chExt cx="156925" cy="285896"/>
              </a:xfrm>
            </p:grpSpPr>
            <p:sp>
              <p:nvSpPr>
                <p:cNvPr id="1428" name="Rektangel 1427">
                  <a:extLst>
                    <a:ext uri="{FF2B5EF4-FFF2-40B4-BE49-F238E27FC236}">
                      <a16:creationId xmlns:a16="http://schemas.microsoft.com/office/drawing/2014/main" id="{DD094EF1-F5AA-4F68-9CE3-E40DA6EE61F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9" name="Lige forbindelse 1428">
                  <a:extLst>
                    <a:ext uri="{FF2B5EF4-FFF2-40B4-BE49-F238E27FC236}">
                      <a16:creationId xmlns:a16="http://schemas.microsoft.com/office/drawing/2014/main" id="{15729816-D550-4905-9A8E-B8DB174B194A}"/>
                    </a:ext>
                  </a:extLst>
                </p:cNvPr>
                <p:cNvCxnSpPr>
                  <a:cxnSpLocks/>
                  <a:stCxn id="1428" idx="0"/>
                  <a:endCxn id="142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0" name="Lige forbindelse 1429">
                  <a:extLst>
                    <a:ext uri="{FF2B5EF4-FFF2-40B4-BE49-F238E27FC236}">
                      <a16:creationId xmlns:a16="http://schemas.microsoft.com/office/drawing/2014/main" id="{6EB6D8BF-4902-4D00-982F-83FC0A422DBC}"/>
                    </a:ext>
                  </a:extLst>
                </p:cNvPr>
                <p:cNvCxnSpPr>
                  <a:cxnSpLocks/>
                  <a:stCxn id="1428" idx="1"/>
                  <a:endCxn id="142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7" name="Gruppe 1126">
                <a:extLst>
                  <a:ext uri="{FF2B5EF4-FFF2-40B4-BE49-F238E27FC236}">
                    <a16:creationId xmlns:a16="http://schemas.microsoft.com/office/drawing/2014/main" id="{51599454-6348-4746-A944-8D0AF5965E9B}"/>
                  </a:ext>
                </a:extLst>
              </p:cNvPr>
              <p:cNvGrpSpPr/>
              <p:nvPr/>
            </p:nvGrpSpPr>
            <p:grpSpPr>
              <a:xfrm>
                <a:off x="2972570" y="5182532"/>
                <a:ext cx="110215" cy="202903"/>
                <a:chOff x="1758507" y="5170209"/>
                <a:chExt cx="156925" cy="285896"/>
              </a:xfrm>
            </p:grpSpPr>
            <p:sp>
              <p:nvSpPr>
                <p:cNvPr id="1425" name="Rektangel 1424">
                  <a:extLst>
                    <a:ext uri="{FF2B5EF4-FFF2-40B4-BE49-F238E27FC236}">
                      <a16:creationId xmlns:a16="http://schemas.microsoft.com/office/drawing/2014/main" id="{2F038F86-2912-41C5-8A8C-E692EABD55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6" name="Lige forbindelse 1425">
                  <a:extLst>
                    <a:ext uri="{FF2B5EF4-FFF2-40B4-BE49-F238E27FC236}">
                      <a16:creationId xmlns:a16="http://schemas.microsoft.com/office/drawing/2014/main" id="{2561D901-F90D-46DB-A291-4D5CFD0BA140}"/>
                    </a:ext>
                  </a:extLst>
                </p:cNvPr>
                <p:cNvCxnSpPr>
                  <a:cxnSpLocks/>
                  <a:stCxn id="1425" idx="0"/>
                  <a:endCxn id="142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7" name="Lige forbindelse 1426">
                  <a:extLst>
                    <a:ext uri="{FF2B5EF4-FFF2-40B4-BE49-F238E27FC236}">
                      <a16:creationId xmlns:a16="http://schemas.microsoft.com/office/drawing/2014/main" id="{42E956E9-470C-43F9-B1D2-2F661BF4D499}"/>
                    </a:ext>
                  </a:extLst>
                </p:cNvPr>
                <p:cNvCxnSpPr>
                  <a:cxnSpLocks/>
                  <a:stCxn id="1425" idx="1"/>
                  <a:endCxn id="142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8" name="Gruppe 1127">
                <a:extLst>
                  <a:ext uri="{FF2B5EF4-FFF2-40B4-BE49-F238E27FC236}">
                    <a16:creationId xmlns:a16="http://schemas.microsoft.com/office/drawing/2014/main" id="{37CE62C9-85ED-48CA-BC5E-D473FECBBC3B}"/>
                  </a:ext>
                </a:extLst>
              </p:cNvPr>
              <p:cNvGrpSpPr/>
              <p:nvPr/>
            </p:nvGrpSpPr>
            <p:grpSpPr>
              <a:xfrm>
                <a:off x="3163460" y="5182532"/>
                <a:ext cx="110215" cy="202903"/>
                <a:chOff x="1758507" y="5170209"/>
                <a:chExt cx="156925" cy="285896"/>
              </a:xfrm>
            </p:grpSpPr>
            <p:sp>
              <p:nvSpPr>
                <p:cNvPr id="1422" name="Rektangel 1421">
                  <a:extLst>
                    <a:ext uri="{FF2B5EF4-FFF2-40B4-BE49-F238E27FC236}">
                      <a16:creationId xmlns:a16="http://schemas.microsoft.com/office/drawing/2014/main" id="{A450ED21-EE17-4F3B-BB87-B118506E90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3" name="Lige forbindelse 1422">
                  <a:extLst>
                    <a:ext uri="{FF2B5EF4-FFF2-40B4-BE49-F238E27FC236}">
                      <a16:creationId xmlns:a16="http://schemas.microsoft.com/office/drawing/2014/main" id="{1F9E7C00-1DE9-43A5-B2B0-19F29C9FCDFB}"/>
                    </a:ext>
                  </a:extLst>
                </p:cNvPr>
                <p:cNvCxnSpPr>
                  <a:cxnSpLocks/>
                  <a:stCxn id="1422" idx="0"/>
                  <a:endCxn id="142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4" name="Lige forbindelse 1423">
                  <a:extLst>
                    <a:ext uri="{FF2B5EF4-FFF2-40B4-BE49-F238E27FC236}">
                      <a16:creationId xmlns:a16="http://schemas.microsoft.com/office/drawing/2014/main" id="{309032E1-BC27-4DC9-9700-78720BCE44AB}"/>
                    </a:ext>
                  </a:extLst>
                </p:cNvPr>
                <p:cNvCxnSpPr>
                  <a:cxnSpLocks/>
                  <a:stCxn id="1422" idx="1"/>
                  <a:endCxn id="142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9" name="Gruppe 1128">
                <a:extLst>
                  <a:ext uri="{FF2B5EF4-FFF2-40B4-BE49-F238E27FC236}">
                    <a16:creationId xmlns:a16="http://schemas.microsoft.com/office/drawing/2014/main" id="{1D12B521-8686-4662-BD4C-0A27DC2A635F}"/>
                  </a:ext>
                </a:extLst>
              </p:cNvPr>
              <p:cNvGrpSpPr/>
              <p:nvPr/>
            </p:nvGrpSpPr>
            <p:grpSpPr>
              <a:xfrm>
                <a:off x="3354351" y="5182532"/>
                <a:ext cx="110215" cy="202903"/>
                <a:chOff x="1758507" y="5170209"/>
                <a:chExt cx="156925" cy="285896"/>
              </a:xfrm>
            </p:grpSpPr>
            <p:sp>
              <p:nvSpPr>
                <p:cNvPr id="1419" name="Rektangel 1418">
                  <a:extLst>
                    <a:ext uri="{FF2B5EF4-FFF2-40B4-BE49-F238E27FC236}">
                      <a16:creationId xmlns:a16="http://schemas.microsoft.com/office/drawing/2014/main" id="{59D166A3-DD32-4A73-8706-22E6C5F8C1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0" name="Lige forbindelse 1419">
                  <a:extLst>
                    <a:ext uri="{FF2B5EF4-FFF2-40B4-BE49-F238E27FC236}">
                      <a16:creationId xmlns:a16="http://schemas.microsoft.com/office/drawing/2014/main" id="{C095BA74-433E-46A9-848B-49E70F18785A}"/>
                    </a:ext>
                  </a:extLst>
                </p:cNvPr>
                <p:cNvCxnSpPr>
                  <a:cxnSpLocks/>
                  <a:stCxn id="1419" idx="0"/>
                  <a:endCxn id="141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1" name="Lige forbindelse 1420">
                  <a:extLst>
                    <a:ext uri="{FF2B5EF4-FFF2-40B4-BE49-F238E27FC236}">
                      <a16:creationId xmlns:a16="http://schemas.microsoft.com/office/drawing/2014/main" id="{9B940E2B-D319-4F25-B9F7-571C86E7A2F6}"/>
                    </a:ext>
                  </a:extLst>
                </p:cNvPr>
                <p:cNvCxnSpPr>
                  <a:cxnSpLocks/>
                  <a:stCxn id="1419" idx="1"/>
                  <a:endCxn id="141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0" name="Gruppe 1129">
                <a:extLst>
                  <a:ext uri="{FF2B5EF4-FFF2-40B4-BE49-F238E27FC236}">
                    <a16:creationId xmlns:a16="http://schemas.microsoft.com/office/drawing/2014/main" id="{071EB156-1F1F-414E-B294-F54BEFB1BB40}"/>
                  </a:ext>
                </a:extLst>
              </p:cNvPr>
              <p:cNvGrpSpPr/>
              <p:nvPr/>
            </p:nvGrpSpPr>
            <p:grpSpPr>
              <a:xfrm>
                <a:off x="3545241" y="5182532"/>
                <a:ext cx="110215" cy="202903"/>
                <a:chOff x="1758507" y="5170209"/>
                <a:chExt cx="156925" cy="285896"/>
              </a:xfrm>
            </p:grpSpPr>
            <p:sp>
              <p:nvSpPr>
                <p:cNvPr id="1416" name="Rektangel 1415">
                  <a:extLst>
                    <a:ext uri="{FF2B5EF4-FFF2-40B4-BE49-F238E27FC236}">
                      <a16:creationId xmlns:a16="http://schemas.microsoft.com/office/drawing/2014/main" id="{8C045CA2-572E-46B8-8D9D-FC8E84BB7FD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7" name="Lige forbindelse 1416">
                  <a:extLst>
                    <a:ext uri="{FF2B5EF4-FFF2-40B4-BE49-F238E27FC236}">
                      <a16:creationId xmlns:a16="http://schemas.microsoft.com/office/drawing/2014/main" id="{CE8356D6-3CC5-4A47-8548-D09B73D79A36}"/>
                    </a:ext>
                  </a:extLst>
                </p:cNvPr>
                <p:cNvCxnSpPr>
                  <a:cxnSpLocks/>
                  <a:stCxn id="1416" idx="0"/>
                  <a:endCxn id="141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8" name="Lige forbindelse 1417">
                  <a:extLst>
                    <a:ext uri="{FF2B5EF4-FFF2-40B4-BE49-F238E27FC236}">
                      <a16:creationId xmlns:a16="http://schemas.microsoft.com/office/drawing/2014/main" id="{F01003AB-6003-40A6-855B-2CA0C2D98839}"/>
                    </a:ext>
                  </a:extLst>
                </p:cNvPr>
                <p:cNvCxnSpPr>
                  <a:cxnSpLocks/>
                  <a:stCxn id="1416" idx="1"/>
                  <a:endCxn id="141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1" name="Gruppe 1130">
                <a:extLst>
                  <a:ext uri="{FF2B5EF4-FFF2-40B4-BE49-F238E27FC236}">
                    <a16:creationId xmlns:a16="http://schemas.microsoft.com/office/drawing/2014/main" id="{293BB7F7-83A6-4515-B243-3A36A0D8D6F3}"/>
                  </a:ext>
                </a:extLst>
              </p:cNvPr>
              <p:cNvGrpSpPr/>
              <p:nvPr/>
            </p:nvGrpSpPr>
            <p:grpSpPr>
              <a:xfrm>
                <a:off x="3736132" y="5182532"/>
                <a:ext cx="110215" cy="202903"/>
                <a:chOff x="1758507" y="5170209"/>
                <a:chExt cx="156925" cy="285896"/>
              </a:xfrm>
            </p:grpSpPr>
            <p:sp>
              <p:nvSpPr>
                <p:cNvPr id="1413" name="Rektangel 1412">
                  <a:extLst>
                    <a:ext uri="{FF2B5EF4-FFF2-40B4-BE49-F238E27FC236}">
                      <a16:creationId xmlns:a16="http://schemas.microsoft.com/office/drawing/2014/main" id="{D412086E-DA03-44E8-B5ED-9288F6AD5C0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4" name="Lige forbindelse 1413">
                  <a:extLst>
                    <a:ext uri="{FF2B5EF4-FFF2-40B4-BE49-F238E27FC236}">
                      <a16:creationId xmlns:a16="http://schemas.microsoft.com/office/drawing/2014/main" id="{F7DF599D-A501-4298-9F5C-2F7AE1044D73}"/>
                    </a:ext>
                  </a:extLst>
                </p:cNvPr>
                <p:cNvCxnSpPr>
                  <a:cxnSpLocks/>
                  <a:stCxn id="1413" idx="0"/>
                  <a:endCxn id="141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5" name="Lige forbindelse 1414">
                  <a:extLst>
                    <a:ext uri="{FF2B5EF4-FFF2-40B4-BE49-F238E27FC236}">
                      <a16:creationId xmlns:a16="http://schemas.microsoft.com/office/drawing/2014/main" id="{0034D848-12FD-4D52-BE07-AF6EF642CDE6}"/>
                    </a:ext>
                  </a:extLst>
                </p:cNvPr>
                <p:cNvCxnSpPr>
                  <a:cxnSpLocks/>
                  <a:stCxn id="1413" idx="1"/>
                  <a:endCxn id="141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2" name="Gruppe 1131">
                <a:extLst>
                  <a:ext uri="{FF2B5EF4-FFF2-40B4-BE49-F238E27FC236}">
                    <a16:creationId xmlns:a16="http://schemas.microsoft.com/office/drawing/2014/main" id="{8521A0B1-D78A-42EE-8D19-0EAF2197B5E8}"/>
                  </a:ext>
                </a:extLst>
              </p:cNvPr>
              <p:cNvGrpSpPr/>
              <p:nvPr/>
            </p:nvGrpSpPr>
            <p:grpSpPr>
              <a:xfrm>
                <a:off x="3927023" y="5182532"/>
                <a:ext cx="110215" cy="202903"/>
                <a:chOff x="1758507" y="5170209"/>
                <a:chExt cx="156925" cy="285896"/>
              </a:xfrm>
            </p:grpSpPr>
            <p:sp>
              <p:nvSpPr>
                <p:cNvPr id="1410" name="Rektangel 1409">
                  <a:extLst>
                    <a:ext uri="{FF2B5EF4-FFF2-40B4-BE49-F238E27FC236}">
                      <a16:creationId xmlns:a16="http://schemas.microsoft.com/office/drawing/2014/main" id="{26CB76AB-6C12-4F77-A2B0-2F73DA4E925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1" name="Lige forbindelse 1410">
                  <a:extLst>
                    <a:ext uri="{FF2B5EF4-FFF2-40B4-BE49-F238E27FC236}">
                      <a16:creationId xmlns:a16="http://schemas.microsoft.com/office/drawing/2014/main" id="{ABCB706A-8A85-4948-B37D-8DB3151E82AC}"/>
                    </a:ext>
                  </a:extLst>
                </p:cNvPr>
                <p:cNvCxnSpPr>
                  <a:cxnSpLocks/>
                  <a:stCxn id="1410" idx="0"/>
                  <a:endCxn id="141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2" name="Lige forbindelse 1411">
                  <a:extLst>
                    <a:ext uri="{FF2B5EF4-FFF2-40B4-BE49-F238E27FC236}">
                      <a16:creationId xmlns:a16="http://schemas.microsoft.com/office/drawing/2014/main" id="{E8F29C79-857B-4FFA-8A17-F410E254438A}"/>
                    </a:ext>
                  </a:extLst>
                </p:cNvPr>
                <p:cNvCxnSpPr>
                  <a:cxnSpLocks/>
                  <a:stCxn id="1410" idx="1"/>
                  <a:endCxn id="141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3" name="Gruppe 1132">
                <a:extLst>
                  <a:ext uri="{FF2B5EF4-FFF2-40B4-BE49-F238E27FC236}">
                    <a16:creationId xmlns:a16="http://schemas.microsoft.com/office/drawing/2014/main" id="{061A2F66-8F84-458C-8FEA-410E6E9A613F}"/>
                  </a:ext>
                </a:extLst>
              </p:cNvPr>
              <p:cNvGrpSpPr/>
              <p:nvPr/>
            </p:nvGrpSpPr>
            <p:grpSpPr>
              <a:xfrm>
                <a:off x="4117913" y="5182532"/>
                <a:ext cx="110215" cy="202903"/>
                <a:chOff x="1758507" y="5170209"/>
                <a:chExt cx="156925" cy="285896"/>
              </a:xfrm>
            </p:grpSpPr>
            <p:sp>
              <p:nvSpPr>
                <p:cNvPr id="1407" name="Rektangel 1406">
                  <a:extLst>
                    <a:ext uri="{FF2B5EF4-FFF2-40B4-BE49-F238E27FC236}">
                      <a16:creationId xmlns:a16="http://schemas.microsoft.com/office/drawing/2014/main" id="{6EDE93FD-424B-4800-92D4-B500B175B2A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8" name="Lige forbindelse 1407">
                  <a:extLst>
                    <a:ext uri="{FF2B5EF4-FFF2-40B4-BE49-F238E27FC236}">
                      <a16:creationId xmlns:a16="http://schemas.microsoft.com/office/drawing/2014/main" id="{0F4A8B31-4815-4F90-8FD9-7477C99C9B02}"/>
                    </a:ext>
                  </a:extLst>
                </p:cNvPr>
                <p:cNvCxnSpPr>
                  <a:cxnSpLocks/>
                  <a:stCxn id="1407" idx="0"/>
                  <a:endCxn id="140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9" name="Lige forbindelse 1408">
                  <a:extLst>
                    <a:ext uri="{FF2B5EF4-FFF2-40B4-BE49-F238E27FC236}">
                      <a16:creationId xmlns:a16="http://schemas.microsoft.com/office/drawing/2014/main" id="{0C9EC5E3-522E-4E71-8D64-12A846F9437E}"/>
                    </a:ext>
                  </a:extLst>
                </p:cNvPr>
                <p:cNvCxnSpPr>
                  <a:cxnSpLocks/>
                  <a:stCxn id="1407" idx="1"/>
                  <a:endCxn id="140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4" name="Gruppe 1133">
                <a:extLst>
                  <a:ext uri="{FF2B5EF4-FFF2-40B4-BE49-F238E27FC236}">
                    <a16:creationId xmlns:a16="http://schemas.microsoft.com/office/drawing/2014/main" id="{38DCE110-BA1E-4F95-8CC6-A22C9876D58C}"/>
                  </a:ext>
                </a:extLst>
              </p:cNvPr>
              <p:cNvGrpSpPr/>
              <p:nvPr/>
            </p:nvGrpSpPr>
            <p:grpSpPr>
              <a:xfrm>
                <a:off x="4308804" y="5182532"/>
                <a:ext cx="110215" cy="202903"/>
                <a:chOff x="1758507" y="5170209"/>
                <a:chExt cx="156925" cy="285896"/>
              </a:xfrm>
            </p:grpSpPr>
            <p:sp>
              <p:nvSpPr>
                <p:cNvPr id="1404" name="Rektangel 1403">
                  <a:extLst>
                    <a:ext uri="{FF2B5EF4-FFF2-40B4-BE49-F238E27FC236}">
                      <a16:creationId xmlns:a16="http://schemas.microsoft.com/office/drawing/2014/main" id="{BF7919A0-AD58-494C-9F7A-8293A8396D8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5" name="Lige forbindelse 1404">
                  <a:extLst>
                    <a:ext uri="{FF2B5EF4-FFF2-40B4-BE49-F238E27FC236}">
                      <a16:creationId xmlns:a16="http://schemas.microsoft.com/office/drawing/2014/main" id="{B6DCCE2B-F008-4450-993F-6650FFE9FB67}"/>
                    </a:ext>
                  </a:extLst>
                </p:cNvPr>
                <p:cNvCxnSpPr>
                  <a:cxnSpLocks/>
                  <a:stCxn id="1404" idx="0"/>
                  <a:endCxn id="140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6" name="Lige forbindelse 1405">
                  <a:extLst>
                    <a:ext uri="{FF2B5EF4-FFF2-40B4-BE49-F238E27FC236}">
                      <a16:creationId xmlns:a16="http://schemas.microsoft.com/office/drawing/2014/main" id="{73BE108E-291F-45F0-B871-0E0ED5AD7AF9}"/>
                    </a:ext>
                  </a:extLst>
                </p:cNvPr>
                <p:cNvCxnSpPr>
                  <a:cxnSpLocks/>
                  <a:stCxn id="1404" idx="1"/>
                  <a:endCxn id="140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5" name="Gruppe 1134">
                <a:extLst>
                  <a:ext uri="{FF2B5EF4-FFF2-40B4-BE49-F238E27FC236}">
                    <a16:creationId xmlns:a16="http://schemas.microsoft.com/office/drawing/2014/main" id="{768ED603-0606-46BB-A497-A5CD8A95D52E}"/>
                  </a:ext>
                </a:extLst>
              </p:cNvPr>
              <p:cNvGrpSpPr/>
              <p:nvPr/>
            </p:nvGrpSpPr>
            <p:grpSpPr>
              <a:xfrm>
                <a:off x="4499694" y="5182532"/>
                <a:ext cx="110215" cy="202903"/>
                <a:chOff x="1758507" y="5170209"/>
                <a:chExt cx="156925" cy="285896"/>
              </a:xfrm>
            </p:grpSpPr>
            <p:sp>
              <p:nvSpPr>
                <p:cNvPr id="1401" name="Rektangel 1400">
                  <a:extLst>
                    <a:ext uri="{FF2B5EF4-FFF2-40B4-BE49-F238E27FC236}">
                      <a16:creationId xmlns:a16="http://schemas.microsoft.com/office/drawing/2014/main" id="{CCFC28D1-08C0-483C-A2CA-BC41D23C59C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2" name="Lige forbindelse 1401">
                  <a:extLst>
                    <a:ext uri="{FF2B5EF4-FFF2-40B4-BE49-F238E27FC236}">
                      <a16:creationId xmlns:a16="http://schemas.microsoft.com/office/drawing/2014/main" id="{19F98070-DC4B-4821-8F19-DF3C00429037}"/>
                    </a:ext>
                  </a:extLst>
                </p:cNvPr>
                <p:cNvCxnSpPr>
                  <a:cxnSpLocks/>
                  <a:stCxn id="1401" idx="0"/>
                  <a:endCxn id="140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3" name="Lige forbindelse 1402">
                  <a:extLst>
                    <a:ext uri="{FF2B5EF4-FFF2-40B4-BE49-F238E27FC236}">
                      <a16:creationId xmlns:a16="http://schemas.microsoft.com/office/drawing/2014/main" id="{42BC7E8B-121D-4B08-B7A1-6BD5DC8871B8}"/>
                    </a:ext>
                  </a:extLst>
                </p:cNvPr>
                <p:cNvCxnSpPr>
                  <a:cxnSpLocks/>
                  <a:stCxn id="1401" idx="1"/>
                  <a:endCxn id="140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6" name="Gruppe 1135">
                <a:extLst>
                  <a:ext uri="{FF2B5EF4-FFF2-40B4-BE49-F238E27FC236}">
                    <a16:creationId xmlns:a16="http://schemas.microsoft.com/office/drawing/2014/main" id="{D4C5E83D-1A2F-4A2D-BDE6-6E339B865250}"/>
                  </a:ext>
                </a:extLst>
              </p:cNvPr>
              <p:cNvGrpSpPr/>
              <p:nvPr/>
            </p:nvGrpSpPr>
            <p:grpSpPr>
              <a:xfrm>
                <a:off x="4690585" y="5182532"/>
                <a:ext cx="110215" cy="202903"/>
                <a:chOff x="1758507" y="5170209"/>
                <a:chExt cx="156925" cy="285896"/>
              </a:xfrm>
            </p:grpSpPr>
            <p:sp>
              <p:nvSpPr>
                <p:cNvPr id="1398" name="Rektangel 1397">
                  <a:extLst>
                    <a:ext uri="{FF2B5EF4-FFF2-40B4-BE49-F238E27FC236}">
                      <a16:creationId xmlns:a16="http://schemas.microsoft.com/office/drawing/2014/main" id="{8B01DDFB-E29F-4B21-83A7-6E6408C908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9" name="Lige forbindelse 1398">
                  <a:extLst>
                    <a:ext uri="{FF2B5EF4-FFF2-40B4-BE49-F238E27FC236}">
                      <a16:creationId xmlns:a16="http://schemas.microsoft.com/office/drawing/2014/main" id="{9EB4C06B-BFD6-4437-8A15-032DC6ABEF5A}"/>
                    </a:ext>
                  </a:extLst>
                </p:cNvPr>
                <p:cNvCxnSpPr>
                  <a:cxnSpLocks/>
                  <a:stCxn id="1398" idx="0"/>
                  <a:endCxn id="139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0" name="Lige forbindelse 1399">
                  <a:extLst>
                    <a:ext uri="{FF2B5EF4-FFF2-40B4-BE49-F238E27FC236}">
                      <a16:creationId xmlns:a16="http://schemas.microsoft.com/office/drawing/2014/main" id="{2235F307-4744-4CC9-A8D7-55A9F75B216C}"/>
                    </a:ext>
                  </a:extLst>
                </p:cNvPr>
                <p:cNvCxnSpPr>
                  <a:cxnSpLocks/>
                  <a:stCxn id="1398" idx="1"/>
                  <a:endCxn id="139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7" name="Gruppe 1136">
                <a:extLst>
                  <a:ext uri="{FF2B5EF4-FFF2-40B4-BE49-F238E27FC236}">
                    <a16:creationId xmlns:a16="http://schemas.microsoft.com/office/drawing/2014/main" id="{325EE618-B168-48DE-BA9B-EC00A85AC70B}"/>
                  </a:ext>
                </a:extLst>
              </p:cNvPr>
              <p:cNvGrpSpPr/>
              <p:nvPr/>
            </p:nvGrpSpPr>
            <p:grpSpPr>
              <a:xfrm>
                <a:off x="4881475" y="5182532"/>
                <a:ext cx="110215" cy="202903"/>
                <a:chOff x="1758507" y="5170209"/>
                <a:chExt cx="156925" cy="285896"/>
              </a:xfrm>
            </p:grpSpPr>
            <p:sp>
              <p:nvSpPr>
                <p:cNvPr id="1395" name="Rektangel 1394">
                  <a:extLst>
                    <a:ext uri="{FF2B5EF4-FFF2-40B4-BE49-F238E27FC236}">
                      <a16:creationId xmlns:a16="http://schemas.microsoft.com/office/drawing/2014/main" id="{B00DB222-B877-418C-AFCB-4B9ACE8C562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6" name="Lige forbindelse 1395">
                  <a:extLst>
                    <a:ext uri="{FF2B5EF4-FFF2-40B4-BE49-F238E27FC236}">
                      <a16:creationId xmlns:a16="http://schemas.microsoft.com/office/drawing/2014/main" id="{E3C22B44-0791-490E-955B-44E28647D9E1}"/>
                    </a:ext>
                  </a:extLst>
                </p:cNvPr>
                <p:cNvCxnSpPr>
                  <a:cxnSpLocks/>
                  <a:stCxn id="1395" idx="0"/>
                  <a:endCxn id="139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7" name="Lige forbindelse 1396">
                  <a:extLst>
                    <a:ext uri="{FF2B5EF4-FFF2-40B4-BE49-F238E27FC236}">
                      <a16:creationId xmlns:a16="http://schemas.microsoft.com/office/drawing/2014/main" id="{7D5FC74D-4BF6-46CA-BF0E-77626BDB4FEB}"/>
                    </a:ext>
                  </a:extLst>
                </p:cNvPr>
                <p:cNvCxnSpPr>
                  <a:cxnSpLocks/>
                  <a:stCxn id="1395" idx="1"/>
                  <a:endCxn id="139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8" name="Gruppe 1137">
                <a:extLst>
                  <a:ext uri="{FF2B5EF4-FFF2-40B4-BE49-F238E27FC236}">
                    <a16:creationId xmlns:a16="http://schemas.microsoft.com/office/drawing/2014/main" id="{102FE221-0462-41FB-AE08-270523BF9264}"/>
                  </a:ext>
                </a:extLst>
              </p:cNvPr>
              <p:cNvGrpSpPr/>
              <p:nvPr/>
            </p:nvGrpSpPr>
            <p:grpSpPr>
              <a:xfrm>
                <a:off x="5072366" y="5182532"/>
                <a:ext cx="110215" cy="202903"/>
                <a:chOff x="1758507" y="5170209"/>
                <a:chExt cx="156925" cy="285896"/>
              </a:xfrm>
            </p:grpSpPr>
            <p:sp>
              <p:nvSpPr>
                <p:cNvPr id="1392" name="Rektangel 1391">
                  <a:extLst>
                    <a:ext uri="{FF2B5EF4-FFF2-40B4-BE49-F238E27FC236}">
                      <a16:creationId xmlns:a16="http://schemas.microsoft.com/office/drawing/2014/main" id="{654D955F-6C73-4958-BE76-EB3B7D444E3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3" name="Lige forbindelse 1392">
                  <a:extLst>
                    <a:ext uri="{FF2B5EF4-FFF2-40B4-BE49-F238E27FC236}">
                      <a16:creationId xmlns:a16="http://schemas.microsoft.com/office/drawing/2014/main" id="{C7EF3906-8800-4B0D-B33D-8FB7EDD90DC3}"/>
                    </a:ext>
                  </a:extLst>
                </p:cNvPr>
                <p:cNvCxnSpPr>
                  <a:cxnSpLocks/>
                  <a:stCxn id="1392" idx="0"/>
                  <a:endCxn id="139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4" name="Lige forbindelse 1393">
                  <a:extLst>
                    <a:ext uri="{FF2B5EF4-FFF2-40B4-BE49-F238E27FC236}">
                      <a16:creationId xmlns:a16="http://schemas.microsoft.com/office/drawing/2014/main" id="{FCC50684-74FD-464A-A592-2BD8011F2E85}"/>
                    </a:ext>
                  </a:extLst>
                </p:cNvPr>
                <p:cNvCxnSpPr>
                  <a:cxnSpLocks/>
                  <a:stCxn id="1392" idx="1"/>
                  <a:endCxn id="139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9" name="Gruppe 1138">
                <a:extLst>
                  <a:ext uri="{FF2B5EF4-FFF2-40B4-BE49-F238E27FC236}">
                    <a16:creationId xmlns:a16="http://schemas.microsoft.com/office/drawing/2014/main" id="{745270F1-57E8-4335-B792-7E9377386212}"/>
                  </a:ext>
                </a:extLst>
              </p:cNvPr>
              <p:cNvGrpSpPr/>
              <p:nvPr/>
            </p:nvGrpSpPr>
            <p:grpSpPr>
              <a:xfrm>
                <a:off x="5263257" y="5182532"/>
                <a:ext cx="110215" cy="202903"/>
                <a:chOff x="1758507" y="5170209"/>
                <a:chExt cx="156925" cy="285896"/>
              </a:xfrm>
            </p:grpSpPr>
            <p:sp>
              <p:nvSpPr>
                <p:cNvPr id="1389" name="Rektangel 1388">
                  <a:extLst>
                    <a:ext uri="{FF2B5EF4-FFF2-40B4-BE49-F238E27FC236}">
                      <a16:creationId xmlns:a16="http://schemas.microsoft.com/office/drawing/2014/main" id="{3D401F5C-7176-4E5D-97EC-49188D8AA2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0" name="Lige forbindelse 1389">
                  <a:extLst>
                    <a:ext uri="{FF2B5EF4-FFF2-40B4-BE49-F238E27FC236}">
                      <a16:creationId xmlns:a16="http://schemas.microsoft.com/office/drawing/2014/main" id="{92C50227-8BB7-439A-87D1-3BF986A51D7C}"/>
                    </a:ext>
                  </a:extLst>
                </p:cNvPr>
                <p:cNvCxnSpPr>
                  <a:cxnSpLocks/>
                  <a:stCxn id="1389" idx="0"/>
                  <a:endCxn id="138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1" name="Lige forbindelse 1390">
                  <a:extLst>
                    <a:ext uri="{FF2B5EF4-FFF2-40B4-BE49-F238E27FC236}">
                      <a16:creationId xmlns:a16="http://schemas.microsoft.com/office/drawing/2014/main" id="{E2AECA9A-698B-4E17-9311-A4331049203B}"/>
                    </a:ext>
                  </a:extLst>
                </p:cNvPr>
                <p:cNvCxnSpPr>
                  <a:cxnSpLocks/>
                  <a:stCxn id="1389" idx="1"/>
                  <a:endCxn id="138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0" name="Gruppe 1139">
                <a:extLst>
                  <a:ext uri="{FF2B5EF4-FFF2-40B4-BE49-F238E27FC236}">
                    <a16:creationId xmlns:a16="http://schemas.microsoft.com/office/drawing/2014/main" id="{2176AA85-BC53-4D32-A560-E5421DEFFAD2}"/>
                  </a:ext>
                </a:extLst>
              </p:cNvPr>
              <p:cNvGrpSpPr/>
              <p:nvPr/>
            </p:nvGrpSpPr>
            <p:grpSpPr>
              <a:xfrm>
                <a:off x="5454147" y="5182532"/>
                <a:ext cx="110215" cy="202903"/>
                <a:chOff x="1758507" y="5170209"/>
                <a:chExt cx="156925" cy="285896"/>
              </a:xfrm>
            </p:grpSpPr>
            <p:sp>
              <p:nvSpPr>
                <p:cNvPr id="1386" name="Rektangel 1385">
                  <a:extLst>
                    <a:ext uri="{FF2B5EF4-FFF2-40B4-BE49-F238E27FC236}">
                      <a16:creationId xmlns:a16="http://schemas.microsoft.com/office/drawing/2014/main" id="{99735080-D9B7-4407-9EFA-E5481AF64A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7" name="Lige forbindelse 1386">
                  <a:extLst>
                    <a:ext uri="{FF2B5EF4-FFF2-40B4-BE49-F238E27FC236}">
                      <a16:creationId xmlns:a16="http://schemas.microsoft.com/office/drawing/2014/main" id="{C47F06CF-9FFD-451D-9511-67CCD71D1E18}"/>
                    </a:ext>
                  </a:extLst>
                </p:cNvPr>
                <p:cNvCxnSpPr>
                  <a:cxnSpLocks/>
                  <a:stCxn id="1386" idx="0"/>
                  <a:endCxn id="138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8" name="Lige forbindelse 1387">
                  <a:extLst>
                    <a:ext uri="{FF2B5EF4-FFF2-40B4-BE49-F238E27FC236}">
                      <a16:creationId xmlns:a16="http://schemas.microsoft.com/office/drawing/2014/main" id="{E218E285-0B0E-44E6-BAD1-CEEC5A871EF6}"/>
                    </a:ext>
                  </a:extLst>
                </p:cNvPr>
                <p:cNvCxnSpPr>
                  <a:cxnSpLocks/>
                  <a:stCxn id="1386" idx="1"/>
                  <a:endCxn id="138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1" name="Gruppe 1140">
                <a:extLst>
                  <a:ext uri="{FF2B5EF4-FFF2-40B4-BE49-F238E27FC236}">
                    <a16:creationId xmlns:a16="http://schemas.microsoft.com/office/drawing/2014/main" id="{D29529DA-BDC2-4B67-9C34-0BF86EC8186A}"/>
                  </a:ext>
                </a:extLst>
              </p:cNvPr>
              <p:cNvGrpSpPr/>
              <p:nvPr/>
            </p:nvGrpSpPr>
            <p:grpSpPr>
              <a:xfrm>
                <a:off x="5645037" y="5182532"/>
                <a:ext cx="110215" cy="202903"/>
                <a:chOff x="1758507" y="5170209"/>
                <a:chExt cx="156925" cy="285896"/>
              </a:xfrm>
            </p:grpSpPr>
            <p:sp>
              <p:nvSpPr>
                <p:cNvPr id="1383" name="Rektangel 1382">
                  <a:extLst>
                    <a:ext uri="{FF2B5EF4-FFF2-40B4-BE49-F238E27FC236}">
                      <a16:creationId xmlns:a16="http://schemas.microsoft.com/office/drawing/2014/main" id="{2545ABAA-5B56-4BBA-99B8-1716A21CA72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4" name="Lige forbindelse 1383">
                  <a:extLst>
                    <a:ext uri="{FF2B5EF4-FFF2-40B4-BE49-F238E27FC236}">
                      <a16:creationId xmlns:a16="http://schemas.microsoft.com/office/drawing/2014/main" id="{6D84AAE5-9E0D-4704-A0D6-A39321473CBF}"/>
                    </a:ext>
                  </a:extLst>
                </p:cNvPr>
                <p:cNvCxnSpPr>
                  <a:cxnSpLocks/>
                  <a:stCxn id="1383" idx="0"/>
                  <a:endCxn id="138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5" name="Lige forbindelse 1384">
                  <a:extLst>
                    <a:ext uri="{FF2B5EF4-FFF2-40B4-BE49-F238E27FC236}">
                      <a16:creationId xmlns:a16="http://schemas.microsoft.com/office/drawing/2014/main" id="{A53A1066-2AC9-4E37-9DDD-202E6E09309B}"/>
                    </a:ext>
                  </a:extLst>
                </p:cNvPr>
                <p:cNvCxnSpPr>
                  <a:cxnSpLocks/>
                  <a:stCxn id="1383" idx="1"/>
                  <a:endCxn id="138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2" name="Gruppe 1141">
                <a:extLst>
                  <a:ext uri="{FF2B5EF4-FFF2-40B4-BE49-F238E27FC236}">
                    <a16:creationId xmlns:a16="http://schemas.microsoft.com/office/drawing/2014/main" id="{DDBD305C-4DE5-4D91-B124-F4ACF8B6DA91}"/>
                  </a:ext>
                </a:extLst>
              </p:cNvPr>
              <p:cNvGrpSpPr/>
              <p:nvPr/>
            </p:nvGrpSpPr>
            <p:grpSpPr>
              <a:xfrm>
                <a:off x="5835932" y="5182532"/>
                <a:ext cx="110215" cy="202903"/>
                <a:chOff x="1758507" y="5170209"/>
                <a:chExt cx="156925" cy="285896"/>
              </a:xfrm>
            </p:grpSpPr>
            <p:sp>
              <p:nvSpPr>
                <p:cNvPr id="1380" name="Rektangel 1379">
                  <a:extLst>
                    <a:ext uri="{FF2B5EF4-FFF2-40B4-BE49-F238E27FC236}">
                      <a16:creationId xmlns:a16="http://schemas.microsoft.com/office/drawing/2014/main" id="{EE6CD71C-2F4A-47FE-9828-8199568111F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1" name="Lige forbindelse 1380">
                  <a:extLst>
                    <a:ext uri="{FF2B5EF4-FFF2-40B4-BE49-F238E27FC236}">
                      <a16:creationId xmlns:a16="http://schemas.microsoft.com/office/drawing/2014/main" id="{C78B02C0-6997-4D7B-A7F7-DC419232B46B}"/>
                    </a:ext>
                  </a:extLst>
                </p:cNvPr>
                <p:cNvCxnSpPr>
                  <a:cxnSpLocks/>
                  <a:stCxn id="1380" idx="0"/>
                  <a:endCxn id="138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2" name="Lige forbindelse 1381">
                  <a:extLst>
                    <a:ext uri="{FF2B5EF4-FFF2-40B4-BE49-F238E27FC236}">
                      <a16:creationId xmlns:a16="http://schemas.microsoft.com/office/drawing/2014/main" id="{FB544A2A-5B99-48CF-9C99-6461F57E417A}"/>
                    </a:ext>
                  </a:extLst>
                </p:cNvPr>
                <p:cNvCxnSpPr>
                  <a:cxnSpLocks/>
                  <a:stCxn id="1380" idx="1"/>
                  <a:endCxn id="138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3" name="Gruppe 1142">
                <a:extLst>
                  <a:ext uri="{FF2B5EF4-FFF2-40B4-BE49-F238E27FC236}">
                    <a16:creationId xmlns:a16="http://schemas.microsoft.com/office/drawing/2014/main" id="{9978B56A-DF82-47C8-AD3F-645894112701}"/>
                  </a:ext>
                </a:extLst>
              </p:cNvPr>
              <p:cNvGrpSpPr/>
              <p:nvPr/>
            </p:nvGrpSpPr>
            <p:grpSpPr>
              <a:xfrm>
                <a:off x="1827227" y="5428729"/>
                <a:ext cx="110215" cy="202903"/>
                <a:chOff x="1758507" y="5170209"/>
                <a:chExt cx="156925" cy="285896"/>
              </a:xfrm>
            </p:grpSpPr>
            <p:sp>
              <p:nvSpPr>
                <p:cNvPr id="1377" name="Rektangel 1376">
                  <a:extLst>
                    <a:ext uri="{FF2B5EF4-FFF2-40B4-BE49-F238E27FC236}">
                      <a16:creationId xmlns:a16="http://schemas.microsoft.com/office/drawing/2014/main" id="{D4091FA2-3CF8-449A-B505-AC7AE488BA0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8" name="Lige forbindelse 1377">
                  <a:extLst>
                    <a:ext uri="{FF2B5EF4-FFF2-40B4-BE49-F238E27FC236}">
                      <a16:creationId xmlns:a16="http://schemas.microsoft.com/office/drawing/2014/main" id="{94FF44CF-440D-416D-961E-329F9687070D}"/>
                    </a:ext>
                  </a:extLst>
                </p:cNvPr>
                <p:cNvCxnSpPr>
                  <a:cxnSpLocks/>
                  <a:stCxn id="1377" idx="0"/>
                  <a:endCxn id="137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9" name="Lige forbindelse 1378">
                  <a:extLst>
                    <a:ext uri="{FF2B5EF4-FFF2-40B4-BE49-F238E27FC236}">
                      <a16:creationId xmlns:a16="http://schemas.microsoft.com/office/drawing/2014/main" id="{1E1480A6-3E4D-4EE6-A302-45FF4A35A691}"/>
                    </a:ext>
                  </a:extLst>
                </p:cNvPr>
                <p:cNvCxnSpPr>
                  <a:cxnSpLocks/>
                  <a:stCxn id="1377" idx="1"/>
                  <a:endCxn id="137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4" name="Gruppe 1143">
                <a:extLst>
                  <a:ext uri="{FF2B5EF4-FFF2-40B4-BE49-F238E27FC236}">
                    <a16:creationId xmlns:a16="http://schemas.microsoft.com/office/drawing/2014/main" id="{9C8B8F91-2B8C-4E0C-8B65-4AF172140B0A}"/>
                  </a:ext>
                </a:extLst>
              </p:cNvPr>
              <p:cNvGrpSpPr/>
              <p:nvPr/>
            </p:nvGrpSpPr>
            <p:grpSpPr>
              <a:xfrm>
                <a:off x="2018117" y="5428729"/>
                <a:ext cx="110215" cy="202903"/>
                <a:chOff x="1758507" y="5170209"/>
                <a:chExt cx="156925" cy="285896"/>
              </a:xfrm>
            </p:grpSpPr>
            <p:sp>
              <p:nvSpPr>
                <p:cNvPr id="1374" name="Rektangel 1373">
                  <a:extLst>
                    <a:ext uri="{FF2B5EF4-FFF2-40B4-BE49-F238E27FC236}">
                      <a16:creationId xmlns:a16="http://schemas.microsoft.com/office/drawing/2014/main" id="{EF9AA947-649A-4C66-8968-809480FDFCD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5" name="Lige forbindelse 1374">
                  <a:extLst>
                    <a:ext uri="{FF2B5EF4-FFF2-40B4-BE49-F238E27FC236}">
                      <a16:creationId xmlns:a16="http://schemas.microsoft.com/office/drawing/2014/main" id="{F3970551-0F99-422C-A4F7-25591F739E36}"/>
                    </a:ext>
                  </a:extLst>
                </p:cNvPr>
                <p:cNvCxnSpPr>
                  <a:cxnSpLocks/>
                  <a:stCxn id="1374" idx="0"/>
                  <a:endCxn id="137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6" name="Lige forbindelse 1375">
                  <a:extLst>
                    <a:ext uri="{FF2B5EF4-FFF2-40B4-BE49-F238E27FC236}">
                      <a16:creationId xmlns:a16="http://schemas.microsoft.com/office/drawing/2014/main" id="{EC8CC92C-9D88-46C4-A8BF-3069204751D5}"/>
                    </a:ext>
                  </a:extLst>
                </p:cNvPr>
                <p:cNvCxnSpPr>
                  <a:cxnSpLocks/>
                  <a:stCxn id="1374" idx="1"/>
                  <a:endCxn id="137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5" name="Gruppe 1144">
                <a:extLst>
                  <a:ext uri="{FF2B5EF4-FFF2-40B4-BE49-F238E27FC236}">
                    <a16:creationId xmlns:a16="http://schemas.microsoft.com/office/drawing/2014/main" id="{4C71F9E1-5ED2-4246-98A7-F4F0DED6A69D}"/>
                  </a:ext>
                </a:extLst>
              </p:cNvPr>
              <p:cNvGrpSpPr/>
              <p:nvPr/>
            </p:nvGrpSpPr>
            <p:grpSpPr>
              <a:xfrm>
                <a:off x="2209008" y="5428729"/>
                <a:ext cx="110215" cy="202903"/>
                <a:chOff x="1758507" y="5170209"/>
                <a:chExt cx="156925" cy="285896"/>
              </a:xfrm>
            </p:grpSpPr>
            <p:sp>
              <p:nvSpPr>
                <p:cNvPr id="1371" name="Rektangel 1370">
                  <a:extLst>
                    <a:ext uri="{FF2B5EF4-FFF2-40B4-BE49-F238E27FC236}">
                      <a16:creationId xmlns:a16="http://schemas.microsoft.com/office/drawing/2014/main" id="{A150050E-0FCB-40C1-8B20-3F976DADC6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2" name="Lige forbindelse 1371">
                  <a:extLst>
                    <a:ext uri="{FF2B5EF4-FFF2-40B4-BE49-F238E27FC236}">
                      <a16:creationId xmlns:a16="http://schemas.microsoft.com/office/drawing/2014/main" id="{C54E0F15-F00F-4894-9F72-420A3C0708BB}"/>
                    </a:ext>
                  </a:extLst>
                </p:cNvPr>
                <p:cNvCxnSpPr>
                  <a:cxnSpLocks/>
                  <a:stCxn id="1371" idx="0"/>
                  <a:endCxn id="137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3" name="Lige forbindelse 1372">
                  <a:extLst>
                    <a:ext uri="{FF2B5EF4-FFF2-40B4-BE49-F238E27FC236}">
                      <a16:creationId xmlns:a16="http://schemas.microsoft.com/office/drawing/2014/main" id="{7E924D2F-29EA-43D7-A263-501025DDDDC5}"/>
                    </a:ext>
                  </a:extLst>
                </p:cNvPr>
                <p:cNvCxnSpPr>
                  <a:cxnSpLocks/>
                  <a:stCxn id="1371" idx="1"/>
                  <a:endCxn id="137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6" name="Gruppe 1145">
                <a:extLst>
                  <a:ext uri="{FF2B5EF4-FFF2-40B4-BE49-F238E27FC236}">
                    <a16:creationId xmlns:a16="http://schemas.microsoft.com/office/drawing/2014/main" id="{5E2B6AAD-1A09-4C97-9234-281AB6101609}"/>
                  </a:ext>
                </a:extLst>
              </p:cNvPr>
              <p:cNvGrpSpPr/>
              <p:nvPr/>
            </p:nvGrpSpPr>
            <p:grpSpPr>
              <a:xfrm>
                <a:off x="2399898" y="5428729"/>
                <a:ext cx="110215" cy="202903"/>
                <a:chOff x="1758507" y="5170209"/>
                <a:chExt cx="156925" cy="285896"/>
              </a:xfrm>
            </p:grpSpPr>
            <p:sp>
              <p:nvSpPr>
                <p:cNvPr id="1368" name="Rektangel 1367">
                  <a:extLst>
                    <a:ext uri="{FF2B5EF4-FFF2-40B4-BE49-F238E27FC236}">
                      <a16:creationId xmlns:a16="http://schemas.microsoft.com/office/drawing/2014/main" id="{9E11F393-0639-4C29-ACCF-F2EFEA218EC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9" name="Lige forbindelse 1368">
                  <a:extLst>
                    <a:ext uri="{FF2B5EF4-FFF2-40B4-BE49-F238E27FC236}">
                      <a16:creationId xmlns:a16="http://schemas.microsoft.com/office/drawing/2014/main" id="{476958E9-B4F8-4B72-AD3D-F0C0FC4CBB8E}"/>
                    </a:ext>
                  </a:extLst>
                </p:cNvPr>
                <p:cNvCxnSpPr>
                  <a:cxnSpLocks/>
                  <a:stCxn id="1368" idx="0"/>
                  <a:endCxn id="136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0" name="Lige forbindelse 1369">
                  <a:extLst>
                    <a:ext uri="{FF2B5EF4-FFF2-40B4-BE49-F238E27FC236}">
                      <a16:creationId xmlns:a16="http://schemas.microsoft.com/office/drawing/2014/main" id="{19A4570C-D192-4D99-BFA8-949BB2A4D11D}"/>
                    </a:ext>
                  </a:extLst>
                </p:cNvPr>
                <p:cNvCxnSpPr>
                  <a:cxnSpLocks/>
                  <a:stCxn id="1368" idx="1"/>
                  <a:endCxn id="136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7" name="Gruppe 1146">
                <a:extLst>
                  <a:ext uri="{FF2B5EF4-FFF2-40B4-BE49-F238E27FC236}">
                    <a16:creationId xmlns:a16="http://schemas.microsoft.com/office/drawing/2014/main" id="{991B778E-260E-4C65-BFB4-953EE393B141}"/>
                  </a:ext>
                </a:extLst>
              </p:cNvPr>
              <p:cNvGrpSpPr/>
              <p:nvPr/>
            </p:nvGrpSpPr>
            <p:grpSpPr>
              <a:xfrm>
                <a:off x="2590789" y="5428729"/>
                <a:ext cx="110215" cy="202903"/>
                <a:chOff x="1758507" y="5170209"/>
                <a:chExt cx="156925" cy="285896"/>
              </a:xfrm>
            </p:grpSpPr>
            <p:sp>
              <p:nvSpPr>
                <p:cNvPr id="1365" name="Rektangel 1364">
                  <a:extLst>
                    <a:ext uri="{FF2B5EF4-FFF2-40B4-BE49-F238E27FC236}">
                      <a16:creationId xmlns:a16="http://schemas.microsoft.com/office/drawing/2014/main" id="{C187E723-4737-48E4-AD46-7134427DAD7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6" name="Lige forbindelse 1365">
                  <a:extLst>
                    <a:ext uri="{FF2B5EF4-FFF2-40B4-BE49-F238E27FC236}">
                      <a16:creationId xmlns:a16="http://schemas.microsoft.com/office/drawing/2014/main" id="{AB2AB432-550E-4996-855A-467A10F08B84}"/>
                    </a:ext>
                  </a:extLst>
                </p:cNvPr>
                <p:cNvCxnSpPr>
                  <a:cxnSpLocks/>
                  <a:stCxn id="1365" idx="0"/>
                  <a:endCxn id="1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7" name="Lige forbindelse 1366">
                  <a:extLst>
                    <a:ext uri="{FF2B5EF4-FFF2-40B4-BE49-F238E27FC236}">
                      <a16:creationId xmlns:a16="http://schemas.microsoft.com/office/drawing/2014/main" id="{9A2AE9FE-E208-4165-B2FD-B4169B9FC6CD}"/>
                    </a:ext>
                  </a:extLst>
                </p:cNvPr>
                <p:cNvCxnSpPr>
                  <a:cxnSpLocks/>
                  <a:stCxn id="1365" idx="1"/>
                  <a:endCxn id="1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8" name="Gruppe 1147">
                <a:extLst>
                  <a:ext uri="{FF2B5EF4-FFF2-40B4-BE49-F238E27FC236}">
                    <a16:creationId xmlns:a16="http://schemas.microsoft.com/office/drawing/2014/main" id="{B922086A-99AD-4CF3-AAF3-CE28455663D1}"/>
                  </a:ext>
                </a:extLst>
              </p:cNvPr>
              <p:cNvGrpSpPr/>
              <p:nvPr/>
            </p:nvGrpSpPr>
            <p:grpSpPr>
              <a:xfrm>
                <a:off x="2781680" y="5428729"/>
                <a:ext cx="110215" cy="202903"/>
                <a:chOff x="1758507" y="5170209"/>
                <a:chExt cx="156925" cy="285896"/>
              </a:xfrm>
            </p:grpSpPr>
            <p:sp>
              <p:nvSpPr>
                <p:cNvPr id="1362" name="Rektangel 1361">
                  <a:extLst>
                    <a:ext uri="{FF2B5EF4-FFF2-40B4-BE49-F238E27FC236}">
                      <a16:creationId xmlns:a16="http://schemas.microsoft.com/office/drawing/2014/main" id="{81720B9F-A6AB-4E39-9735-0DDCE705D8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3" name="Lige forbindelse 1362">
                  <a:extLst>
                    <a:ext uri="{FF2B5EF4-FFF2-40B4-BE49-F238E27FC236}">
                      <a16:creationId xmlns:a16="http://schemas.microsoft.com/office/drawing/2014/main" id="{5112381A-3817-46FA-8D80-F727C1BA7BA5}"/>
                    </a:ext>
                  </a:extLst>
                </p:cNvPr>
                <p:cNvCxnSpPr>
                  <a:cxnSpLocks/>
                  <a:stCxn id="1362" idx="0"/>
                  <a:endCxn id="1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4" name="Lige forbindelse 1363">
                  <a:extLst>
                    <a:ext uri="{FF2B5EF4-FFF2-40B4-BE49-F238E27FC236}">
                      <a16:creationId xmlns:a16="http://schemas.microsoft.com/office/drawing/2014/main" id="{B31AF979-7572-422C-8DB9-64202CCBC3D8}"/>
                    </a:ext>
                  </a:extLst>
                </p:cNvPr>
                <p:cNvCxnSpPr>
                  <a:cxnSpLocks/>
                  <a:stCxn id="1362" idx="1"/>
                  <a:endCxn id="1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9" name="Gruppe 1148">
                <a:extLst>
                  <a:ext uri="{FF2B5EF4-FFF2-40B4-BE49-F238E27FC236}">
                    <a16:creationId xmlns:a16="http://schemas.microsoft.com/office/drawing/2014/main" id="{6B62459F-7CB9-4DEB-AD06-B403E6D37B08}"/>
                  </a:ext>
                </a:extLst>
              </p:cNvPr>
              <p:cNvGrpSpPr/>
              <p:nvPr/>
            </p:nvGrpSpPr>
            <p:grpSpPr>
              <a:xfrm>
                <a:off x="2972570" y="5428729"/>
                <a:ext cx="110215" cy="202903"/>
                <a:chOff x="1758507" y="5170209"/>
                <a:chExt cx="156925" cy="285896"/>
              </a:xfrm>
            </p:grpSpPr>
            <p:sp>
              <p:nvSpPr>
                <p:cNvPr id="1359" name="Rektangel 1358">
                  <a:extLst>
                    <a:ext uri="{FF2B5EF4-FFF2-40B4-BE49-F238E27FC236}">
                      <a16:creationId xmlns:a16="http://schemas.microsoft.com/office/drawing/2014/main" id="{6D099730-3FE2-4DB9-B544-1A870BFBF98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0" name="Lige forbindelse 1359">
                  <a:extLst>
                    <a:ext uri="{FF2B5EF4-FFF2-40B4-BE49-F238E27FC236}">
                      <a16:creationId xmlns:a16="http://schemas.microsoft.com/office/drawing/2014/main" id="{EE9608A7-024B-476F-B61C-7BC607511D9E}"/>
                    </a:ext>
                  </a:extLst>
                </p:cNvPr>
                <p:cNvCxnSpPr>
                  <a:cxnSpLocks/>
                  <a:stCxn id="1359" idx="0"/>
                  <a:endCxn id="1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1" name="Lige forbindelse 1360">
                  <a:extLst>
                    <a:ext uri="{FF2B5EF4-FFF2-40B4-BE49-F238E27FC236}">
                      <a16:creationId xmlns:a16="http://schemas.microsoft.com/office/drawing/2014/main" id="{71EDF0C9-3F81-41C3-9F00-25F2A4AA8349}"/>
                    </a:ext>
                  </a:extLst>
                </p:cNvPr>
                <p:cNvCxnSpPr>
                  <a:cxnSpLocks/>
                  <a:stCxn id="1359" idx="1"/>
                  <a:endCxn id="1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0" name="Gruppe 1149">
                <a:extLst>
                  <a:ext uri="{FF2B5EF4-FFF2-40B4-BE49-F238E27FC236}">
                    <a16:creationId xmlns:a16="http://schemas.microsoft.com/office/drawing/2014/main" id="{9D6FC104-2594-4361-AFB7-FDFC2A8C7FEC}"/>
                  </a:ext>
                </a:extLst>
              </p:cNvPr>
              <p:cNvGrpSpPr/>
              <p:nvPr/>
            </p:nvGrpSpPr>
            <p:grpSpPr>
              <a:xfrm>
                <a:off x="3163460" y="5428729"/>
                <a:ext cx="110215" cy="202903"/>
                <a:chOff x="1758507" y="5170209"/>
                <a:chExt cx="156925" cy="285896"/>
              </a:xfrm>
            </p:grpSpPr>
            <p:sp>
              <p:nvSpPr>
                <p:cNvPr id="1356" name="Rektangel 1355">
                  <a:extLst>
                    <a:ext uri="{FF2B5EF4-FFF2-40B4-BE49-F238E27FC236}">
                      <a16:creationId xmlns:a16="http://schemas.microsoft.com/office/drawing/2014/main" id="{A5DFA534-F0CF-47AB-A514-A95228AB02F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7" name="Lige forbindelse 1356">
                  <a:extLst>
                    <a:ext uri="{FF2B5EF4-FFF2-40B4-BE49-F238E27FC236}">
                      <a16:creationId xmlns:a16="http://schemas.microsoft.com/office/drawing/2014/main" id="{203BED39-A0EC-4E88-9891-247C60E51DBB}"/>
                    </a:ext>
                  </a:extLst>
                </p:cNvPr>
                <p:cNvCxnSpPr>
                  <a:cxnSpLocks/>
                  <a:stCxn id="1356" idx="0"/>
                  <a:endCxn id="1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8" name="Lige forbindelse 1357">
                  <a:extLst>
                    <a:ext uri="{FF2B5EF4-FFF2-40B4-BE49-F238E27FC236}">
                      <a16:creationId xmlns:a16="http://schemas.microsoft.com/office/drawing/2014/main" id="{EB36BA11-B8AA-49DC-95D2-A5BF35C1C2A1}"/>
                    </a:ext>
                  </a:extLst>
                </p:cNvPr>
                <p:cNvCxnSpPr>
                  <a:cxnSpLocks/>
                  <a:stCxn id="1356" idx="1"/>
                  <a:endCxn id="1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1" name="Gruppe 1150">
                <a:extLst>
                  <a:ext uri="{FF2B5EF4-FFF2-40B4-BE49-F238E27FC236}">
                    <a16:creationId xmlns:a16="http://schemas.microsoft.com/office/drawing/2014/main" id="{FA711DC3-A4DC-4B83-B90F-D2F4A59DCFDF}"/>
                  </a:ext>
                </a:extLst>
              </p:cNvPr>
              <p:cNvGrpSpPr/>
              <p:nvPr/>
            </p:nvGrpSpPr>
            <p:grpSpPr>
              <a:xfrm>
                <a:off x="3354351" y="5428729"/>
                <a:ext cx="110215" cy="202903"/>
                <a:chOff x="1758507" y="5170209"/>
                <a:chExt cx="156925" cy="285896"/>
              </a:xfrm>
            </p:grpSpPr>
            <p:sp>
              <p:nvSpPr>
                <p:cNvPr id="1353" name="Rektangel 1352">
                  <a:extLst>
                    <a:ext uri="{FF2B5EF4-FFF2-40B4-BE49-F238E27FC236}">
                      <a16:creationId xmlns:a16="http://schemas.microsoft.com/office/drawing/2014/main" id="{5CEF0FD1-FD87-4497-8CAE-B53DE5204FA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4" name="Lige forbindelse 1353">
                  <a:extLst>
                    <a:ext uri="{FF2B5EF4-FFF2-40B4-BE49-F238E27FC236}">
                      <a16:creationId xmlns:a16="http://schemas.microsoft.com/office/drawing/2014/main" id="{DB61C668-EBDC-49DB-BA13-47DBD5436748}"/>
                    </a:ext>
                  </a:extLst>
                </p:cNvPr>
                <p:cNvCxnSpPr>
                  <a:cxnSpLocks/>
                  <a:stCxn id="1353" idx="0"/>
                  <a:endCxn id="1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5" name="Lige forbindelse 1354">
                  <a:extLst>
                    <a:ext uri="{FF2B5EF4-FFF2-40B4-BE49-F238E27FC236}">
                      <a16:creationId xmlns:a16="http://schemas.microsoft.com/office/drawing/2014/main" id="{2DB16A33-F850-4E5E-8FD4-E6E19B577B98}"/>
                    </a:ext>
                  </a:extLst>
                </p:cNvPr>
                <p:cNvCxnSpPr>
                  <a:cxnSpLocks/>
                  <a:stCxn id="1353" idx="1"/>
                  <a:endCxn id="1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2" name="Gruppe 1151">
                <a:extLst>
                  <a:ext uri="{FF2B5EF4-FFF2-40B4-BE49-F238E27FC236}">
                    <a16:creationId xmlns:a16="http://schemas.microsoft.com/office/drawing/2014/main" id="{45293454-79CF-4C0E-A050-CA7D78F7D3E9}"/>
                  </a:ext>
                </a:extLst>
              </p:cNvPr>
              <p:cNvGrpSpPr/>
              <p:nvPr/>
            </p:nvGrpSpPr>
            <p:grpSpPr>
              <a:xfrm>
                <a:off x="3545241" y="5428729"/>
                <a:ext cx="110215" cy="202903"/>
                <a:chOff x="1758507" y="5170209"/>
                <a:chExt cx="156925" cy="285896"/>
              </a:xfrm>
            </p:grpSpPr>
            <p:sp>
              <p:nvSpPr>
                <p:cNvPr id="1350" name="Rektangel 1349">
                  <a:extLst>
                    <a:ext uri="{FF2B5EF4-FFF2-40B4-BE49-F238E27FC236}">
                      <a16:creationId xmlns:a16="http://schemas.microsoft.com/office/drawing/2014/main" id="{F4A4CC9D-5011-4810-B080-5002F4FC0C9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1" name="Lige forbindelse 1350">
                  <a:extLst>
                    <a:ext uri="{FF2B5EF4-FFF2-40B4-BE49-F238E27FC236}">
                      <a16:creationId xmlns:a16="http://schemas.microsoft.com/office/drawing/2014/main" id="{55D2A9A1-2432-4B55-BAA8-ACFAEE66E662}"/>
                    </a:ext>
                  </a:extLst>
                </p:cNvPr>
                <p:cNvCxnSpPr>
                  <a:cxnSpLocks/>
                  <a:stCxn id="1350" idx="0"/>
                  <a:endCxn id="1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2" name="Lige forbindelse 1351">
                  <a:extLst>
                    <a:ext uri="{FF2B5EF4-FFF2-40B4-BE49-F238E27FC236}">
                      <a16:creationId xmlns:a16="http://schemas.microsoft.com/office/drawing/2014/main" id="{E2CEF4E5-3440-4EFD-B248-53CA142BE5A0}"/>
                    </a:ext>
                  </a:extLst>
                </p:cNvPr>
                <p:cNvCxnSpPr>
                  <a:cxnSpLocks/>
                  <a:stCxn id="1350" idx="1"/>
                  <a:endCxn id="1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3" name="Gruppe 1152">
                <a:extLst>
                  <a:ext uri="{FF2B5EF4-FFF2-40B4-BE49-F238E27FC236}">
                    <a16:creationId xmlns:a16="http://schemas.microsoft.com/office/drawing/2014/main" id="{EBD0AC79-827B-4F15-80EF-AB59886DA3E2}"/>
                  </a:ext>
                </a:extLst>
              </p:cNvPr>
              <p:cNvGrpSpPr/>
              <p:nvPr/>
            </p:nvGrpSpPr>
            <p:grpSpPr>
              <a:xfrm>
                <a:off x="3736132" y="5428729"/>
                <a:ext cx="110215" cy="202903"/>
                <a:chOff x="1758507" y="5170209"/>
                <a:chExt cx="156925" cy="285896"/>
              </a:xfrm>
            </p:grpSpPr>
            <p:sp>
              <p:nvSpPr>
                <p:cNvPr id="1347" name="Rektangel 1346">
                  <a:extLst>
                    <a:ext uri="{FF2B5EF4-FFF2-40B4-BE49-F238E27FC236}">
                      <a16:creationId xmlns:a16="http://schemas.microsoft.com/office/drawing/2014/main" id="{2FD8866E-98D4-407E-A952-E0C040D8B4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8" name="Lige forbindelse 1347">
                  <a:extLst>
                    <a:ext uri="{FF2B5EF4-FFF2-40B4-BE49-F238E27FC236}">
                      <a16:creationId xmlns:a16="http://schemas.microsoft.com/office/drawing/2014/main" id="{6252E0D7-E18B-497F-A3C6-15AFD8FB4D86}"/>
                    </a:ext>
                  </a:extLst>
                </p:cNvPr>
                <p:cNvCxnSpPr>
                  <a:cxnSpLocks/>
                  <a:stCxn id="1347" idx="0"/>
                  <a:endCxn id="1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9" name="Lige forbindelse 1348">
                  <a:extLst>
                    <a:ext uri="{FF2B5EF4-FFF2-40B4-BE49-F238E27FC236}">
                      <a16:creationId xmlns:a16="http://schemas.microsoft.com/office/drawing/2014/main" id="{8FAB6378-B1CF-4FB5-9B0B-C9A0058AA925}"/>
                    </a:ext>
                  </a:extLst>
                </p:cNvPr>
                <p:cNvCxnSpPr>
                  <a:cxnSpLocks/>
                  <a:stCxn id="1347" idx="1"/>
                  <a:endCxn id="1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4" name="Gruppe 1153">
                <a:extLst>
                  <a:ext uri="{FF2B5EF4-FFF2-40B4-BE49-F238E27FC236}">
                    <a16:creationId xmlns:a16="http://schemas.microsoft.com/office/drawing/2014/main" id="{2903E009-9C6C-49E1-BA1A-25C20C2A6279}"/>
                  </a:ext>
                </a:extLst>
              </p:cNvPr>
              <p:cNvGrpSpPr/>
              <p:nvPr/>
            </p:nvGrpSpPr>
            <p:grpSpPr>
              <a:xfrm>
                <a:off x="3927023" y="5428729"/>
                <a:ext cx="110215" cy="202903"/>
                <a:chOff x="1758507" y="5170209"/>
                <a:chExt cx="156925" cy="285896"/>
              </a:xfrm>
            </p:grpSpPr>
            <p:sp>
              <p:nvSpPr>
                <p:cNvPr id="1344" name="Rektangel 1343">
                  <a:extLst>
                    <a:ext uri="{FF2B5EF4-FFF2-40B4-BE49-F238E27FC236}">
                      <a16:creationId xmlns:a16="http://schemas.microsoft.com/office/drawing/2014/main" id="{3D4F1BC0-D76E-4877-B19C-EAFF2504A7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5" name="Lige forbindelse 1344">
                  <a:extLst>
                    <a:ext uri="{FF2B5EF4-FFF2-40B4-BE49-F238E27FC236}">
                      <a16:creationId xmlns:a16="http://schemas.microsoft.com/office/drawing/2014/main" id="{B7FB3B0A-CD9E-4C06-8D45-2C8B57C82689}"/>
                    </a:ext>
                  </a:extLst>
                </p:cNvPr>
                <p:cNvCxnSpPr>
                  <a:cxnSpLocks/>
                  <a:stCxn id="1344" idx="0"/>
                  <a:endCxn id="1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6" name="Lige forbindelse 1345">
                  <a:extLst>
                    <a:ext uri="{FF2B5EF4-FFF2-40B4-BE49-F238E27FC236}">
                      <a16:creationId xmlns:a16="http://schemas.microsoft.com/office/drawing/2014/main" id="{C6FBB14B-439B-4481-8E3C-B059C124BF46}"/>
                    </a:ext>
                  </a:extLst>
                </p:cNvPr>
                <p:cNvCxnSpPr>
                  <a:cxnSpLocks/>
                  <a:stCxn id="1344" idx="1"/>
                  <a:endCxn id="1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5" name="Gruppe 1154">
                <a:extLst>
                  <a:ext uri="{FF2B5EF4-FFF2-40B4-BE49-F238E27FC236}">
                    <a16:creationId xmlns:a16="http://schemas.microsoft.com/office/drawing/2014/main" id="{238ADFD6-65E3-45F8-A613-68B37305D684}"/>
                  </a:ext>
                </a:extLst>
              </p:cNvPr>
              <p:cNvGrpSpPr/>
              <p:nvPr/>
            </p:nvGrpSpPr>
            <p:grpSpPr>
              <a:xfrm>
                <a:off x="4117913" y="5428729"/>
                <a:ext cx="110215" cy="202903"/>
                <a:chOff x="1758507" y="5170209"/>
                <a:chExt cx="156925" cy="285896"/>
              </a:xfrm>
            </p:grpSpPr>
            <p:sp>
              <p:nvSpPr>
                <p:cNvPr id="1341" name="Rektangel 1340">
                  <a:extLst>
                    <a:ext uri="{FF2B5EF4-FFF2-40B4-BE49-F238E27FC236}">
                      <a16:creationId xmlns:a16="http://schemas.microsoft.com/office/drawing/2014/main" id="{C300EFB8-8EA1-4FA8-9498-4A5D13DCA5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2" name="Lige forbindelse 1341">
                  <a:extLst>
                    <a:ext uri="{FF2B5EF4-FFF2-40B4-BE49-F238E27FC236}">
                      <a16:creationId xmlns:a16="http://schemas.microsoft.com/office/drawing/2014/main" id="{962AC972-41CC-47D0-A585-FD8382A91EF8}"/>
                    </a:ext>
                  </a:extLst>
                </p:cNvPr>
                <p:cNvCxnSpPr>
                  <a:cxnSpLocks/>
                  <a:stCxn id="1341" idx="0"/>
                  <a:endCxn id="1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3" name="Lige forbindelse 1342">
                  <a:extLst>
                    <a:ext uri="{FF2B5EF4-FFF2-40B4-BE49-F238E27FC236}">
                      <a16:creationId xmlns:a16="http://schemas.microsoft.com/office/drawing/2014/main" id="{1E98EFD1-91EC-4E61-95BC-560083C9EC8C}"/>
                    </a:ext>
                  </a:extLst>
                </p:cNvPr>
                <p:cNvCxnSpPr>
                  <a:cxnSpLocks/>
                  <a:stCxn id="1341" idx="1"/>
                  <a:endCxn id="1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6" name="Gruppe 1155">
                <a:extLst>
                  <a:ext uri="{FF2B5EF4-FFF2-40B4-BE49-F238E27FC236}">
                    <a16:creationId xmlns:a16="http://schemas.microsoft.com/office/drawing/2014/main" id="{688D1002-53DB-43C8-8456-82F994096A2D}"/>
                  </a:ext>
                </a:extLst>
              </p:cNvPr>
              <p:cNvGrpSpPr/>
              <p:nvPr/>
            </p:nvGrpSpPr>
            <p:grpSpPr>
              <a:xfrm>
                <a:off x="4308804" y="5428729"/>
                <a:ext cx="110215" cy="202903"/>
                <a:chOff x="1758507" y="5170209"/>
                <a:chExt cx="156925" cy="285896"/>
              </a:xfrm>
            </p:grpSpPr>
            <p:sp>
              <p:nvSpPr>
                <p:cNvPr id="1338" name="Rektangel 1337">
                  <a:extLst>
                    <a:ext uri="{FF2B5EF4-FFF2-40B4-BE49-F238E27FC236}">
                      <a16:creationId xmlns:a16="http://schemas.microsoft.com/office/drawing/2014/main" id="{643004A8-D33E-4F51-9CF4-20AD7592D4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9" name="Lige forbindelse 1338">
                  <a:extLst>
                    <a:ext uri="{FF2B5EF4-FFF2-40B4-BE49-F238E27FC236}">
                      <a16:creationId xmlns:a16="http://schemas.microsoft.com/office/drawing/2014/main" id="{FDD28C3A-A292-44F0-8EB8-62AD7C72772A}"/>
                    </a:ext>
                  </a:extLst>
                </p:cNvPr>
                <p:cNvCxnSpPr>
                  <a:cxnSpLocks/>
                  <a:stCxn id="1338" idx="0"/>
                  <a:endCxn id="1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0" name="Lige forbindelse 1339">
                  <a:extLst>
                    <a:ext uri="{FF2B5EF4-FFF2-40B4-BE49-F238E27FC236}">
                      <a16:creationId xmlns:a16="http://schemas.microsoft.com/office/drawing/2014/main" id="{FF242F9B-3454-49A0-8016-7CCFC7722E69}"/>
                    </a:ext>
                  </a:extLst>
                </p:cNvPr>
                <p:cNvCxnSpPr>
                  <a:cxnSpLocks/>
                  <a:stCxn id="1338" idx="1"/>
                  <a:endCxn id="1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7" name="Gruppe 1156">
                <a:extLst>
                  <a:ext uri="{FF2B5EF4-FFF2-40B4-BE49-F238E27FC236}">
                    <a16:creationId xmlns:a16="http://schemas.microsoft.com/office/drawing/2014/main" id="{F5A45F7F-8281-477A-9F15-ED7DBB350505}"/>
                  </a:ext>
                </a:extLst>
              </p:cNvPr>
              <p:cNvGrpSpPr/>
              <p:nvPr/>
            </p:nvGrpSpPr>
            <p:grpSpPr>
              <a:xfrm>
                <a:off x="4499694" y="5428729"/>
                <a:ext cx="110215" cy="202903"/>
                <a:chOff x="1758507" y="5170209"/>
                <a:chExt cx="156925" cy="285896"/>
              </a:xfrm>
            </p:grpSpPr>
            <p:sp>
              <p:nvSpPr>
                <p:cNvPr id="1335" name="Rektangel 1334">
                  <a:extLst>
                    <a:ext uri="{FF2B5EF4-FFF2-40B4-BE49-F238E27FC236}">
                      <a16:creationId xmlns:a16="http://schemas.microsoft.com/office/drawing/2014/main" id="{53BBCCF6-DC08-4877-A4EA-57BD93D2EDD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6" name="Lige forbindelse 1335">
                  <a:extLst>
                    <a:ext uri="{FF2B5EF4-FFF2-40B4-BE49-F238E27FC236}">
                      <a16:creationId xmlns:a16="http://schemas.microsoft.com/office/drawing/2014/main" id="{0469CE58-B171-49FB-9E8E-D54AA3CEBC5C}"/>
                    </a:ext>
                  </a:extLst>
                </p:cNvPr>
                <p:cNvCxnSpPr>
                  <a:cxnSpLocks/>
                  <a:stCxn id="1335" idx="0"/>
                  <a:endCxn id="1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7" name="Lige forbindelse 1336">
                  <a:extLst>
                    <a:ext uri="{FF2B5EF4-FFF2-40B4-BE49-F238E27FC236}">
                      <a16:creationId xmlns:a16="http://schemas.microsoft.com/office/drawing/2014/main" id="{17FEE155-4E6F-4726-B205-E97398912072}"/>
                    </a:ext>
                  </a:extLst>
                </p:cNvPr>
                <p:cNvCxnSpPr>
                  <a:cxnSpLocks/>
                  <a:stCxn id="1335" idx="1"/>
                  <a:endCxn id="1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8" name="Gruppe 1157">
                <a:extLst>
                  <a:ext uri="{FF2B5EF4-FFF2-40B4-BE49-F238E27FC236}">
                    <a16:creationId xmlns:a16="http://schemas.microsoft.com/office/drawing/2014/main" id="{1ED9FB21-AD1F-4252-AF88-F02197B43428}"/>
                  </a:ext>
                </a:extLst>
              </p:cNvPr>
              <p:cNvGrpSpPr/>
              <p:nvPr/>
            </p:nvGrpSpPr>
            <p:grpSpPr>
              <a:xfrm>
                <a:off x="4690585" y="5428729"/>
                <a:ext cx="110215" cy="202903"/>
                <a:chOff x="1758507" y="5170209"/>
                <a:chExt cx="156925" cy="285896"/>
              </a:xfrm>
            </p:grpSpPr>
            <p:sp>
              <p:nvSpPr>
                <p:cNvPr id="1332" name="Rektangel 1331">
                  <a:extLst>
                    <a:ext uri="{FF2B5EF4-FFF2-40B4-BE49-F238E27FC236}">
                      <a16:creationId xmlns:a16="http://schemas.microsoft.com/office/drawing/2014/main" id="{5B725534-4369-4499-AA9E-20457A1ADC3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3" name="Lige forbindelse 1332">
                  <a:extLst>
                    <a:ext uri="{FF2B5EF4-FFF2-40B4-BE49-F238E27FC236}">
                      <a16:creationId xmlns:a16="http://schemas.microsoft.com/office/drawing/2014/main" id="{F0BC8CE7-847E-4D94-8BEF-1B3FB39DF427}"/>
                    </a:ext>
                  </a:extLst>
                </p:cNvPr>
                <p:cNvCxnSpPr>
                  <a:cxnSpLocks/>
                  <a:stCxn id="1332" idx="0"/>
                  <a:endCxn id="1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4" name="Lige forbindelse 1333">
                  <a:extLst>
                    <a:ext uri="{FF2B5EF4-FFF2-40B4-BE49-F238E27FC236}">
                      <a16:creationId xmlns:a16="http://schemas.microsoft.com/office/drawing/2014/main" id="{CCE4F77C-8080-49A9-BABB-F43DB1A89F68}"/>
                    </a:ext>
                  </a:extLst>
                </p:cNvPr>
                <p:cNvCxnSpPr>
                  <a:cxnSpLocks/>
                  <a:stCxn id="1332" idx="1"/>
                  <a:endCxn id="1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9" name="Gruppe 1158">
                <a:extLst>
                  <a:ext uri="{FF2B5EF4-FFF2-40B4-BE49-F238E27FC236}">
                    <a16:creationId xmlns:a16="http://schemas.microsoft.com/office/drawing/2014/main" id="{1EE56D0B-1388-4985-8DBA-A430FB71DEC6}"/>
                  </a:ext>
                </a:extLst>
              </p:cNvPr>
              <p:cNvGrpSpPr/>
              <p:nvPr/>
            </p:nvGrpSpPr>
            <p:grpSpPr>
              <a:xfrm>
                <a:off x="4881475" y="5428729"/>
                <a:ext cx="110215" cy="202903"/>
                <a:chOff x="1758507" y="5170209"/>
                <a:chExt cx="156925" cy="285896"/>
              </a:xfrm>
            </p:grpSpPr>
            <p:sp>
              <p:nvSpPr>
                <p:cNvPr id="1329" name="Rektangel 1328">
                  <a:extLst>
                    <a:ext uri="{FF2B5EF4-FFF2-40B4-BE49-F238E27FC236}">
                      <a16:creationId xmlns:a16="http://schemas.microsoft.com/office/drawing/2014/main" id="{9C14612E-7D8D-4066-BADD-77CCE5ECE0C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0" name="Lige forbindelse 1329">
                  <a:extLst>
                    <a:ext uri="{FF2B5EF4-FFF2-40B4-BE49-F238E27FC236}">
                      <a16:creationId xmlns:a16="http://schemas.microsoft.com/office/drawing/2014/main" id="{0344DFF7-F61C-41DB-812F-8BA2353E1FF3}"/>
                    </a:ext>
                  </a:extLst>
                </p:cNvPr>
                <p:cNvCxnSpPr>
                  <a:cxnSpLocks/>
                  <a:stCxn id="1329" idx="0"/>
                  <a:endCxn id="1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1" name="Lige forbindelse 1330">
                  <a:extLst>
                    <a:ext uri="{FF2B5EF4-FFF2-40B4-BE49-F238E27FC236}">
                      <a16:creationId xmlns:a16="http://schemas.microsoft.com/office/drawing/2014/main" id="{EF76EA14-436C-4F60-96FE-A49E00B48F15}"/>
                    </a:ext>
                  </a:extLst>
                </p:cNvPr>
                <p:cNvCxnSpPr>
                  <a:cxnSpLocks/>
                  <a:stCxn id="1329" idx="1"/>
                  <a:endCxn id="1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0" name="Gruppe 1159">
                <a:extLst>
                  <a:ext uri="{FF2B5EF4-FFF2-40B4-BE49-F238E27FC236}">
                    <a16:creationId xmlns:a16="http://schemas.microsoft.com/office/drawing/2014/main" id="{9EE02EA6-EBBC-43CC-B102-FFD2324D556B}"/>
                  </a:ext>
                </a:extLst>
              </p:cNvPr>
              <p:cNvGrpSpPr/>
              <p:nvPr/>
            </p:nvGrpSpPr>
            <p:grpSpPr>
              <a:xfrm>
                <a:off x="5072366" y="5428729"/>
                <a:ext cx="110215" cy="202903"/>
                <a:chOff x="1758507" y="5170209"/>
                <a:chExt cx="156925" cy="285896"/>
              </a:xfrm>
            </p:grpSpPr>
            <p:sp>
              <p:nvSpPr>
                <p:cNvPr id="1326" name="Rektangel 1325">
                  <a:extLst>
                    <a:ext uri="{FF2B5EF4-FFF2-40B4-BE49-F238E27FC236}">
                      <a16:creationId xmlns:a16="http://schemas.microsoft.com/office/drawing/2014/main" id="{B2B8F26B-BF83-453A-8129-64FFA4257A9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7" name="Lige forbindelse 1326">
                  <a:extLst>
                    <a:ext uri="{FF2B5EF4-FFF2-40B4-BE49-F238E27FC236}">
                      <a16:creationId xmlns:a16="http://schemas.microsoft.com/office/drawing/2014/main" id="{39DB54AF-43B7-4643-BAF5-6F0C4B439405}"/>
                    </a:ext>
                  </a:extLst>
                </p:cNvPr>
                <p:cNvCxnSpPr>
                  <a:cxnSpLocks/>
                  <a:stCxn id="1326" idx="0"/>
                  <a:endCxn id="1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8" name="Lige forbindelse 1327">
                  <a:extLst>
                    <a:ext uri="{FF2B5EF4-FFF2-40B4-BE49-F238E27FC236}">
                      <a16:creationId xmlns:a16="http://schemas.microsoft.com/office/drawing/2014/main" id="{136D6D33-93B4-48C7-8CD6-56C2FAB02C89}"/>
                    </a:ext>
                  </a:extLst>
                </p:cNvPr>
                <p:cNvCxnSpPr>
                  <a:cxnSpLocks/>
                  <a:stCxn id="1326" idx="1"/>
                  <a:endCxn id="1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1" name="Gruppe 1160">
                <a:extLst>
                  <a:ext uri="{FF2B5EF4-FFF2-40B4-BE49-F238E27FC236}">
                    <a16:creationId xmlns:a16="http://schemas.microsoft.com/office/drawing/2014/main" id="{5B99DC59-C026-4C50-9B6F-415F80CF120D}"/>
                  </a:ext>
                </a:extLst>
              </p:cNvPr>
              <p:cNvGrpSpPr/>
              <p:nvPr/>
            </p:nvGrpSpPr>
            <p:grpSpPr>
              <a:xfrm>
                <a:off x="5263257" y="5428729"/>
                <a:ext cx="110215" cy="202903"/>
                <a:chOff x="1758507" y="5170209"/>
                <a:chExt cx="156925" cy="285896"/>
              </a:xfrm>
            </p:grpSpPr>
            <p:sp>
              <p:nvSpPr>
                <p:cNvPr id="1323" name="Rektangel 1322">
                  <a:extLst>
                    <a:ext uri="{FF2B5EF4-FFF2-40B4-BE49-F238E27FC236}">
                      <a16:creationId xmlns:a16="http://schemas.microsoft.com/office/drawing/2014/main" id="{020327DC-E93D-4AFB-8A18-18DA8CEFA7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4" name="Lige forbindelse 1323">
                  <a:extLst>
                    <a:ext uri="{FF2B5EF4-FFF2-40B4-BE49-F238E27FC236}">
                      <a16:creationId xmlns:a16="http://schemas.microsoft.com/office/drawing/2014/main" id="{441DDAA0-062B-4AC5-9EA1-720B039CC9C1}"/>
                    </a:ext>
                  </a:extLst>
                </p:cNvPr>
                <p:cNvCxnSpPr>
                  <a:cxnSpLocks/>
                  <a:stCxn id="1323" idx="0"/>
                  <a:endCxn id="1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5" name="Lige forbindelse 1324">
                  <a:extLst>
                    <a:ext uri="{FF2B5EF4-FFF2-40B4-BE49-F238E27FC236}">
                      <a16:creationId xmlns:a16="http://schemas.microsoft.com/office/drawing/2014/main" id="{4C039D54-F273-457A-B648-EAB0BBD2AF21}"/>
                    </a:ext>
                  </a:extLst>
                </p:cNvPr>
                <p:cNvCxnSpPr>
                  <a:cxnSpLocks/>
                  <a:stCxn id="1323" idx="1"/>
                  <a:endCxn id="1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2" name="Gruppe 1161">
                <a:extLst>
                  <a:ext uri="{FF2B5EF4-FFF2-40B4-BE49-F238E27FC236}">
                    <a16:creationId xmlns:a16="http://schemas.microsoft.com/office/drawing/2014/main" id="{A180532B-0223-4897-9756-55B2302C3FC3}"/>
                  </a:ext>
                </a:extLst>
              </p:cNvPr>
              <p:cNvGrpSpPr/>
              <p:nvPr/>
            </p:nvGrpSpPr>
            <p:grpSpPr>
              <a:xfrm>
                <a:off x="5454147" y="5428729"/>
                <a:ext cx="110215" cy="202903"/>
                <a:chOff x="1758507" y="5170209"/>
                <a:chExt cx="156925" cy="285896"/>
              </a:xfrm>
            </p:grpSpPr>
            <p:sp>
              <p:nvSpPr>
                <p:cNvPr id="1320" name="Rektangel 1319">
                  <a:extLst>
                    <a:ext uri="{FF2B5EF4-FFF2-40B4-BE49-F238E27FC236}">
                      <a16:creationId xmlns:a16="http://schemas.microsoft.com/office/drawing/2014/main" id="{C772DE32-B02F-4159-95C6-F178AFD2325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1" name="Lige forbindelse 1320">
                  <a:extLst>
                    <a:ext uri="{FF2B5EF4-FFF2-40B4-BE49-F238E27FC236}">
                      <a16:creationId xmlns:a16="http://schemas.microsoft.com/office/drawing/2014/main" id="{9969B0F4-0B95-465E-9995-27E0F0655110}"/>
                    </a:ext>
                  </a:extLst>
                </p:cNvPr>
                <p:cNvCxnSpPr>
                  <a:cxnSpLocks/>
                  <a:stCxn id="1320" idx="0"/>
                  <a:endCxn id="1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2" name="Lige forbindelse 1321">
                  <a:extLst>
                    <a:ext uri="{FF2B5EF4-FFF2-40B4-BE49-F238E27FC236}">
                      <a16:creationId xmlns:a16="http://schemas.microsoft.com/office/drawing/2014/main" id="{0B394650-DD01-4E86-B99B-DBF869268169}"/>
                    </a:ext>
                  </a:extLst>
                </p:cNvPr>
                <p:cNvCxnSpPr>
                  <a:cxnSpLocks/>
                  <a:stCxn id="1320" idx="1"/>
                  <a:endCxn id="1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3" name="Gruppe 1162">
                <a:extLst>
                  <a:ext uri="{FF2B5EF4-FFF2-40B4-BE49-F238E27FC236}">
                    <a16:creationId xmlns:a16="http://schemas.microsoft.com/office/drawing/2014/main" id="{A43EBC73-C35F-4093-838D-1C169E0DE33B}"/>
                  </a:ext>
                </a:extLst>
              </p:cNvPr>
              <p:cNvGrpSpPr/>
              <p:nvPr/>
            </p:nvGrpSpPr>
            <p:grpSpPr>
              <a:xfrm>
                <a:off x="5645037" y="5428729"/>
                <a:ext cx="110215" cy="202903"/>
                <a:chOff x="1758507" y="5170209"/>
                <a:chExt cx="156925" cy="285896"/>
              </a:xfrm>
            </p:grpSpPr>
            <p:sp>
              <p:nvSpPr>
                <p:cNvPr id="1317" name="Rektangel 1316">
                  <a:extLst>
                    <a:ext uri="{FF2B5EF4-FFF2-40B4-BE49-F238E27FC236}">
                      <a16:creationId xmlns:a16="http://schemas.microsoft.com/office/drawing/2014/main" id="{0E1B0243-42FB-4B5B-9F22-87BD3422C6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8" name="Lige forbindelse 1317">
                  <a:extLst>
                    <a:ext uri="{FF2B5EF4-FFF2-40B4-BE49-F238E27FC236}">
                      <a16:creationId xmlns:a16="http://schemas.microsoft.com/office/drawing/2014/main" id="{870082C4-A661-4FB3-A0C5-DEB08A7F48F9}"/>
                    </a:ext>
                  </a:extLst>
                </p:cNvPr>
                <p:cNvCxnSpPr>
                  <a:cxnSpLocks/>
                  <a:stCxn id="1317" idx="0"/>
                  <a:endCxn id="1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9" name="Lige forbindelse 1318">
                  <a:extLst>
                    <a:ext uri="{FF2B5EF4-FFF2-40B4-BE49-F238E27FC236}">
                      <a16:creationId xmlns:a16="http://schemas.microsoft.com/office/drawing/2014/main" id="{477AAD60-03C4-4D7C-8A62-B64267D76A88}"/>
                    </a:ext>
                  </a:extLst>
                </p:cNvPr>
                <p:cNvCxnSpPr>
                  <a:cxnSpLocks/>
                  <a:stCxn id="1317" idx="1"/>
                  <a:endCxn id="1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4" name="Gruppe 1163">
                <a:extLst>
                  <a:ext uri="{FF2B5EF4-FFF2-40B4-BE49-F238E27FC236}">
                    <a16:creationId xmlns:a16="http://schemas.microsoft.com/office/drawing/2014/main" id="{CC863F6F-993C-46F7-86D3-B79ABD6DCB7B}"/>
                  </a:ext>
                </a:extLst>
              </p:cNvPr>
              <p:cNvGrpSpPr/>
              <p:nvPr/>
            </p:nvGrpSpPr>
            <p:grpSpPr>
              <a:xfrm>
                <a:off x="5835932" y="5428729"/>
                <a:ext cx="110215" cy="202903"/>
                <a:chOff x="1758507" y="5170209"/>
                <a:chExt cx="156925" cy="285896"/>
              </a:xfrm>
            </p:grpSpPr>
            <p:sp>
              <p:nvSpPr>
                <p:cNvPr id="1314" name="Rektangel 1313">
                  <a:extLst>
                    <a:ext uri="{FF2B5EF4-FFF2-40B4-BE49-F238E27FC236}">
                      <a16:creationId xmlns:a16="http://schemas.microsoft.com/office/drawing/2014/main" id="{DC991014-B2D4-4864-85E1-7AE657CDD23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5" name="Lige forbindelse 1314">
                  <a:extLst>
                    <a:ext uri="{FF2B5EF4-FFF2-40B4-BE49-F238E27FC236}">
                      <a16:creationId xmlns:a16="http://schemas.microsoft.com/office/drawing/2014/main" id="{AD734032-D311-4C62-BD8E-5BB4E9770D47}"/>
                    </a:ext>
                  </a:extLst>
                </p:cNvPr>
                <p:cNvCxnSpPr>
                  <a:cxnSpLocks/>
                  <a:stCxn id="1314" idx="0"/>
                  <a:endCxn id="1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6" name="Lige forbindelse 1315">
                  <a:extLst>
                    <a:ext uri="{FF2B5EF4-FFF2-40B4-BE49-F238E27FC236}">
                      <a16:creationId xmlns:a16="http://schemas.microsoft.com/office/drawing/2014/main" id="{FA86085D-F60E-44CB-A006-647256CA7A02}"/>
                    </a:ext>
                  </a:extLst>
                </p:cNvPr>
                <p:cNvCxnSpPr>
                  <a:cxnSpLocks/>
                  <a:stCxn id="1314" idx="1"/>
                  <a:endCxn id="1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5" name="Gruppe 1164">
                <a:extLst>
                  <a:ext uri="{FF2B5EF4-FFF2-40B4-BE49-F238E27FC236}">
                    <a16:creationId xmlns:a16="http://schemas.microsoft.com/office/drawing/2014/main" id="{7897806D-C513-435F-9DE2-8DD0A4818AE3}"/>
                  </a:ext>
                </a:extLst>
              </p:cNvPr>
              <p:cNvGrpSpPr/>
              <p:nvPr/>
            </p:nvGrpSpPr>
            <p:grpSpPr>
              <a:xfrm>
                <a:off x="1827227" y="5698878"/>
                <a:ext cx="110215" cy="202903"/>
                <a:chOff x="1758507" y="5170209"/>
                <a:chExt cx="156925" cy="285896"/>
              </a:xfrm>
            </p:grpSpPr>
            <p:sp>
              <p:nvSpPr>
                <p:cNvPr id="1311" name="Rektangel 1310">
                  <a:extLst>
                    <a:ext uri="{FF2B5EF4-FFF2-40B4-BE49-F238E27FC236}">
                      <a16:creationId xmlns:a16="http://schemas.microsoft.com/office/drawing/2014/main" id="{3D1B12DD-181A-47B4-9878-F7EC7AE6E3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2" name="Lige forbindelse 1311">
                  <a:extLst>
                    <a:ext uri="{FF2B5EF4-FFF2-40B4-BE49-F238E27FC236}">
                      <a16:creationId xmlns:a16="http://schemas.microsoft.com/office/drawing/2014/main" id="{6158743D-1F0E-4F6C-A272-43AFF9BCBB03}"/>
                    </a:ext>
                  </a:extLst>
                </p:cNvPr>
                <p:cNvCxnSpPr>
                  <a:cxnSpLocks/>
                  <a:stCxn id="1311" idx="0"/>
                  <a:endCxn id="1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3" name="Lige forbindelse 1312">
                  <a:extLst>
                    <a:ext uri="{FF2B5EF4-FFF2-40B4-BE49-F238E27FC236}">
                      <a16:creationId xmlns:a16="http://schemas.microsoft.com/office/drawing/2014/main" id="{C21A2FA5-93A0-43AE-B7E8-D47E6F10C4F1}"/>
                    </a:ext>
                  </a:extLst>
                </p:cNvPr>
                <p:cNvCxnSpPr>
                  <a:cxnSpLocks/>
                  <a:stCxn id="1311" idx="1"/>
                  <a:endCxn id="1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6" name="Gruppe 1165">
                <a:extLst>
                  <a:ext uri="{FF2B5EF4-FFF2-40B4-BE49-F238E27FC236}">
                    <a16:creationId xmlns:a16="http://schemas.microsoft.com/office/drawing/2014/main" id="{7514317B-5394-4ED4-A418-B2CDFA8F5524}"/>
                  </a:ext>
                </a:extLst>
              </p:cNvPr>
              <p:cNvGrpSpPr/>
              <p:nvPr/>
            </p:nvGrpSpPr>
            <p:grpSpPr>
              <a:xfrm>
                <a:off x="2018117" y="5698878"/>
                <a:ext cx="110215" cy="202903"/>
                <a:chOff x="1758507" y="5170209"/>
                <a:chExt cx="156925" cy="285896"/>
              </a:xfrm>
            </p:grpSpPr>
            <p:sp>
              <p:nvSpPr>
                <p:cNvPr id="1308" name="Rektangel 1307">
                  <a:extLst>
                    <a:ext uri="{FF2B5EF4-FFF2-40B4-BE49-F238E27FC236}">
                      <a16:creationId xmlns:a16="http://schemas.microsoft.com/office/drawing/2014/main" id="{112349A6-0F97-4B3A-8040-7869FACDED9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9" name="Lige forbindelse 1308">
                  <a:extLst>
                    <a:ext uri="{FF2B5EF4-FFF2-40B4-BE49-F238E27FC236}">
                      <a16:creationId xmlns:a16="http://schemas.microsoft.com/office/drawing/2014/main" id="{6FA8EC29-016A-4818-8724-D1289F6E09AB}"/>
                    </a:ext>
                  </a:extLst>
                </p:cNvPr>
                <p:cNvCxnSpPr>
                  <a:cxnSpLocks/>
                  <a:stCxn id="1308" idx="0"/>
                  <a:endCxn id="1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0" name="Lige forbindelse 1309">
                  <a:extLst>
                    <a:ext uri="{FF2B5EF4-FFF2-40B4-BE49-F238E27FC236}">
                      <a16:creationId xmlns:a16="http://schemas.microsoft.com/office/drawing/2014/main" id="{E9E896B6-136E-45AD-9129-8C27B88C82DE}"/>
                    </a:ext>
                  </a:extLst>
                </p:cNvPr>
                <p:cNvCxnSpPr>
                  <a:cxnSpLocks/>
                  <a:stCxn id="1308" idx="1"/>
                  <a:endCxn id="1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7" name="Gruppe 1166">
                <a:extLst>
                  <a:ext uri="{FF2B5EF4-FFF2-40B4-BE49-F238E27FC236}">
                    <a16:creationId xmlns:a16="http://schemas.microsoft.com/office/drawing/2014/main" id="{1823C1DC-E783-495F-A8A4-F8143AE4D91E}"/>
                  </a:ext>
                </a:extLst>
              </p:cNvPr>
              <p:cNvGrpSpPr/>
              <p:nvPr/>
            </p:nvGrpSpPr>
            <p:grpSpPr>
              <a:xfrm>
                <a:off x="2209008" y="5698878"/>
                <a:ext cx="110215" cy="202903"/>
                <a:chOff x="1758507" y="5170209"/>
                <a:chExt cx="156925" cy="285896"/>
              </a:xfrm>
            </p:grpSpPr>
            <p:sp>
              <p:nvSpPr>
                <p:cNvPr id="1305" name="Rektangel 1304">
                  <a:extLst>
                    <a:ext uri="{FF2B5EF4-FFF2-40B4-BE49-F238E27FC236}">
                      <a16:creationId xmlns:a16="http://schemas.microsoft.com/office/drawing/2014/main" id="{B174EA1E-F37A-48F6-A0F7-AC1766BD67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6" name="Lige forbindelse 1305">
                  <a:extLst>
                    <a:ext uri="{FF2B5EF4-FFF2-40B4-BE49-F238E27FC236}">
                      <a16:creationId xmlns:a16="http://schemas.microsoft.com/office/drawing/2014/main" id="{E734BAE0-EF10-4E9D-91BC-1E5C2D6B4540}"/>
                    </a:ext>
                  </a:extLst>
                </p:cNvPr>
                <p:cNvCxnSpPr>
                  <a:cxnSpLocks/>
                  <a:stCxn id="1305" idx="0"/>
                  <a:endCxn id="1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7" name="Lige forbindelse 1306">
                  <a:extLst>
                    <a:ext uri="{FF2B5EF4-FFF2-40B4-BE49-F238E27FC236}">
                      <a16:creationId xmlns:a16="http://schemas.microsoft.com/office/drawing/2014/main" id="{D6EF04A3-00AB-41AF-8068-25005C96DA9D}"/>
                    </a:ext>
                  </a:extLst>
                </p:cNvPr>
                <p:cNvCxnSpPr>
                  <a:cxnSpLocks/>
                  <a:stCxn id="1305" idx="1"/>
                  <a:endCxn id="1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8" name="Gruppe 1167">
                <a:extLst>
                  <a:ext uri="{FF2B5EF4-FFF2-40B4-BE49-F238E27FC236}">
                    <a16:creationId xmlns:a16="http://schemas.microsoft.com/office/drawing/2014/main" id="{215F439C-9E94-4359-AF30-C250293E9D1A}"/>
                  </a:ext>
                </a:extLst>
              </p:cNvPr>
              <p:cNvGrpSpPr/>
              <p:nvPr/>
            </p:nvGrpSpPr>
            <p:grpSpPr>
              <a:xfrm>
                <a:off x="2399898" y="5698878"/>
                <a:ext cx="110215" cy="202903"/>
                <a:chOff x="1758507" y="5170209"/>
                <a:chExt cx="156925" cy="285896"/>
              </a:xfrm>
            </p:grpSpPr>
            <p:sp>
              <p:nvSpPr>
                <p:cNvPr id="1302" name="Rektangel 1301">
                  <a:extLst>
                    <a:ext uri="{FF2B5EF4-FFF2-40B4-BE49-F238E27FC236}">
                      <a16:creationId xmlns:a16="http://schemas.microsoft.com/office/drawing/2014/main" id="{E62FC863-F374-4893-A5D9-41917FEB305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3" name="Lige forbindelse 1302">
                  <a:extLst>
                    <a:ext uri="{FF2B5EF4-FFF2-40B4-BE49-F238E27FC236}">
                      <a16:creationId xmlns:a16="http://schemas.microsoft.com/office/drawing/2014/main" id="{D32D0306-5DAD-413B-8817-1E6732981DF5}"/>
                    </a:ext>
                  </a:extLst>
                </p:cNvPr>
                <p:cNvCxnSpPr>
                  <a:cxnSpLocks/>
                  <a:stCxn id="1302" idx="0"/>
                  <a:endCxn id="1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4" name="Lige forbindelse 1303">
                  <a:extLst>
                    <a:ext uri="{FF2B5EF4-FFF2-40B4-BE49-F238E27FC236}">
                      <a16:creationId xmlns:a16="http://schemas.microsoft.com/office/drawing/2014/main" id="{C186299E-A31E-40FF-8817-8B0BDC6E6083}"/>
                    </a:ext>
                  </a:extLst>
                </p:cNvPr>
                <p:cNvCxnSpPr>
                  <a:cxnSpLocks/>
                  <a:stCxn id="1302" idx="1"/>
                  <a:endCxn id="1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9" name="Gruppe 1168">
                <a:extLst>
                  <a:ext uri="{FF2B5EF4-FFF2-40B4-BE49-F238E27FC236}">
                    <a16:creationId xmlns:a16="http://schemas.microsoft.com/office/drawing/2014/main" id="{ED0F1066-BE47-4B18-AB5E-BCF593EDDCCA}"/>
                  </a:ext>
                </a:extLst>
              </p:cNvPr>
              <p:cNvGrpSpPr/>
              <p:nvPr/>
            </p:nvGrpSpPr>
            <p:grpSpPr>
              <a:xfrm>
                <a:off x="2590789" y="5698878"/>
                <a:ext cx="110215" cy="202903"/>
                <a:chOff x="1758507" y="5170209"/>
                <a:chExt cx="156925" cy="285896"/>
              </a:xfrm>
            </p:grpSpPr>
            <p:sp>
              <p:nvSpPr>
                <p:cNvPr id="1299" name="Rektangel 1298">
                  <a:extLst>
                    <a:ext uri="{FF2B5EF4-FFF2-40B4-BE49-F238E27FC236}">
                      <a16:creationId xmlns:a16="http://schemas.microsoft.com/office/drawing/2014/main" id="{4F89C1BB-2DF9-4727-8967-DADB4EA166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0" name="Lige forbindelse 1299">
                  <a:extLst>
                    <a:ext uri="{FF2B5EF4-FFF2-40B4-BE49-F238E27FC236}">
                      <a16:creationId xmlns:a16="http://schemas.microsoft.com/office/drawing/2014/main" id="{F7C7517F-EF01-400F-B615-1BB276F07A98}"/>
                    </a:ext>
                  </a:extLst>
                </p:cNvPr>
                <p:cNvCxnSpPr>
                  <a:cxnSpLocks/>
                  <a:stCxn id="1299" idx="0"/>
                  <a:endCxn id="1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1" name="Lige forbindelse 1300">
                  <a:extLst>
                    <a:ext uri="{FF2B5EF4-FFF2-40B4-BE49-F238E27FC236}">
                      <a16:creationId xmlns:a16="http://schemas.microsoft.com/office/drawing/2014/main" id="{87E1D86E-317C-489A-8F7C-BAA84BDF1644}"/>
                    </a:ext>
                  </a:extLst>
                </p:cNvPr>
                <p:cNvCxnSpPr>
                  <a:cxnSpLocks/>
                  <a:stCxn id="1299" idx="1"/>
                  <a:endCxn id="1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0" name="Gruppe 1169">
                <a:extLst>
                  <a:ext uri="{FF2B5EF4-FFF2-40B4-BE49-F238E27FC236}">
                    <a16:creationId xmlns:a16="http://schemas.microsoft.com/office/drawing/2014/main" id="{0BFFA172-BDA6-4168-9230-A7C45E9D35E1}"/>
                  </a:ext>
                </a:extLst>
              </p:cNvPr>
              <p:cNvGrpSpPr/>
              <p:nvPr/>
            </p:nvGrpSpPr>
            <p:grpSpPr>
              <a:xfrm>
                <a:off x="2781680" y="5698878"/>
                <a:ext cx="110215" cy="202903"/>
                <a:chOff x="1758507" y="5170209"/>
                <a:chExt cx="156925" cy="285896"/>
              </a:xfrm>
            </p:grpSpPr>
            <p:sp>
              <p:nvSpPr>
                <p:cNvPr id="1296" name="Rektangel 1295">
                  <a:extLst>
                    <a:ext uri="{FF2B5EF4-FFF2-40B4-BE49-F238E27FC236}">
                      <a16:creationId xmlns:a16="http://schemas.microsoft.com/office/drawing/2014/main" id="{BC85D05F-D64E-4057-95FA-42C866CCCAE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7" name="Lige forbindelse 1296">
                  <a:extLst>
                    <a:ext uri="{FF2B5EF4-FFF2-40B4-BE49-F238E27FC236}">
                      <a16:creationId xmlns:a16="http://schemas.microsoft.com/office/drawing/2014/main" id="{8BF764F7-6CA0-4863-8274-F326713BF94D}"/>
                    </a:ext>
                  </a:extLst>
                </p:cNvPr>
                <p:cNvCxnSpPr>
                  <a:cxnSpLocks/>
                  <a:stCxn id="1296" idx="0"/>
                  <a:endCxn id="1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8" name="Lige forbindelse 1297">
                  <a:extLst>
                    <a:ext uri="{FF2B5EF4-FFF2-40B4-BE49-F238E27FC236}">
                      <a16:creationId xmlns:a16="http://schemas.microsoft.com/office/drawing/2014/main" id="{D65CCD91-19BA-4B54-95E2-C7509AA3D358}"/>
                    </a:ext>
                  </a:extLst>
                </p:cNvPr>
                <p:cNvCxnSpPr>
                  <a:cxnSpLocks/>
                  <a:stCxn id="1296" idx="1"/>
                  <a:endCxn id="1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1" name="Rektangel 1170">
                <a:extLst>
                  <a:ext uri="{FF2B5EF4-FFF2-40B4-BE49-F238E27FC236}">
                    <a16:creationId xmlns:a16="http://schemas.microsoft.com/office/drawing/2014/main" id="{BC786BA8-9122-4F4E-B239-1A8091879456}"/>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72" name="Lige forbindelse 1171">
                <a:extLst>
                  <a:ext uri="{FF2B5EF4-FFF2-40B4-BE49-F238E27FC236}">
                    <a16:creationId xmlns:a16="http://schemas.microsoft.com/office/drawing/2014/main" id="{71DB2352-28C6-47A6-B0A4-A9C6E47E8DE7}"/>
                  </a:ext>
                </a:extLst>
              </p:cNvPr>
              <p:cNvCxnSpPr>
                <a:cxnSpLocks/>
                <a:stCxn id="1171" idx="0"/>
                <a:endCxn id="1171"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73" name="Lige forbindelse 1172">
                <a:extLst>
                  <a:ext uri="{FF2B5EF4-FFF2-40B4-BE49-F238E27FC236}">
                    <a16:creationId xmlns:a16="http://schemas.microsoft.com/office/drawing/2014/main" id="{E69E090E-D853-49FD-912B-D4240C4243A2}"/>
                  </a:ext>
                </a:extLst>
              </p:cNvPr>
              <p:cNvCxnSpPr>
                <a:cxnSpLocks/>
                <a:stCxn id="1171" idx="1"/>
                <a:endCxn id="1171"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1174" name="Gruppe 1173">
                <a:extLst>
                  <a:ext uri="{FF2B5EF4-FFF2-40B4-BE49-F238E27FC236}">
                    <a16:creationId xmlns:a16="http://schemas.microsoft.com/office/drawing/2014/main" id="{D66E5E81-2BF4-4DA4-B716-44FC6C241594}"/>
                  </a:ext>
                </a:extLst>
              </p:cNvPr>
              <p:cNvGrpSpPr/>
              <p:nvPr/>
            </p:nvGrpSpPr>
            <p:grpSpPr>
              <a:xfrm>
                <a:off x="4690585" y="5698878"/>
                <a:ext cx="110215" cy="202903"/>
                <a:chOff x="1758507" y="5170209"/>
                <a:chExt cx="156925" cy="285896"/>
              </a:xfrm>
            </p:grpSpPr>
            <p:sp>
              <p:nvSpPr>
                <p:cNvPr id="1293" name="Rektangel 1292">
                  <a:extLst>
                    <a:ext uri="{FF2B5EF4-FFF2-40B4-BE49-F238E27FC236}">
                      <a16:creationId xmlns:a16="http://schemas.microsoft.com/office/drawing/2014/main" id="{135CF225-C04A-4FF2-91FF-661F872884F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4" name="Lige forbindelse 1293">
                  <a:extLst>
                    <a:ext uri="{FF2B5EF4-FFF2-40B4-BE49-F238E27FC236}">
                      <a16:creationId xmlns:a16="http://schemas.microsoft.com/office/drawing/2014/main" id="{54144AC1-13BA-461E-B730-68E3BCC89021}"/>
                    </a:ext>
                  </a:extLst>
                </p:cNvPr>
                <p:cNvCxnSpPr>
                  <a:cxnSpLocks/>
                  <a:stCxn id="1293" idx="0"/>
                  <a:endCxn id="1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5" name="Lige forbindelse 1294">
                  <a:extLst>
                    <a:ext uri="{FF2B5EF4-FFF2-40B4-BE49-F238E27FC236}">
                      <a16:creationId xmlns:a16="http://schemas.microsoft.com/office/drawing/2014/main" id="{8442088E-50D9-4D7D-B550-4D50690D8FB0}"/>
                    </a:ext>
                  </a:extLst>
                </p:cNvPr>
                <p:cNvCxnSpPr>
                  <a:cxnSpLocks/>
                  <a:stCxn id="1293" idx="1"/>
                  <a:endCxn id="1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5" name="Gruppe 1174">
                <a:extLst>
                  <a:ext uri="{FF2B5EF4-FFF2-40B4-BE49-F238E27FC236}">
                    <a16:creationId xmlns:a16="http://schemas.microsoft.com/office/drawing/2014/main" id="{306A62CB-5435-4B47-BD92-CE3061E9FAA7}"/>
                  </a:ext>
                </a:extLst>
              </p:cNvPr>
              <p:cNvGrpSpPr/>
              <p:nvPr/>
            </p:nvGrpSpPr>
            <p:grpSpPr>
              <a:xfrm>
                <a:off x="4881475" y="5698878"/>
                <a:ext cx="110215" cy="202903"/>
                <a:chOff x="1758507" y="5170209"/>
                <a:chExt cx="156925" cy="285896"/>
              </a:xfrm>
            </p:grpSpPr>
            <p:sp>
              <p:nvSpPr>
                <p:cNvPr id="1290" name="Rektangel 1289">
                  <a:extLst>
                    <a:ext uri="{FF2B5EF4-FFF2-40B4-BE49-F238E27FC236}">
                      <a16:creationId xmlns:a16="http://schemas.microsoft.com/office/drawing/2014/main" id="{728D68ED-C0F5-44E5-B6CE-C733A147779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1" name="Lige forbindelse 1290">
                  <a:extLst>
                    <a:ext uri="{FF2B5EF4-FFF2-40B4-BE49-F238E27FC236}">
                      <a16:creationId xmlns:a16="http://schemas.microsoft.com/office/drawing/2014/main" id="{AEC9E874-8D76-4CE3-BF5D-51B3ECE2A985}"/>
                    </a:ext>
                  </a:extLst>
                </p:cNvPr>
                <p:cNvCxnSpPr>
                  <a:cxnSpLocks/>
                  <a:stCxn id="1290" idx="0"/>
                  <a:endCxn id="1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2" name="Lige forbindelse 1291">
                  <a:extLst>
                    <a:ext uri="{FF2B5EF4-FFF2-40B4-BE49-F238E27FC236}">
                      <a16:creationId xmlns:a16="http://schemas.microsoft.com/office/drawing/2014/main" id="{FB20963B-F560-480C-9BC1-9880DB86FA35}"/>
                    </a:ext>
                  </a:extLst>
                </p:cNvPr>
                <p:cNvCxnSpPr>
                  <a:cxnSpLocks/>
                  <a:stCxn id="1290" idx="1"/>
                  <a:endCxn id="1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6" name="Rektangel 1175">
                <a:extLst>
                  <a:ext uri="{FF2B5EF4-FFF2-40B4-BE49-F238E27FC236}">
                    <a16:creationId xmlns:a16="http://schemas.microsoft.com/office/drawing/2014/main" id="{F947BC87-9C36-454E-AF79-0B8608C220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77" name="Gruppe 1176">
                <a:extLst>
                  <a:ext uri="{FF2B5EF4-FFF2-40B4-BE49-F238E27FC236}">
                    <a16:creationId xmlns:a16="http://schemas.microsoft.com/office/drawing/2014/main" id="{4C2B799D-3F53-4128-BF4F-49535FE59A9E}"/>
                  </a:ext>
                </a:extLst>
              </p:cNvPr>
              <p:cNvGrpSpPr/>
              <p:nvPr/>
            </p:nvGrpSpPr>
            <p:grpSpPr>
              <a:xfrm>
                <a:off x="2895359" y="5971178"/>
                <a:ext cx="1982809" cy="63914"/>
                <a:chOff x="1209635" y="3152432"/>
                <a:chExt cx="9240230" cy="585788"/>
              </a:xfrm>
              <a:solidFill>
                <a:srgbClr val="D5D2C5"/>
              </a:solidFill>
            </p:grpSpPr>
            <p:sp>
              <p:nvSpPr>
                <p:cNvPr id="1287" name="Retvinklet trekant 1286">
                  <a:extLst>
                    <a:ext uri="{FF2B5EF4-FFF2-40B4-BE49-F238E27FC236}">
                      <a16:creationId xmlns:a16="http://schemas.microsoft.com/office/drawing/2014/main" id="{BE771B9D-961A-47DB-B543-7B82A1237BC1}"/>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8" name="Rektangel 1287">
                  <a:extLst>
                    <a:ext uri="{FF2B5EF4-FFF2-40B4-BE49-F238E27FC236}">
                      <a16:creationId xmlns:a16="http://schemas.microsoft.com/office/drawing/2014/main" id="{1D11A99D-7809-42F4-8151-139C8D7F3BD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9" name="Retvinklet trekant 1288">
                  <a:extLst>
                    <a:ext uri="{FF2B5EF4-FFF2-40B4-BE49-F238E27FC236}">
                      <a16:creationId xmlns:a16="http://schemas.microsoft.com/office/drawing/2014/main" id="{83675A64-6282-4DAF-B296-71143C0BD60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78" name="Rektangel 1177">
                <a:extLst>
                  <a:ext uri="{FF2B5EF4-FFF2-40B4-BE49-F238E27FC236}">
                    <a16:creationId xmlns:a16="http://schemas.microsoft.com/office/drawing/2014/main" id="{C9C50F59-304C-422F-8020-0D3558859E07}"/>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9" name="Rektangel 1178">
                <a:extLst>
                  <a:ext uri="{FF2B5EF4-FFF2-40B4-BE49-F238E27FC236}">
                    <a16:creationId xmlns:a16="http://schemas.microsoft.com/office/drawing/2014/main" id="{46C215A8-55CE-4F31-99CF-0B7A6E3D7644}"/>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0" name="Rektangel 1179">
                <a:extLst>
                  <a:ext uri="{FF2B5EF4-FFF2-40B4-BE49-F238E27FC236}">
                    <a16:creationId xmlns:a16="http://schemas.microsoft.com/office/drawing/2014/main" id="{4C0B5B7E-F591-4522-9A15-9D31912927E2}"/>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1" name="Rektangel 1180">
                <a:extLst>
                  <a:ext uri="{FF2B5EF4-FFF2-40B4-BE49-F238E27FC236}">
                    <a16:creationId xmlns:a16="http://schemas.microsoft.com/office/drawing/2014/main" id="{C480D2AD-4327-400E-8A07-C5170295DAA8}"/>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2" name="Rektangel 1181">
                <a:extLst>
                  <a:ext uri="{FF2B5EF4-FFF2-40B4-BE49-F238E27FC236}">
                    <a16:creationId xmlns:a16="http://schemas.microsoft.com/office/drawing/2014/main" id="{C57E371D-1618-4482-98FE-4BD10080D887}"/>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3" name="Rektangel 1182">
                <a:extLst>
                  <a:ext uri="{FF2B5EF4-FFF2-40B4-BE49-F238E27FC236}">
                    <a16:creationId xmlns:a16="http://schemas.microsoft.com/office/drawing/2014/main" id="{984267CF-3F63-4640-8CE7-F64277929958}"/>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84" name="Lige forbindelse 1183">
                <a:extLst>
                  <a:ext uri="{FF2B5EF4-FFF2-40B4-BE49-F238E27FC236}">
                    <a16:creationId xmlns:a16="http://schemas.microsoft.com/office/drawing/2014/main" id="{9BEDAD11-9345-4CE5-9D3C-3906121DC5A8}"/>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5" name="Lige forbindelse 1184">
                <a:extLst>
                  <a:ext uri="{FF2B5EF4-FFF2-40B4-BE49-F238E27FC236}">
                    <a16:creationId xmlns:a16="http://schemas.microsoft.com/office/drawing/2014/main" id="{4944991D-97B8-48F1-B7C0-7F3A1FDC654F}"/>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6" name="Lige forbindelse 1185">
                <a:extLst>
                  <a:ext uri="{FF2B5EF4-FFF2-40B4-BE49-F238E27FC236}">
                    <a16:creationId xmlns:a16="http://schemas.microsoft.com/office/drawing/2014/main" id="{0ACC9260-0447-40FB-AFE1-50CE65BA031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7" name="Lige forbindelse 1186">
                <a:extLst>
                  <a:ext uri="{FF2B5EF4-FFF2-40B4-BE49-F238E27FC236}">
                    <a16:creationId xmlns:a16="http://schemas.microsoft.com/office/drawing/2014/main" id="{9234D421-5ED8-4E32-89E6-0B1F4C93DA24}"/>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8" name="Lige forbindelse 1187">
                <a:extLst>
                  <a:ext uri="{FF2B5EF4-FFF2-40B4-BE49-F238E27FC236}">
                    <a16:creationId xmlns:a16="http://schemas.microsoft.com/office/drawing/2014/main" id="{3E4946EA-0F65-4C5B-AB84-5EF73A270919}"/>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9" name="Lige forbindelse 1188">
                <a:extLst>
                  <a:ext uri="{FF2B5EF4-FFF2-40B4-BE49-F238E27FC236}">
                    <a16:creationId xmlns:a16="http://schemas.microsoft.com/office/drawing/2014/main" id="{60ADDDFB-2F6E-4B85-AE2F-0FC9EAAA3E7A}"/>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1190" name="Rektangel 1189">
                <a:extLst>
                  <a:ext uri="{FF2B5EF4-FFF2-40B4-BE49-F238E27FC236}">
                    <a16:creationId xmlns:a16="http://schemas.microsoft.com/office/drawing/2014/main" id="{5C25D6F2-52CB-4954-AE75-21FC0484EE64}"/>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1" name="Rektangel 1190">
                <a:extLst>
                  <a:ext uri="{FF2B5EF4-FFF2-40B4-BE49-F238E27FC236}">
                    <a16:creationId xmlns:a16="http://schemas.microsoft.com/office/drawing/2014/main" id="{2E99EC96-6374-4046-AE5B-4127E7607F80}"/>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2" name="Rektangel 1191">
                <a:extLst>
                  <a:ext uri="{FF2B5EF4-FFF2-40B4-BE49-F238E27FC236}">
                    <a16:creationId xmlns:a16="http://schemas.microsoft.com/office/drawing/2014/main" id="{21A4585A-4F0D-48CB-B2BB-CC6C761A3344}"/>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3" name="Rektangel 1192">
                <a:extLst>
                  <a:ext uri="{FF2B5EF4-FFF2-40B4-BE49-F238E27FC236}">
                    <a16:creationId xmlns:a16="http://schemas.microsoft.com/office/drawing/2014/main" id="{636A8E0B-C4B0-4ED7-97D0-25670C64B604}"/>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4" name="Rektangel 1193">
                <a:extLst>
                  <a:ext uri="{FF2B5EF4-FFF2-40B4-BE49-F238E27FC236}">
                    <a16:creationId xmlns:a16="http://schemas.microsoft.com/office/drawing/2014/main" id="{53A84DDC-99FE-492C-B857-88695A902378}"/>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5" name="Rektangel 1194">
                <a:extLst>
                  <a:ext uri="{FF2B5EF4-FFF2-40B4-BE49-F238E27FC236}">
                    <a16:creationId xmlns:a16="http://schemas.microsoft.com/office/drawing/2014/main" id="{4E334F9C-7681-421A-92B8-3FDE0BE99131}"/>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6" name="Rektangel 1195">
                <a:extLst>
                  <a:ext uri="{FF2B5EF4-FFF2-40B4-BE49-F238E27FC236}">
                    <a16:creationId xmlns:a16="http://schemas.microsoft.com/office/drawing/2014/main" id="{8B627823-A232-474C-9D28-0025B701FC34}"/>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7" name="Rektangel 1196">
                <a:extLst>
                  <a:ext uri="{FF2B5EF4-FFF2-40B4-BE49-F238E27FC236}">
                    <a16:creationId xmlns:a16="http://schemas.microsoft.com/office/drawing/2014/main" id="{5592F835-E6B6-4C53-94F9-EAF2349C6B31}"/>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8" name="Rektangel 1197">
                <a:extLst>
                  <a:ext uri="{FF2B5EF4-FFF2-40B4-BE49-F238E27FC236}">
                    <a16:creationId xmlns:a16="http://schemas.microsoft.com/office/drawing/2014/main" id="{4CD11780-6197-4A39-A366-E7F61C9EB20E}"/>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9" name="Rektangel 1198">
                <a:extLst>
                  <a:ext uri="{FF2B5EF4-FFF2-40B4-BE49-F238E27FC236}">
                    <a16:creationId xmlns:a16="http://schemas.microsoft.com/office/drawing/2014/main" id="{A1BE993C-1D82-459C-AF26-3AB1AF3B6097}"/>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0" name="Rektangel 1199">
                <a:extLst>
                  <a:ext uri="{FF2B5EF4-FFF2-40B4-BE49-F238E27FC236}">
                    <a16:creationId xmlns:a16="http://schemas.microsoft.com/office/drawing/2014/main" id="{F91FE6FA-BBB2-4158-8925-B13A3BBB8F1E}"/>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1" name="Rektangel 1200">
                <a:extLst>
                  <a:ext uri="{FF2B5EF4-FFF2-40B4-BE49-F238E27FC236}">
                    <a16:creationId xmlns:a16="http://schemas.microsoft.com/office/drawing/2014/main" id="{B9ABB434-ABCA-4E5F-90D5-234316B3FC3F}"/>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2" name="Rektangel 1201">
                <a:extLst>
                  <a:ext uri="{FF2B5EF4-FFF2-40B4-BE49-F238E27FC236}">
                    <a16:creationId xmlns:a16="http://schemas.microsoft.com/office/drawing/2014/main" id="{C992D8E2-5FBA-4E4C-965B-0D2EC42C5A76}"/>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03" name="Gruppe 1202">
                <a:extLst>
                  <a:ext uri="{FF2B5EF4-FFF2-40B4-BE49-F238E27FC236}">
                    <a16:creationId xmlns:a16="http://schemas.microsoft.com/office/drawing/2014/main" id="{C531B50B-8A21-4CB4-8153-1FB309C407AD}"/>
                  </a:ext>
                </a:extLst>
              </p:cNvPr>
              <p:cNvGrpSpPr/>
              <p:nvPr/>
            </p:nvGrpSpPr>
            <p:grpSpPr>
              <a:xfrm>
                <a:off x="3076887" y="5908189"/>
                <a:ext cx="1620672" cy="63914"/>
                <a:chOff x="1209635" y="3152432"/>
                <a:chExt cx="9240230" cy="585788"/>
              </a:xfrm>
              <a:solidFill>
                <a:srgbClr val="C3C0B1"/>
              </a:solidFill>
            </p:grpSpPr>
            <p:sp>
              <p:nvSpPr>
                <p:cNvPr id="1284" name="Retvinklet trekant 1283">
                  <a:extLst>
                    <a:ext uri="{FF2B5EF4-FFF2-40B4-BE49-F238E27FC236}">
                      <a16:creationId xmlns:a16="http://schemas.microsoft.com/office/drawing/2014/main" id="{A79A76F4-768A-4993-99F1-91E90BE48F1E}"/>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5" name="Rektangel 1284">
                  <a:extLst>
                    <a:ext uri="{FF2B5EF4-FFF2-40B4-BE49-F238E27FC236}">
                      <a16:creationId xmlns:a16="http://schemas.microsoft.com/office/drawing/2014/main" id="{68EE35D0-5A7A-4D3C-BFBA-1DC5B38DAE9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6" name="Retvinklet trekant 1285">
                  <a:extLst>
                    <a:ext uri="{FF2B5EF4-FFF2-40B4-BE49-F238E27FC236}">
                      <a16:creationId xmlns:a16="http://schemas.microsoft.com/office/drawing/2014/main" id="{C2BDFE37-5371-4172-9A1E-7889429EBCA4}"/>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04" name="Rektangel 1203">
                <a:extLst>
                  <a:ext uri="{FF2B5EF4-FFF2-40B4-BE49-F238E27FC236}">
                    <a16:creationId xmlns:a16="http://schemas.microsoft.com/office/drawing/2014/main" id="{83C25BCE-EA93-4C60-A0BC-C1F2759FA756}"/>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5" name="Parallelogram 1204">
                <a:extLst>
                  <a:ext uri="{FF2B5EF4-FFF2-40B4-BE49-F238E27FC236}">
                    <a16:creationId xmlns:a16="http://schemas.microsoft.com/office/drawing/2014/main" id="{BEB8D8E0-8FC6-4A65-B499-1CAD7DA3E18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6" name="Parallelogram 1205">
                <a:extLst>
                  <a:ext uri="{FF2B5EF4-FFF2-40B4-BE49-F238E27FC236}">
                    <a16:creationId xmlns:a16="http://schemas.microsoft.com/office/drawing/2014/main" id="{694E0BB1-9C42-45BC-A00E-12C9C4F68DA1}"/>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7" name="Rektangel 1206">
                <a:extLst>
                  <a:ext uri="{FF2B5EF4-FFF2-40B4-BE49-F238E27FC236}">
                    <a16:creationId xmlns:a16="http://schemas.microsoft.com/office/drawing/2014/main" id="{64EAA52A-FC03-4E51-8BF6-E4874C4E8C40}"/>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8" name="Parallelogram 1207">
                <a:extLst>
                  <a:ext uri="{FF2B5EF4-FFF2-40B4-BE49-F238E27FC236}">
                    <a16:creationId xmlns:a16="http://schemas.microsoft.com/office/drawing/2014/main" id="{2BA5C95D-7F15-45EB-AA22-5F3436FD5606}"/>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9" name="Parallelogram 1208">
                <a:extLst>
                  <a:ext uri="{FF2B5EF4-FFF2-40B4-BE49-F238E27FC236}">
                    <a16:creationId xmlns:a16="http://schemas.microsoft.com/office/drawing/2014/main" id="{DC30C7CD-F7BE-4209-A8AF-CB9B401238B5}"/>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0" name="Parallelogram 1209">
                <a:extLst>
                  <a:ext uri="{FF2B5EF4-FFF2-40B4-BE49-F238E27FC236}">
                    <a16:creationId xmlns:a16="http://schemas.microsoft.com/office/drawing/2014/main" id="{AE57E48D-8993-4E63-A51C-1E3E0603ABEA}"/>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1" name="Parallelogram 1210">
                <a:extLst>
                  <a:ext uri="{FF2B5EF4-FFF2-40B4-BE49-F238E27FC236}">
                    <a16:creationId xmlns:a16="http://schemas.microsoft.com/office/drawing/2014/main" id="{AC7E34AF-21BD-413C-991C-2B11EC965182}"/>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2" name="Parallelogram 1211">
                <a:extLst>
                  <a:ext uri="{FF2B5EF4-FFF2-40B4-BE49-F238E27FC236}">
                    <a16:creationId xmlns:a16="http://schemas.microsoft.com/office/drawing/2014/main" id="{8681DB62-0422-4898-B0CC-07BA38613470}"/>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3" name="Parallelogram 1212">
                <a:extLst>
                  <a:ext uri="{FF2B5EF4-FFF2-40B4-BE49-F238E27FC236}">
                    <a16:creationId xmlns:a16="http://schemas.microsoft.com/office/drawing/2014/main" id="{A2647DEF-7E11-4115-810A-C3C4029D903E}"/>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14" name="Gruppe 1213">
                <a:extLst>
                  <a:ext uri="{FF2B5EF4-FFF2-40B4-BE49-F238E27FC236}">
                    <a16:creationId xmlns:a16="http://schemas.microsoft.com/office/drawing/2014/main" id="{FA2B8F25-7BCB-477E-ACC2-390CB860DD69}"/>
                  </a:ext>
                </a:extLst>
              </p:cNvPr>
              <p:cNvGrpSpPr/>
              <p:nvPr/>
            </p:nvGrpSpPr>
            <p:grpSpPr>
              <a:xfrm flipH="1">
                <a:off x="5838296" y="3182733"/>
                <a:ext cx="173906" cy="295709"/>
                <a:chOff x="7286243" y="2703579"/>
                <a:chExt cx="197012" cy="333123"/>
              </a:xfrm>
            </p:grpSpPr>
            <p:sp>
              <p:nvSpPr>
                <p:cNvPr id="1278" name="Parallelogram 1277">
                  <a:extLst>
                    <a:ext uri="{FF2B5EF4-FFF2-40B4-BE49-F238E27FC236}">
                      <a16:creationId xmlns:a16="http://schemas.microsoft.com/office/drawing/2014/main" id="{E22F6CAA-705E-4A5B-AC08-3191734D4799}"/>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9" name="Parallelogram 1278">
                  <a:extLst>
                    <a:ext uri="{FF2B5EF4-FFF2-40B4-BE49-F238E27FC236}">
                      <a16:creationId xmlns:a16="http://schemas.microsoft.com/office/drawing/2014/main" id="{E2353246-E01C-4FF1-A528-BAB1A1B1B92D}"/>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0" name="Parallelogram 1279">
                  <a:extLst>
                    <a:ext uri="{FF2B5EF4-FFF2-40B4-BE49-F238E27FC236}">
                      <a16:creationId xmlns:a16="http://schemas.microsoft.com/office/drawing/2014/main" id="{345A8223-BBAB-474D-90A7-B4C216A41EF2}"/>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1" name="Parallelogram 1280">
                  <a:extLst>
                    <a:ext uri="{FF2B5EF4-FFF2-40B4-BE49-F238E27FC236}">
                      <a16:creationId xmlns:a16="http://schemas.microsoft.com/office/drawing/2014/main" id="{233B9B05-FDA1-4CAE-B7C9-26B99DAC20C7}"/>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2" name="Parallelogram 1281">
                  <a:extLst>
                    <a:ext uri="{FF2B5EF4-FFF2-40B4-BE49-F238E27FC236}">
                      <a16:creationId xmlns:a16="http://schemas.microsoft.com/office/drawing/2014/main" id="{85194CA0-F20A-4EC1-9690-7979FC41C0B1}"/>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3" name="Parallelogram 1282">
                  <a:extLst>
                    <a:ext uri="{FF2B5EF4-FFF2-40B4-BE49-F238E27FC236}">
                      <a16:creationId xmlns:a16="http://schemas.microsoft.com/office/drawing/2014/main" id="{24D327CD-7175-416D-B5A4-E3FF015BD0CC}"/>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15" name="Rektangel 1214">
                <a:extLst>
                  <a:ext uri="{FF2B5EF4-FFF2-40B4-BE49-F238E27FC236}">
                    <a16:creationId xmlns:a16="http://schemas.microsoft.com/office/drawing/2014/main" id="{A6F706DC-FDD0-42AB-900A-9C1EC1CE006A}"/>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6" name="Rektangel 1215">
                <a:extLst>
                  <a:ext uri="{FF2B5EF4-FFF2-40B4-BE49-F238E27FC236}">
                    <a16:creationId xmlns:a16="http://schemas.microsoft.com/office/drawing/2014/main" id="{39D4BC91-C724-4B35-A8B2-B6FDA3107FD1}"/>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7" name="Rektangel 1216">
                <a:extLst>
                  <a:ext uri="{FF2B5EF4-FFF2-40B4-BE49-F238E27FC236}">
                    <a16:creationId xmlns:a16="http://schemas.microsoft.com/office/drawing/2014/main" id="{A20CDBDA-33D7-4DD0-BE9A-37DC9C260B9D}"/>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8" name="Rektangel 1217">
                <a:extLst>
                  <a:ext uri="{FF2B5EF4-FFF2-40B4-BE49-F238E27FC236}">
                    <a16:creationId xmlns:a16="http://schemas.microsoft.com/office/drawing/2014/main" id="{61FA61FE-C62A-494D-AF4C-800F6323BE8D}"/>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9" name="Rektangel 1218">
                <a:extLst>
                  <a:ext uri="{FF2B5EF4-FFF2-40B4-BE49-F238E27FC236}">
                    <a16:creationId xmlns:a16="http://schemas.microsoft.com/office/drawing/2014/main" id="{26AAD365-17F4-4260-807B-F5A6939E5153}"/>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0" name="Rektangel 1219">
                <a:extLst>
                  <a:ext uri="{FF2B5EF4-FFF2-40B4-BE49-F238E27FC236}">
                    <a16:creationId xmlns:a16="http://schemas.microsoft.com/office/drawing/2014/main" id="{E3A74035-4B4F-49BB-AA13-2D6E69E50FCB}"/>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1" name="Rektangel 1220">
                <a:extLst>
                  <a:ext uri="{FF2B5EF4-FFF2-40B4-BE49-F238E27FC236}">
                    <a16:creationId xmlns:a16="http://schemas.microsoft.com/office/drawing/2014/main" id="{2AF76F82-E900-4E0C-9AC3-B21FB7655192}"/>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2" name="Rektangel 1221">
                <a:extLst>
                  <a:ext uri="{FF2B5EF4-FFF2-40B4-BE49-F238E27FC236}">
                    <a16:creationId xmlns:a16="http://schemas.microsoft.com/office/drawing/2014/main" id="{1010D5B9-12FE-40EE-803C-99B3AF24AC53}"/>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3" name="Rektangel 1222">
                <a:extLst>
                  <a:ext uri="{FF2B5EF4-FFF2-40B4-BE49-F238E27FC236}">
                    <a16:creationId xmlns:a16="http://schemas.microsoft.com/office/drawing/2014/main" id="{AC1FC723-84BC-4588-9FA3-F735AF10091E}"/>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4" name="Rektangel 1223">
                <a:extLst>
                  <a:ext uri="{FF2B5EF4-FFF2-40B4-BE49-F238E27FC236}">
                    <a16:creationId xmlns:a16="http://schemas.microsoft.com/office/drawing/2014/main" id="{81E2D5A5-88F8-4597-A9C9-E15C7D8CA486}"/>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5" name="Rektangel 1224">
                <a:extLst>
                  <a:ext uri="{FF2B5EF4-FFF2-40B4-BE49-F238E27FC236}">
                    <a16:creationId xmlns:a16="http://schemas.microsoft.com/office/drawing/2014/main" id="{27870878-A725-4491-8675-B0DC7E4D5893}"/>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6" name="Rektangel 1225">
                <a:extLst>
                  <a:ext uri="{FF2B5EF4-FFF2-40B4-BE49-F238E27FC236}">
                    <a16:creationId xmlns:a16="http://schemas.microsoft.com/office/drawing/2014/main" id="{CFE2FACE-AA8B-446C-BB93-5B695755E367}"/>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7" name="Rektangel 1226">
                <a:extLst>
                  <a:ext uri="{FF2B5EF4-FFF2-40B4-BE49-F238E27FC236}">
                    <a16:creationId xmlns:a16="http://schemas.microsoft.com/office/drawing/2014/main" id="{3C89A89A-2A0E-44E2-B44F-B89A14E51842}"/>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8" name="Rektangel 1227">
                <a:extLst>
                  <a:ext uri="{FF2B5EF4-FFF2-40B4-BE49-F238E27FC236}">
                    <a16:creationId xmlns:a16="http://schemas.microsoft.com/office/drawing/2014/main" id="{985B893E-D30C-4E09-BAE5-AAC636A79E0B}"/>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9" name="Rektangel 1228">
                <a:extLst>
                  <a:ext uri="{FF2B5EF4-FFF2-40B4-BE49-F238E27FC236}">
                    <a16:creationId xmlns:a16="http://schemas.microsoft.com/office/drawing/2014/main" id="{A282E1F7-2120-4BAB-834D-9160C6518E92}"/>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0" name="Rektangel 1229">
                <a:extLst>
                  <a:ext uri="{FF2B5EF4-FFF2-40B4-BE49-F238E27FC236}">
                    <a16:creationId xmlns:a16="http://schemas.microsoft.com/office/drawing/2014/main" id="{BCFDB9C5-2DBD-4D00-BED8-71BDBB5AC9A1}"/>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1" name="Rektangel 1230">
                <a:extLst>
                  <a:ext uri="{FF2B5EF4-FFF2-40B4-BE49-F238E27FC236}">
                    <a16:creationId xmlns:a16="http://schemas.microsoft.com/office/drawing/2014/main" id="{18FCCAEE-3F91-4574-9B24-070F71677607}"/>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2" name="Rektangel 1231">
                <a:extLst>
                  <a:ext uri="{FF2B5EF4-FFF2-40B4-BE49-F238E27FC236}">
                    <a16:creationId xmlns:a16="http://schemas.microsoft.com/office/drawing/2014/main" id="{5B2D7D53-E160-4EC9-AB79-4875FCE595F4}"/>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3" name="Rektangel 1232">
                <a:extLst>
                  <a:ext uri="{FF2B5EF4-FFF2-40B4-BE49-F238E27FC236}">
                    <a16:creationId xmlns:a16="http://schemas.microsoft.com/office/drawing/2014/main" id="{2BF88E59-35E2-4F5A-93CB-AAB6BF476450}"/>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4" name="Rektangel 1233">
                <a:extLst>
                  <a:ext uri="{FF2B5EF4-FFF2-40B4-BE49-F238E27FC236}">
                    <a16:creationId xmlns:a16="http://schemas.microsoft.com/office/drawing/2014/main" id="{5F2E963B-6342-4821-98C8-65962963884B}"/>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5" name="Rektangel 1234">
                <a:extLst>
                  <a:ext uri="{FF2B5EF4-FFF2-40B4-BE49-F238E27FC236}">
                    <a16:creationId xmlns:a16="http://schemas.microsoft.com/office/drawing/2014/main" id="{36EE0FD9-D105-4CFF-8714-7DA19C62D5A1}"/>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6" name="Rektangel 1235">
                <a:extLst>
                  <a:ext uri="{FF2B5EF4-FFF2-40B4-BE49-F238E27FC236}">
                    <a16:creationId xmlns:a16="http://schemas.microsoft.com/office/drawing/2014/main" id="{F11D45FA-A1BC-4D13-A8C6-28DF9CEBCD07}"/>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37" name="Gruppe 1236">
                <a:extLst>
                  <a:ext uri="{FF2B5EF4-FFF2-40B4-BE49-F238E27FC236}">
                    <a16:creationId xmlns:a16="http://schemas.microsoft.com/office/drawing/2014/main" id="{E310BD5E-1208-4A1C-A8E0-093694389760}"/>
                  </a:ext>
                </a:extLst>
              </p:cNvPr>
              <p:cNvGrpSpPr/>
              <p:nvPr/>
            </p:nvGrpSpPr>
            <p:grpSpPr>
              <a:xfrm>
                <a:off x="5186504" y="5766771"/>
                <a:ext cx="801793" cy="53671"/>
                <a:chOff x="1209635" y="3152432"/>
                <a:chExt cx="9240230" cy="585788"/>
              </a:xfrm>
            </p:grpSpPr>
            <p:sp>
              <p:nvSpPr>
                <p:cNvPr id="1275" name="Retvinklet trekant 1274">
                  <a:extLst>
                    <a:ext uri="{FF2B5EF4-FFF2-40B4-BE49-F238E27FC236}">
                      <a16:creationId xmlns:a16="http://schemas.microsoft.com/office/drawing/2014/main" id="{24FBDA62-CECF-44BD-AA30-03EFFE3B6998}"/>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6" name="Rektangel 1275">
                  <a:extLst>
                    <a:ext uri="{FF2B5EF4-FFF2-40B4-BE49-F238E27FC236}">
                      <a16:creationId xmlns:a16="http://schemas.microsoft.com/office/drawing/2014/main" id="{AD4FEF11-FAF0-4E2C-9B9A-AA9B0B965BD5}"/>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7" name="Retvinklet trekant 1276">
                  <a:extLst>
                    <a:ext uri="{FF2B5EF4-FFF2-40B4-BE49-F238E27FC236}">
                      <a16:creationId xmlns:a16="http://schemas.microsoft.com/office/drawing/2014/main" id="{030386B6-7B28-4B71-9919-78100C74A88C}"/>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238" name="Gruppe 1237">
                <a:extLst>
                  <a:ext uri="{FF2B5EF4-FFF2-40B4-BE49-F238E27FC236}">
                    <a16:creationId xmlns:a16="http://schemas.microsoft.com/office/drawing/2014/main" id="{3B6DB2EB-1679-4E43-91ED-DB9F3DEA20FD}"/>
                  </a:ext>
                </a:extLst>
              </p:cNvPr>
              <p:cNvGrpSpPr/>
              <p:nvPr/>
            </p:nvGrpSpPr>
            <p:grpSpPr>
              <a:xfrm>
                <a:off x="5835932" y="4454540"/>
                <a:ext cx="110215" cy="202903"/>
                <a:chOff x="1758507" y="5170209"/>
                <a:chExt cx="156925" cy="285896"/>
              </a:xfrm>
            </p:grpSpPr>
            <p:sp>
              <p:nvSpPr>
                <p:cNvPr id="1272" name="Rektangel 1271">
                  <a:extLst>
                    <a:ext uri="{FF2B5EF4-FFF2-40B4-BE49-F238E27FC236}">
                      <a16:creationId xmlns:a16="http://schemas.microsoft.com/office/drawing/2014/main" id="{16294BF5-B9EF-4BCF-B75F-B134ACE1870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3" name="Lige forbindelse 1272">
                  <a:extLst>
                    <a:ext uri="{FF2B5EF4-FFF2-40B4-BE49-F238E27FC236}">
                      <a16:creationId xmlns:a16="http://schemas.microsoft.com/office/drawing/2014/main" id="{433DC924-1528-4672-9B23-8780A7351161}"/>
                    </a:ext>
                  </a:extLst>
                </p:cNvPr>
                <p:cNvCxnSpPr>
                  <a:cxnSpLocks/>
                  <a:stCxn id="1272" idx="0"/>
                  <a:endCxn id="1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4" name="Lige forbindelse 1273">
                  <a:extLst>
                    <a:ext uri="{FF2B5EF4-FFF2-40B4-BE49-F238E27FC236}">
                      <a16:creationId xmlns:a16="http://schemas.microsoft.com/office/drawing/2014/main" id="{D7617DB8-3DAE-4E26-AFFF-CA3093B43804}"/>
                    </a:ext>
                  </a:extLst>
                </p:cNvPr>
                <p:cNvCxnSpPr>
                  <a:cxnSpLocks/>
                  <a:stCxn id="1272" idx="1"/>
                  <a:endCxn id="1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39" name="Gruppe 1238">
                <a:extLst>
                  <a:ext uri="{FF2B5EF4-FFF2-40B4-BE49-F238E27FC236}">
                    <a16:creationId xmlns:a16="http://schemas.microsoft.com/office/drawing/2014/main" id="{B93FA2A0-59F2-4D4B-9549-4BE0947766CC}"/>
                  </a:ext>
                </a:extLst>
              </p:cNvPr>
              <p:cNvGrpSpPr/>
              <p:nvPr/>
            </p:nvGrpSpPr>
            <p:grpSpPr>
              <a:xfrm>
                <a:off x="5454147" y="3745047"/>
                <a:ext cx="110215" cy="202903"/>
                <a:chOff x="1758507" y="5170209"/>
                <a:chExt cx="156925" cy="285896"/>
              </a:xfrm>
            </p:grpSpPr>
            <p:sp>
              <p:nvSpPr>
                <p:cNvPr id="1269" name="Rektangel 1268">
                  <a:extLst>
                    <a:ext uri="{FF2B5EF4-FFF2-40B4-BE49-F238E27FC236}">
                      <a16:creationId xmlns:a16="http://schemas.microsoft.com/office/drawing/2014/main" id="{A0E4EF35-FACB-44F9-9F3E-43A7E2B0D66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0" name="Lige forbindelse 1269">
                  <a:extLst>
                    <a:ext uri="{FF2B5EF4-FFF2-40B4-BE49-F238E27FC236}">
                      <a16:creationId xmlns:a16="http://schemas.microsoft.com/office/drawing/2014/main" id="{7DC66DD5-D52F-45DE-82D3-4AD6E08ABA69}"/>
                    </a:ext>
                  </a:extLst>
                </p:cNvPr>
                <p:cNvCxnSpPr>
                  <a:cxnSpLocks/>
                  <a:stCxn id="1269" idx="0"/>
                  <a:endCxn id="1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1" name="Lige forbindelse 1270">
                  <a:extLst>
                    <a:ext uri="{FF2B5EF4-FFF2-40B4-BE49-F238E27FC236}">
                      <a16:creationId xmlns:a16="http://schemas.microsoft.com/office/drawing/2014/main" id="{FF0F3E42-F5F3-46EB-8F7E-16BB88C2DBCB}"/>
                    </a:ext>
                  </a:extLst>
                </p:cNvPr>
                <p:cNvCxnSpPr>
                  <a:cxnSpLocks/>
                  <a:stCxn id="1269" idx="1"/>
                  <a:endCxn id="1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40" name="Gruppe 1239">
                <a:extLst>
                  <a:ext uri="{FF2B5EF4-FFF2-40B4-BE49-F238E27FC236}">
                    <a16:creationId xmlns:a16="http://schemas.microsoft.com/office/drawing/2014/main" id="{60DD437B-83CD-43BD-B46E-12F7635E077A}"/>
                  </a:ext>
                </a:extLst>
              </p:cNvPr>
              <p:cNvGrpSpPr/>
              <p:nvPr/>
            </p:nvGrpSpPr>
            <p:grpSpPr>
              <a:xfrm>
                <a:off x="5369458" y="3940570"/>
                <a:ext cx="635558" cy="437035"/>
                <a:chOff x="6776638" y="3675567"/>
                <a:chExt cx="720000" cy="492329"/>
              </a:xfrm>
            </p:grpSpPr>
            <p:grpSp>
              <p:nvGrpSpPr>
                <p:cNvPr id="1258" name="Gruppe 1257">
                  <a:extLst>
                    <a:ext uri="{FF2B5EF4-FFF2-40B4-BE49-F238E27FC236}">
                      <a16:creationId xmlns:a16="http://schemas.microsoft.com/office/drawing/2014/main" id="{80BFA02B-ABCB-4553-A7B4-824E48D92788}"/>
                    </a:ext>
                  </a:extLst>
                </p:cNvPr>
                <p:cNvGrpSpPr/>
                <p:nvPr/>
              </p:nvGrpSpPr>
              <p:grpSpPr>
                <a:xfrm>
                  <a:off x="7053110" y="3917891"/>
                  <a:ext cx="168029" cy="213816"/>
                  <a:chOff x="4852454" y="2916519"/>
                  <a:chExt cx="278597" cy="366599"/>
                </a:xfrm>
              </p:grpSpPr>
              <p:sp>
                <p:nvSpPr>
                  <p:cNvPr id="1267" name="Rektangel 1266">
                    <a:extLst>
                      <a:ext uri="{FF2B5EF4-FFF2-40B4-BE49-F238E27FC236}">
                        <a16:creationId xmlns:a16="http://schemas.microsoft.com/office/drawing/2014/main" id="{7EB3670D-AB03-4C3D-B9A8-4B83A12B20BD}"/>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8" name="Rektangel: afrundede hjørner 1267">
                    <a:extLst>
                      <a:ext uri="{FF2B5EF4-FFF2-40B4-BE49-F238E27FC236}">
                        <a16:creationId xmlns:a16="http://schemas.microsoft.com/office/drawing/2014/main" id="{818FB5CA-9984-43AE-85D1-22E08FB19E5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59" name="Rektangel 1258">
                  <a:extLst>
                    <a:ext uri="{FF2B5EF4-FFF2-40B4-BE49-F238E27FC236}">
                      <a16:creationId xmlns:a16="http://schemas.microsoft.com/office/drawing/2014/main" id="{F5CD696C-DE64-415D-A1C6-AF5DBAA1013D}"/>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0" name="Rektangel 1259">
                  <a:extLst>
                    <a:ext uri="{FF2B5EF4-FFF2-40B4-BE49-F238E27FC236}">
                      <a16:creationId xmlns:a16="http://schemas.microsoft.com/office/drawing/2014/main" id="{93239C63-5CE7-4419-B88A-32CBE479A23E}"/>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1" name="Rektangel 1260">
                  <a:extLst>
                    <a:ext uri="{FF2B5EF4-FFF2-40B4-BE49-F238E27FC236}">
                      <a16:creationId xmlns:a16="http://schemas.microsoft.com/office/drawing/2014/main" id="{FAE942D7-1DE9-43B0-8546-6690E87DB195}"/>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2" name="Rektangel 1261">
                  <a:extLst>
                    <a:ext uri="{FF2B5EF4-FFF2-40B4-BE49-F238E27FC236}">
                      <a16:creationId xmlns:a16="http://schemas.microsoft.com/office/drawing/2014/main" id="{FB29AFA3-0728-4C23-A1A4-26BD7571A760}"/>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3" name="Rektangel 1262">
                  <a:extLst>
                    <a:ext uri="{FF2B5EF4-FFF2-40B4-BE49-F238E27FC236}">
                      <a16:creationId xmlns:a16="http://schemas.microsoft.com/office/drawing/2014/main" id="{DDD92164-74B7-42A1-A49C-DEE8C1CBB3A4}"/>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4" name="Rektangel 1263">
                  <a:extLst>
                    <a:ext uri="{FF2B5EF4-FFF2-40B4-BE49-F238E27FC236}">
                      <a16:creationId xmlns:a16="http://schemas.microsoft.com/office/drawing/2014/main" id="{E61E7FF1-1835-4B0D-99A0-008906286602}"/>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5" name="Rektangel 1264">
                  <a:extLst>
                    <a:ext uri="{FF2B5EF4-FFF2-40B4-BE49-F238E27FC236}">
                      <a16:creationId xmlns:a16="http://schemas.microsoft.com/office/drawing/2014/main" id="{B6B3CC28-C15D-440A-AA02-F313CE696E83}"/>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6" name="Ellipse 1265">
                  <a:extLst>
                    <a:ext uri="{FF2B5EF4-FFF2-40B4-BE49-F238E27FC236}">
                      <a16:creationId xmlns:a16="http://schemas.microsoft.com/office/drawing/2014/main" id="{5C121428-5FD5-4E63-BB35-E78698F77E04}"/>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41" name="Rektangel 1240">
                <a:extLst>
                  <a:ext uri="{FF2B5EF4-FFF2-40B4-BE49-F238E27FC236}">
                    <a16:creationId xmlns:a16="http://schemas.microsoft.com/office/drawing/2014/main" id="{1A73F686-5B11-4FB5-8613-114AE40492E0}"/>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2" name="Rektangel 1241">
                <a:extLst>
                  <a:ext uri="{FF2B5EF4-FFF2-40B4-BE49-F238E27FC236}">
                    <a16:creationId xmlns:a16="http://schemas.microsoft.com/office/drawing/2014/main" id="{33F5D948-D8A0-4977-90BB-3290D1A63744}"/>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3" name="Ellipse 1242">
                <a:extLst>
                  <a:ext uri="{FF2B5EF4-FFF2-40B4-BE49-F238E27FC236}">
                    <a16:creationId xmlns:a16="http://schemas.microsoft.com/office/drawing/2014/main" id="{D3011426-440A-4AFD-A9F9-DC0BEF750DB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4" name="Heksagon 1243">
                <a:extLst>
                  <a:ext uri="{FF2B5EF4-FFF2-40B4-BE49-F238E27FC236}">
                    <a16:creationId xmlns:a16="http://schemas.microsoft.com/office/drawing/2014/main" id="{B1F404B4-52DB-4432-9D5B-6C268DE16C02}"/>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45" name="Grafik 1244" descr="Ringelyd">
                <a:extLst>
                  <a:ext uri="{FF2B5EF4-FFF2-40B4-BE49-F238E27FC236}">
                    <a16:creationId xmlns:a16="http://schemas.microsoft.com/office/drawing/2014/main" id="{F1E17578-2890-4A63-A190-5BD7F608C8E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246" name="Rektangel 1245">
                <a:extLst>
                  <a:ext uri="{FF2B5EF4-FFF2-40B4-BE49-F238E27FC236}">
                    <a16:creationId xmlns:a16="http://schemas.microsoft.com/office/drawing/2014/main" id="{A39946C9-92D6-48DC-8E54-B0E5C32AF7BB}"/>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7" name="Rektangel 1246">
                <a:extLst>
                  <a:ext uri="{FF2B5EF4-FFF2-40B4-BE49-F238E27FC236}">
                    <a16:creationId xmlns:a16="http://schemas.microsoft.com/office/drawing/2014/main" id="{BE6D0FE9-1FFE-46F3-BA29-EEF2D416ADAF}"/>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8" name="Rektangel 1247">
                <a:extLst>
                  <a:ext uri="{FF2B5EF4-FFF2-40B4-BE49-F238E27FC236}">
                    <a16:creationId xmlns:a16="http://schemas.microsoft.com/office/drawing/2014/main" id="{09EBF14E-61FE-4A73-A68C-3288BD494704}"/>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9" name="Rektangel 1248">
                <a:extLst>
                  <a:ext uri="{FF2B5EF4-FFF2-40B4-BE49-F238E27FC236}">
                    <a16:creationId xmlns:a16="http://schemas.microsoft.com/office/drawing/2014/main" id="{A8FD71EE-2561-469B-B6D9-C9DE9F7D6889}"/>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0" name="Rektangel: øverste hjørner afklippet 1249">
                <a:extLst>
                  <a:ext uri="{FF2B5EF4-FFF2-40B4-BE49-F238E27FC236}">
                    <a16:creationId xmlns:a16="http://schemas.microsoft.com/office/drawing/2014/main" id="{C869B3B4-F596-4908-AB1B-86FE46284A10}"/>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1" name="Retvinklet trekant 1250">
                <a:extLst>
                  <a:ext uri="{FF2B5EF4-FFF2-40B4-BE49-F238E27FC236}">
                    <a16:creationId xmlns:a16="http://schemas.microsoft.com/office/drawing/2014/main" id="{18C476BA-CC97-4B85-92CD-28B12FBE197F}"/>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2" name="Retvinklet trekant 1251">
                <a:extLst>
                  <a:ext uri="{FF2B5EF4-FFF2-40B4-BE49-F238E27FC236}">
                    <a16:creationId xmlns:a16="http://schemas.microsoft.com/office/drawing/2014/main" id="{6F1785C9-AF40-4038-A9C4-B456886AA0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3" name="Ellipse 1252">
                <a:extLst>
                  <a:ext uri="{FF2B5EF4-FFF2-40B4-BE49-F238E27FC236}">
                    <a16:creationId xmlns:a16="http://schemas.microsoft.com/office/drawing/2014/main" id="{D18F1C51-F062-461A-9EAD-8CF9F049AD79}"/>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4" name="Rektangel 1253">
                <a:extLst>
                  <a:ext uri="{FF2B5EF4-FFF2-40B4-BE49-F238E27FC236}">
                    <a16:creationId xmlns:a16="http://schemas.microsoft.com/office/drawing/2014/main" id="{92632D5D-7C62-4301-93D9-6397E26004BC}"/>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5" name="Rektangel 1254">
                <a:extLst>
                  <a:ext uri="{FF2B5EF4-FFF2-40B4-BE49-F238E27FC236}">
                    <a16:creationId xmlns:a16="http://schemas.microsoft.com/office/drawing/2014/main" id="{F509612B-72A1-46F4-B9CA-E89542F3F65A}"/>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6" name="Rektangel 1255">
                <a:extLst>
                  <a:ext uri="{FF2B5EF4-FFF2-40B4-BE49-F238E27FC236}">
                    <a16:creationId xmlns:a16="http://schemas.microsoft.com/office/drawing/2014/main" id="{76BCDD11-88DA-487D-912E-EAD43529E3E9}"/>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7" name="Rektangel 1256">
                <a:extLst>
                  <a:ext uri="{FF2B5EF4-FFF2-40B4-BE49-F238E27FC236}">
                    <a16:creationId xmlns:a16="http://schemas.microsoft.com/office/drawing/2014/main" id="{5C9963CB-A6C9-43F0-8FF7-B5C462937789}"/>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5" name="Rektangel 994">
              <a:extLst>
                <a:ext uri="{FF2B5EF4-FFF2-40B4-BE49-F238E27FC236}">
                  <a16:creationId xmlns:a16="http://schemas.microsoft.com/office/drawing/2014/main" id="{442C835A-195F-46AA-B734-69ED8AB9DF97}"/>
                </a:ext>
              </a:extLst>
            </p:cNvPr>
            <p:cNvSpPr/>
            <p:nvPr/>
          </p:nvSpPr>
          <p:spPr>
            <a:xfrm>
              <a:off x="7845719" y="5157787"/>
              <a:ext cx="1328346" cy="661057"/>
            </a:xfrm>
            <a:prstGeom prst="rect">
              <a:avLst/>
            </a:prstGeom>
            <a:gradFill flip="none" rotWithShape="1">
              <a:gsLst>
                <a:gs pos="0">
                  <a:srgbClr val="514839"/>
                </a:gs>
                <a:gs pos="48000">
                  <a:srgbClr val="514839"/>
                </a:gs>
                <a:gs pos="23000">
                  <a:srgbClr val="4A4438"/>
                </a:gs>
                <a:gs pos="73000">
                  <a:srgbClr val="4A4438"/>
                </a:gs>
                <a:gs pos="100000">
                  <a:srgbClr val="51483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6" name="Rektangel 995">
              <a:extLst>
                <a:ext uri="{FF2B5EF4-FFF2-40B4-BE49-F238E27FC236}">
                  <a16:creationId xmlns:a16="http://schemas.microsoft.com/office/drawing/2014/main" id="{533436B0-BF03-4915-86E7-47764EA4D0EC}"/>
                </a:ext>
              </a:extLst>
            </p:cNvPr>
            <p:cNvSpPr/>
            <p:nvPr/>
          </p:nvSpPr>
          <p:spPr>
            <a:xfrm>
              <a:off x="803956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7" name="Rektangel 996">
              <a:extLst>
                <a:ext uri="{FF2B5EF4-FFF2-40B4-BE49-F238E27FC236}">
                  <a16:creationId xmlns:a16="http://schemas.microsoft.com/office/drawing/2014/main" id="{6990CBF5-70EF-43CB-95A2-57CD7A5DBCD6}"/>
                </a:ext>
              </a:extLst>
            </p:cNvPr>
            <p:cNvSpPr/>
            <p:nvPr/>
          </p:nvSpPr>
          <p:spPr>
            <a:xfrm>
              <a:off x="812934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8" name="Rektangel 997">
              <a:extLst>
                <a:ext uri="{FF2B5EF4-FFF2-40B4-BE49-F238E27FC236}">
                  <a16:creationId xmlns:a16="http://schemas.microsoft.com/office/drawing/2014/main" id="{D7BA9E0E-92BD-452E-9A24-110D30D86F8D}"/>
                </a:ext>
              </a:extLst>
            </p:cNvPr>
            <p:cNvSpPr/>
            <p:nvPr/>
          </p:nvSpPr>
          <p:spPr>
            <a:xfrm>
              <a:off x="822581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9" name="Rektangel 998">
              <a:extLst>
                <a:ext uri="{FF2B5EF4-FFF2-40B4-BE49-F238E27FC236}">
                  <a16:creationId xmlns:a16="http://schemas.microsoft.com/office/drawing/2014/main" id="{95DD8EE6-F224-473A-84DA-6B3499E04695}"/>
                </a:ext>
              </a:extLst>
            </p:cNvPr>
            <p:cNvSpPr/>
            <p:nvPr/>
          </p:nvSpPr>
          <p:spPr>
            <a:xfrm>
              <a:off x="832550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0" name="Rektangel 999">
              <a:extLst>
                <a:ext uri="{FF2B5EF4-FFF2-40B4-BE49-F238E27FC236}">
                  <a16:creationId xmlns:a16="http://schemas.microsoft.com/office/drawing/2014/main" id="{409D68E2-1A80-4202-AD67-4F253A7E6A7C}"/>
                </a:ext>
              </a:extLst>
            </p:cNvPr>
            <p:cNvSpPr/>
            <p:nvPr/>
          </p:nvSpPr>
          <p:spPr>
            <a:xfrm>
              <a:off x="841528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1" name="Rektangel 1000">
              <a:extLst>
                <a:ext uri="{FF2B5EF4-FFF2-40B4-BE49-F238E27FC236}">
                  <a16:creationId xmlns:a16="http://schemas.microsoft.com/office/drawing/2014/main" id="{999F52B1-AD4C-480E-9318-3EABEE4C490C}"/>
                </a:ext>
              </a:extLst>
            </p:cNvPr>
            <p:cNvSpPr/>
            <p:nvPr/>
          </p:nvSpPr>
          <p:spPr>
            <a:xfrm>
              <a:off x="851175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2" name="Rektangel 1001">
              <a:extLst>
                <a:ext uri="{FF2B5EF4-FFF2-40B4-BE49-F238E27FC236}">
                  <a16:creationId xmlns:a16="http://schemas.microsoft.com/office/drawing/2014/main" id="{7F6F4BD5-AA31-4115-B37E-52A6A45B50EA}"/>
                </a:ext>
              </a:extLst>
            </p:cNvPr>
            <p:cNvSpPr/>
            <p:nvPr/>
          </p:nvSpPr>
          <p:spPr>
            <a:xfrm>
              <a:off x="860823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3" name="Rektangel 1002">
              <a:extLst>
                <a:ext uri="{FF2B5EF4-FFF2-40B4-BE49-F238E27FC236}">
                  <a16:creationId xmlns:a16="http://schemas.microsoft.com/office/drawing/2014/main" id="{E8B98FAA-4289-4DDB-A720-9AB3DD9817F1}"/>
                </a:ext>
              </a:extLst>
            </p:cNvPr>
            <p:cNvSpPr/>
            <p:nvPr/>
          </p:nvSpPr>
          <p:spPr>
            <a:xfrm>
              <a:off x="869801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4" name="Rektangel 1003">
              <a:extLst>
                <a:ext uri="{FF2B5EF4-FFF2-40B4-BE49-F238E27FC236}">
                  <a16:creationId xmlns:a16="http://schemas.microsoft.com/office/drawing/2014/main" id="{17218B4B-59F9-48EB-8680-EBB1AFCD6B27}"/>
                </a:ext>
              </a:extLst>
            </p:cNvPr>
            <p:cNvSpPr/>
            <p:nvPr/>
          </p:nvSpPr>
          <p:spPr>
            <a:xfrm>
              <a:off x="879448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5" name="Rektangel 1004">
              <a:extLst>
                <a:ext uri="{FF2B5EF4-FFF2-40B4-BE49-F238E27FC236}">
                  <a16:creationId xmlns:a16="http://schemas.microsoft.com/office/drawing/2014/main" id="{FA181756-EB3B-48E1-B6CA-DA1DBE237C80}"/>
                </a:ext>
              </a:extLst>
            </p:cNvPr>
            <p:cNvSpPr/>
            <p:nvPr/>
          </p:nvSpPr>
          <p:spPr>
            <a:xfrm>
              <a:off x="8891789"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6" name="Rektangel 1005">
              <a:extLst>
                <a:ext uri="{FF2B5EF4-FFF2-40B4-BE49-F238E27FC236}">
                  <a16:creationId xmlns:a16="http://schemas.microsoft.com/office/drawing/2014/main" id="{908159B4-7546-483B-A855-5AF705ED69F4}"/>
                </a:ext>
              </a:extLst>
            </p:cNvPr>
            <p:cNvSpPr/>
            <p:nvPr/>
          </p:nvSpPr>
          <p:spPr>
            <a:xfrm>
              <a:off x="898395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7" name="Rektangel 1006">
              <a:extLst>
                <a:ext uri="{FF2B5EF4-FFF2-40B4-BE49-F238E27FC236}">
                  <a16:creationId xmlns:a16="http://schemas.microsoft.com/office/drawing/2014/main" id="{AF319834-A684-4002-8BBF-4B7A6B037A3F}"/>
                </a:ext>
              </a:extLst>
            </p:cNvPr>
            <p:cNvSpPr/>
            <p:nvPr/>
          </p:nvSpPr>
          <p:spPr>
            <a:xfrm>
              <a:off x="908042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8" name="Rektangel 1007">
              <a:extLst>
                <a:ext uri="{FF2B5EF4-FFF2-40B4-BE49-F238E27FC236}">
                  <a16:creationId xmlns:a16="http://schemas.microsoft.com/office/drawing/2014/main" id="{97F9ADFF-AEBA-4CC5-B8AB-A68AC1E0D06E}"/>
                </a:ext>
              </a:extLst>
            </p:cNvPr>
            <p:cNvSpPr/>
            <p:nvPr/>
          </p:nvSpPr>
          <p:spPr>
            <a:xfrm>
              <a:off x="7932997" y="589505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9" name="Rektangel 1008">
              <a:extLst>
                <a:ext uri="{FF2B5EF4-FFF2-40B4-BE49-F238E27FC236}">
                  <a16:creationId xmlns:a16="http://schemas.microsoft.com/office/drawing/2014/main" id="{DFCFEF7B-9993-4742-B13C-6DA9A15E0023}"/>
                </a:ext>
              </a:extLst>
            </p:cNvPr>
            <p:cNvSpPr/>
            <p:nvPr/>
          </p:nvSpPr>
          <p:spPr>
            <a:xfrm>
              <a:off x="7932997" y="5928396"/>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0" name="Rektangel 1009">
              <a:extLst>
                <a:ext uri="{FF2B5EF4-FFF2-40B4-BE49-F238E27FC236}">
                  <a16:creationId xmlns:a16="http://schemas.microsoft.com/office/drawing/2014/main" id="{E256F186-63BA-4B39-B106-DAF54C55697D}"/>
                </a:ext>
              </a:extLst>
            </p:cNvPr>
            <p:cNvSpPr/>
            <p:nvPr/>
          </p:nvSpPr>
          <p:spPr>
            <a:xfrm>
              <a:off x="7932997" y="596173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1" name="Rektangel 1010">
              <a:extLst>
                <a:ext uri="{FF2B5EF4-FFF2-40B4-BE49-F238E27FC236}">
                  <a16:creationId xmlns:a16="http://schemas.microsoft.com/office/drawing/2014/main" id="{B8B8DAB3-B327-48DF-BE72-F3277E5F774F}"/>
                </a:ext>
              </a:extLst>
            </p:cNvPr>
            <p:cNvSpPr/>
            <p:nvPr/>
          </p:nvSpPr>
          <p:spPr>
            <a:xfrm>
              <a:off x="7932997" y="5861718"/>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2" name="Rektangel 1011">
              <a:extLst>
                <a:ext uri="{FF2B5EF4-FFF2-40B4-BE49-F238E27FC236}">
                  <a16:creationId xmlns:a16="http://schemas.microsoft.com/office/drawing/2014/main" id="{460824E6-CBC0-4021-908C-EDBBDD4F30C9}"/>
                </a:ext>
              </a:extLst>
            </p:cNvPr>
            <p:cNvSpPr/>
            <p:nvPr/>
          </p:nvSpPr>
          <p:spPr>
            <a:xfrm>
              <a:off x="7932997" y="5828379"/>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3" name="Rektangel 1012">
              <a:extLst>
                <a:ext uri="{FF2B5EF4-FFF2-40B4-BE49-F238E27FC236}">
                  <a16:creationId xmlns:a16="http://schemas.microsoft.com/office/drawing/2014/main" id="{7DBA9608-7EF3-4C5B-AB30-DCD742CD4F41}"/>
                </a:ext>
              </a:extLst>
            </p:cNvPr>
            <p:cNvSpPr/>
            <p:nvPr/>
          </p:nvSpPr>
          <p:spPr>
            <a:xfrm>
              <a:off x="7845719" y="5545424"/>
              <a:ext cx="132834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4" name="Rektangel 1013">
              <a:extLst>
                <a:ext uri="{FF2B5EF4-FFF2-40B4-BE49-F238E27FC236}">
                  <a16:creationId xmlns:a16="http://schemas.microsoft.com/office/drawing/2014/main" id="{C3B96885-08A6-4638-A151-FE273D53F281}"/>
                </a:ext>
              </a:extLst>
            </p:cNvPr>
            <p:cNvSpPr/>
            <p:nvPr/>
          </p:nvSpPr>
          <p:spPr>
            <a:xfrm>
              <a:off x="7845719" y="5236866"/>
              <a:ext cx="656057"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5" name="Rektangel 1014">
              <a:extLst>
                <a:ext uri="{FF2B5EF4-FFF2-40B4-BE49-F238E27FC236}">
                  <a16:creationId xmlns:a16="http://schemas.microsoft.com/office/drawing/2014/main" id="{7737D1E5-8064-4818-A411-46FC7DC71BF9}"/>
                </a:ext>
              </a:extLst>
            </p:cNvPr>
            <p:cNvSpPr/>
            <p:nvPr/>
          </p:nvSpPr>
          <p:spPr>
            <a:xfrm>
              <a:off x="8284549" y="5404664"/>
              <a:ext cx="88951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6" name="Rektangel 1015">
              <a:extLst>
                <a:ext uri="{FF2B5EF4-FFF2-40B4-BE49-F238E27FC236}">
                  <a16:creationId xmlns:a16="http://schemas.microsoft.com/office/drawing/2014/main" id="{4BF97E51-AEEF-4F1E-94EB-602A02F0C283}"/>
                </a:ext>
              </a:extLst>
            </p:cNvPr>
            <p:cNvSpPr/>
            <p:nvPr/>
          </p:nvSpPr>
          <p:spPr>
            <a:xfrm>
              <a:off x="8415280"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7" name="Rektangel 1016">
              <a:extLst>
                <a:ext uri="{FF2B5EF4-FFF2-40B4-BE49-F238E27FC236}">
                  <a16:creationId xmlns:a16="http://schemas.microsoft.com/office/drawing/2014/main" id="{0C3FDE39-4A08-4DF3-A223-3FEB1652658B}"/>
                </a:ext>
              </a:extLst>
            </p:cNvPr>
            <p:cNvSpPr/>
            <p:nvPr/>
          </p:nvSpPr>
          <p:spPr>
            <a:xfrm>
              <a:off x="8511755"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8" name="Rektangel 1017">
              <a:extLst>
                <a:ext uri="{FF2B5EF4-FFF2-40B4-BE49-F238E27FC236}">
                  <a16:creationId xmlns:a16="http://schemas.microsoft.com/office/drawing/2014/main" id="{FDA7A587-279B-4E5F-92DF-B79D82308FD4}"/>
                </a:ext>
              </a:extLst>
            </p:cNvPr>
            <p:cNvSpPr/>
            <p:nvPr/>
          </p:nvSpPr>
          <p:spPr>
            <a:xfrm>
              <a:off x="8891789"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9" name="Rektangel 1018">
              <a:extLst>
                <a:ext uri="{FF2B5EF4-FFF2-40B4-BE49-F238E27FC236}">
                  <a16:creationId xmlns:a16="http://schemas.microsoft.com/office/drawing/2014/main" id="{462F544B-AA9A-4C32-B0E5-6E11D6BD1418}"/>
                </a:ext>
              </a:extLst>
            </p:cNvPr>
            <p:cNvSpPr/>
            <p:nvPr/>
          </p:nvSpPr>
          <p:spPr>
            <a:xfrm>
              <a:off x="8983950"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0" name="Rektangel 1019">
              <a:extLst>
                <a:ext uri="{FF2B5EF4-FFF2-40B4-BE49-F238E27FC236}">
                  <a16:creationId xmlns:a16="http://schemas.microsoft.com/office/drawing/2014/main" id="{34FF0B41-34D2-4AA8-A013-07699AE887A1}"/>
                </a:ext>
              </a:extLst>
            </p:cNvPr>
            <p:cNvSpPr/>
            <p:nvPr/>
          </p:nvSpPr>
          <p:spPr>
            <a:xfrm>
              <a:off x="803956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1" name="Rektangel 1020">
              <a:extLst>
                <a:ext uri="{FF2B5EF4-FFF2-40B4-BE49-F238E27FC236}">
                  <a16:creationId xmlns:a16="http://schemas.microsoft.com/office/drawing/2014/main" id="{903CD876-D2CB-4634-9EB0-EB335FE9A324}"/>
                </a:ext>
              </a:extLst>
            </p:cNvPr>
            <p:cNvSpPr/>
            <p:nvPr/>
          </p:nvSpPr>
          <p:spPr>
            <a:xfrm>
              <a:off x="812934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2" name="Gruppe 1021">
              <a:extLst>
                <a:ext uri="{FF2B5EF4-FFF2-40B4-BE49-F238E27FC236}">
                  <a16:creationId xmlns:a16="http://schemas.microsoft.com/office/drawing/2014/main" id="{20CCCACE-09F5-4295-8034-1CBA89CC85A1}"/>
                </a:ext>
              </a:extLst>
            </p:cNvPr>
            <p:cNvGrpSpPr/>
            <p:nvPr/>
          </p:nvGrpSpPr>
          <p:grpSpPr>
            <a:xfrm>
              <a:off x="8415138" y="4431088"/>
              <a:ext cx="1328346" cy="414964"/>
              <a:chOff x="5874427" y="4317588"/>
              <a:chExt cx="3434871" cy="246494"/>
            </a:xfrm>
          </p:grpSpPr>
          <p:sp>
            <p:nvSpPr>
              <p:cNvPr id="1105" name="Retvinklet trekant 1104">
                <a:extLst>
                  <a:ext uri="{FF2B5EF4-FFF2-40B4-BE49-F238E27FC236}">
                    <a16:creationId xmlns:a16="http://schemas.microsoft.com/office/drawing/2014/main" id="{655D5BFA-0489-403B-9E7C-2663D1463EEE}"/>
                  </a:ext>
                </a:extLst>
              </p:cNvPr>
              <p:cNvSpPr/>
              <p:nvPr/>
            </p:nvSpPr>
            <p:spPr>
              <a:xfrm>
                <a:off x="8982984"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6" name="Rektangel 1105">
                <a:extLst>
                  <a:ext uri="{FF2B5EF4-FFF2-40B4-BE49-F238E27FC236}">
                    <a16:creationId xmlns:a16="http://schemas.microsoft.com/office/drawing/2014/main" id="{11DD5CA6-A414-409E-81A3-A7BE7D87A70B}"/>
                  </a:ext>
                </a:extLst>
              </p:cNvPr>
              <p:cNvSpPr/>
              <p:nvPr/>
            </p:nvSpPr>
            <p:spPr>
              <a:xfrm>
                <a:off x="6200741" y="4317588"/>
                <a:ext cx="2782244" cy="246494"/>
              </a:xfrm>
              <a:prstGeom prst="rect">
                <a:avLst/>
              </a:prstGeom>
              <a:gradFill flip="none" rotWithShape="1">
                <a:gsLst>
                  <a:gs pos="0">
                    <a:srgbClr val="635955"/>
                  </a:gs>
                  <a:gs pos="24000">
                    <a:srgbClr val="5A514E"/>
                  </a:gs>
                  <a:gs pos="53000">
                    <a:srgbClr val="635955"/>
                  </a:gs>
                  <a:gs pos="76000">
                    <a:srgbClr val="5A514E"/>
                  </a:gs>
                  <a:gs pos="100000">
                    <a:srgbClr val="63595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7" name="Retvinklet trekant 1106">
                <a:extLst>
                  <a:ext uri="{FF2B5EF4-FFF2-40B4-BE49-F238E27FC236}">
                    <a16:creationId xmlns:a16="http://schemas.microsoft.com/office/drawing/2014/main" id="{C2A836B1-94D6-4FA0-9720-592A0C7EDB3E}"/>
                  </a:ext>
                </a:extLst>
              </p:cNvPr>
              <p:cNvSpPr/>
              <p:nvPr/>
            </p:nvSpPr>
            <p:spPr>
              <a:xfrm flipH="1">
                <a:off x="5874427"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3" name="Gruppe 1022">
              <a:extLst>
                <a:ext uri="{FF2B5EF4-FFF2-40B4-BE49-F238E27FC236}">
                  <a16:creationId xmlns:a16="http://schemas.microsoft.com/office/drawing/2014/main" id="{44E1D913-C30C-4860-9107-555C0EF18F01}"/>
                </a:ext>
              </a:extLst>
            </p:cNvPr>
            <p:cNvGrpSpPr/>
            <p:nvPr/>
          </p:nvGrpSpPr>
          <p:grpSpPr>
            <a:xfrm>
              <a:off x="8576952" y="4242872"/>
              <a:ext cx="126000" cy="367461"/>
              <a:chOff x="6636067" y="4242872"/>
              <a:chExt cx="126000" cy="367461"/>
            </a:xfrm>
          </p:grpSpPr>
          <p:sp>
            <p:nvSpPr>
              <p:cNvPr id="1103" name="Rektangel 1102">
                <a:extLst>
                  <a:ext uri="{FF2B5EF4-FFF2-40B4-BE49-F238E27FC236}">
                    <a16:creationId xmlns:a16="http://schemas.microsoft.com/office/drawing/2014/main" id="{143909C1-8CD4-4EC5-86F0-E48BEBCFCCFF}"/>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4" name="Rektangel 1103">
                <a:extLst>
                  <a:ext uri="{FF2B5EF4-FFF2-40B4-BE49-F238E27FC236}">
                    <a16:creationId xmlns:a16="http://schemas.microsoft.com/office/drawing/2014/main" id="{CEE2B428-0AAF-4848-82F8-8DC059EEFFE2}"/>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4" name="Gruppe 1023">
              <a:extLst>
                <a:ext uri="{FF2B5EF4-FFF2-40B4-BE49-F238E27FC236}">
                  <a16:creationId xmlns:a16="http://schemas.microsoft.com/office/drawing/2014/main" id="{1CD8910C-30CA-4EC4-A31B-B504C2577F59}"/>
                </a:ext>
              </a:extLst>
            </p:cNvPr>
            <p:cNvGrpSpPr/>
            <p:nvPr/>
          </p:nvGrpSpPr>
          <p:grpSpPr>
            <a:xfrm>
              <a:off x="8784506" y="4242872"/>
              <a:ext cx="126000" cy="367461"/>
              <a:chOff x="6636067" y="4242872"/>
              <a:chExt cx="126000" cy="367461"/>
            </a:xfrm>
          </p:grpSpPr>
          <p:sp>
            <p:nvSpPr>
              <p:cNvPr id="1101" name="Rektangel 1100">
                <a:extLst>
                  <a:ext uri="{FF2B5EF4-FFF2-40B4-BE49-F238E27FC236}">
                    <a16:creationId xmlns:a16="http://schemas.microsoft.com/office/drawing/2014/main" id="{AB350F41-061C-4E33-AD8B-6B7BA3584420}"/>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2" name="Rektangel 1101">
                <a:extLst>
                  <a:ext uri="{FF2B5EF4-FFF2-40B4-BE49-F238E27FC236}">
                    <a16:creationId xmlns:a16="http://schemas.microsoft.com/office/drawing/2014/main" id="{51072410-3ED2-4EB6-8FCB-F36CFCCE961B}"/>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5" name="Gruppe 1024">
              <a:extLst>
                <a:ext uri="{FF2B5EF4-FFF2-40B4-BE49-F238E27FC236}">
                  <a16:creationId xmlns:a16="http://schemas.microsoft.com/office/drawing/2014/main" id="{7FEA82F7-338B-4DD0-B331-8A100B5CB250}"/>
                </a:ext>
              </a:extLst>
            </p:cNvPr>
            <p:cNvGrpSpPr/>
            <p:nvPr/>
          </p:nvGrpSpPr>
          <p:grpSpPr>
            <a:xfrm>
              <a:off x="9396387" y="4242872"/>
              <a:ext cx="126000" cy="367461"/>
              <a:chOff x="6636067" y="4242872"/>
              <a:chExt cx="126000" cy="367461"/>
            </a:xfrm>
          </p:grpSpPr>
          <p:sp>
            <p:nvSpPr>
              <p:cNvPr id="1099" name="Rektangel 1098">
                <a:extLst>
                  <a:ext uri="{FF2B5EF4-FFF2-40B4-BE49-F238E27FC236}">
                    <a16:creationId xmlns:a16="http://schemas.microsoft.com/office/drawing/2014/main" id="{BB50C4CD-EA75-43CF-BA94-DC4C112A224A}"/>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0" name="Rektangel 1099">
                <a:extLst>
                  <a:ext uri="{FF2B5EF4-FFF2-40B4-BE49-F238E27FC236}">
                    <a16:creationId xmlns:a16="http://schemas.microsoft.com/office/drawing/2014/main" id="{99579228-50B5-48D3-BFD1-D606B9855F59}"/>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26" name="Ligebenet trekant 1025">
              <a:extLst>
                <a:ext uri="{FF2B5EF4-FFF2-40B4-BE49-F238E27FC236}">
                  <a16:creationId xmlns:a16="http://schemas.microsoft.com/office/drawing/2014/main" id="{C7247CC5-FBF9-43C5-B64B-F134DA2F68D2}"/>
                </a:ext>
              </a:extLst>
            </p:cNvPr>
            <p:cNvSpPr/>
            <p:nvPr/>
          </p:nvSpPr>
          <p:spPr>
            <a:xfrm>
              <a:off x="9096120" y="4704730"/>
              <a:ext cx="456895" cy="141161"/>
            </a:xfrm>
            <a:prstGeom prst="triangle">
              <a:avLst/>
            </a:prstGeom>
            <a:solidFill>
              <a:srgbClr val="635955"/>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7" name="Gruppe 1026">
              <a:extLst>
                <a:ext uri="{FF2B5EF4-FFF2-40B4-BE49-F238E27FC236}">
                  <a16:creationId xmlns:a16="http://schemas.microsoft.com/office/drawing/2014/main" id="{C64B6920-3ED7-436A-9146-C54DF00C983B}"/>
                </a:ext>
              </a:extLst>
            </p:cNvPr>
            <p:cNvGrpSpPr/>
            <p:nvPr/>
          </p:nvGrpSpPr>
          <p:grpSpPr>
            <a:xfrm>
              <a:off x="8564003" y="4667771"/>
              <a:ext cx="176276" cy="117962"/>
              <a:chOff x="5988619" y="4669003"/>
              <a:chExt cx="176276" cy="153689"/>
            </a:xfrm>
          </p:grpSpPr>
          <p:sp>
            <p:nvSpPr>
              <p:cNvPr id="1097" name="Rektangel 1096">
                <a:extLst>
                  <a:ext uri="{FF2B5EF4-FFF2-40B4-BE49-F238E27FC236}">
                    <a16:creationId xmlns:a16="http://schemas.microsoft.com/office/drawing/2014/main" id="{E767739D-66D5-444F-81EF-03AB2915339F}"/>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8" name="Rektangel 1097">
                <a:extLst>
                  <a:ext uri="{FF2B5EF4-FFF2-40B4-BE49-F238E27FC236}">
                    <a16:creationId xmlns:a16="http://schemas.microsoft.com/office/drawing/2014/main" id="{8425397B-EF6C-42FD-82CB-6CAE28788645}"/>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8" name="Gruppe 1027">
              <a:extLst>
                <a:ext uri="{FF2B5EF4-FFF2-40B4-BE49-F238E27FC236}">
                  <a16:creationId xmlns:a16="http://schemas.microsoft.com/office/drawing/2014/main" id="{55111938-BA6E-492B-85AC-C22332F54A0B}"/>
                </a:ext>
              </a:extLst>
            </p:cNvPr>
            <p:cNvGrpSpPr/>
            <p:nvPr/>
          </p:nvGrpSpPr>
          <p:grpSpPr>
            <a:xfrm>
              <a:off x="8833372" y="4667771"/>
              <a:ext cx="176276" cy="117962"/>
              <a:chOff x="5988619" y="4669003"/>
              <a:chExt cx="176276" cy="153689"/>
            </a:xfrm>
          </p:grpSpPr>
          <p:sp>
            <p:nvSpPr>
              <p:cNvPr id="1095" name="Rektangel 1094">
                <a:extLst>
                  <a:ext uri="{FF2B5EF4-FFF2-40B4-BE49-F238E27FC236}">
                    <a16:creationId xmlns:a16="http://schemas.microsoft.com/office/drawing/2014/main" id="{B0A26381-9522-4D37-B2E2-9034812358DD}"/>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6" name="Rektangel 1095">
                <a:extLst>
                  <a:ext uri="{FF2B5EF4-FFF2-40B4-BE49-F238E27FC236}">
                    <a16:creationId xmlns:a16="http://schemas.microsoft.com/office/drawing/2014/main" id="{6A57ECDC-0CD9-4588-8469-F89222D05791}"/>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9" name="Gruppe 1028">
              <a:extLst>
                <a:ext uri="{FF2B5EF4-FFF2-40B4-BE49-F238E27FC236}">
                  <a16:creationId xmlns:a16="http://schemas.microsoft.com/office/drawing/2014/main" id="{A2140249-47AE-4C33-9850-90D4C82C5188}"/>
                </a:ext>
              </a:extLst>
            </p:cNvPr>
            <p:cNvGrpSpPr/>
            <p:nvPr/>
          </p:nvGrpSpPr>
          <p:grpSpPr>
            <a:xfrm>
              <a:off x="8561895" y="4863108"/>
              <a:ext cx="177208" cy="214134"/>
              <a:chOff x="6090483" y="4742613"/>
              <a:chExt cx="177208" cy="214134"/>
            </a:xfrm>
          </p:grpSpPr>
          <p:sp>
            <p:nvSpPr>
              <p:cNvPr id="1091" name="Rektangel: afrundede hjørner 1090">
                <a:extLst>
                  <a:ext uri="{FF2B5EF4-FFF2-40B4-BE49-F238E27FC236}">
                    <a16:creationId xmlns:a16="http://schemas.microsoft.com/office/drawing/2014/main" id="{DA18D172-839A-48A1-8358-4FABFCF953C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92" name="Gruppe 1091">
                <a:extLst>
                  <a:ext uri="{FF2B5EF4-FFF2-40B4-BE49-F238E27FC236}">
                    <a16:creationId xmlns:a16="http://schemas.microsoft.com/office/drawing/2014/main" id="{EA460C19-E11D-498C-BC24-CAD7463101A4}"/>
                  </a:ext>
                </a:extLst>
              </p:cNvPr>
              <p:cNvGrpSpPr/>
              <p:nvPr/>
            </p:nvGrpSpPr>
            <p:grpSpPr>
              <a:xfrm>
                <a:off x="6090483" y="4838785"/>
                <a:ext cx="176276" cy="117962"/>
                <a:chOff x="5988619" y="4669003"/>
                <a:chExt cx="176276" cy="153689"/>
              </a:xfrm>
            </p:grpSpPr>
            <p:sp>
              <p:nvSpPr>
                <p:cNvPr id="1093" name="Rektangel 1092">
                  <a:extLst>
                    <a:ext uri="{FF2B5EF4-FFF2-40B4-BE49-F238E27FC236}">
                      <a16:creationId xmlns:a16="http://schemas.microsoft.com/office/drawing/2014/main" id="{ABAEE094-58E5-46C4-8D72-31BE8C5457C6}"/>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4" name="Rektangel 1093">
                  <a:extLst>
                    <a:ext uri="{FF2B5EF4-FFF2-40B4-BE49-F238E27FC236}">
                      <a16:creationId xmlns:a16="http://schemas.microsoft.com/office/drawing/2014/main" id="{99F3F7D8-CA17-4DCA-962E-11F096BC124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0" name="Gruppe 1029">
              <a:extLst>
                <a:ext uri="{FF2B5EF4-FFF2-40B4-BE49-F238E27FC236}">
                  <a16:creationId xmlns:a16="http://schemas.microsoft.com/office/drawing/2014/main" id="{6DD7BB86-DF92-4DEA-A294-CA87BA1F2716}"/>
                </a:ext>
              </a:extLst>
            </p:cNvPr>
            <p:cNvGrpSpPr/>
            <p:nvPr/>
          </p:nvGrpSpPr>
          <p:grpSpPr>
            <a:xfrm>
              <a:off x="8828583" y="4863108"/>
              <a:ext cx="177208" cy="214134"/>
              <a:chOff x="6090483" y="4742613"/>
              <a:chExt cx="177208" cy="214134"/>
            </a:xfrm>
          </p:grpSpPr>
          <p:sp>
            <p:nvSpPr>
              <p:cNvPr id="1087" name="Rektangel: afrundede hjørner 1086">
                <a:extLst>
                  <a:ext uri="{FF2B5EF4-FFF2-40B4-BE49-F238E27FC236}">
                    <a16:creationId xmlns:a16="http://schemas.microsoft.com/office/drawing/2014/main" id="{FA7E0CA5-9CA1-45E4-A7A6-961191AF29CB}"/>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8" name="Gruppe 1087">
                <a:extLst>
                  <a:ext uri="{FF2B5EF4-FFF2-40B4-BE49-F238E27FC236}">
                    <a16:creationId xmlns:a16="http://schemas.microsoft.com/office/drawing/2014/main" id="{A310D221-B23C-49F2-8F08-95BD4491652D}"/>
                  </a:ext>
                </a:extLst>
              </p:cNvPr>
              <p:cNvGrpSpPr/>
              <p:nvPr/>
            </p:nvGrpSpPr>
            <p:grpSpPr>
              <a:xfrm>
                <a:off x="6090483" y="4838785"/>
                <a:ext cx="176276" cy="117962"/>
                <a:chOff x="5988619" y="4669003"/>
                <a:chExt cx="176276" cy="153689"/>
              </a:xfrm>
            </p:grpSpPr>
            <p:sp>
              <p:nvSpPr>
                <p:cNvPr id="1089" name="Rektangel 1088">
                  <a:extLst>
                    <a:ext uri="{FF2B5EF4-FFF2-40B4-BE49-F238E27FC236}">
                      <a16:creationId xmlns:a16="http://schemas.microsoft.com/office/drawing/2014/main" id="{73EC5A37-438F-48CB-80AB-0C4D6580C202}"/>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0" name="Rektangel 1089">
                  <a:extLst>
                    <a:ext uri="{FF2B5EF4-FFF2-40B4-BE49-F238E27FC236}">
                      <a16:creationId xmlns:a16="http://schemas.microsoft.com/office/drawing/2014/main" id="{29A09A8B-8283-4BEF-B72C-1ABD9BC99C6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1" name="Gruppe 1030">
              <a:extLst>
                <a:ext uri="{FF2B5EF4-FFF2-40B4-BE49-F238E27FC236}">
                  <a16:creationId xmlns:a16="http://schemas.microsoft.com/office/drawing/2014/main" id="{AA520107-DD6B-4D50-9AE0-F3A9715990B8}"/>
                </a:ext>
              </a:extLst>
            </p:cNvPr>
            <p:cNvGrpSpPr/>
            <p:nvPr/>
          </p:nvGrpSpPr>
          <p:grpSpPr>
            <a:xfrm>
              <a:off x="9235963" y="4941687"/>
              <a:ext cx="177208" cy="214134"/>
              <a:chOff x="6090483" y="4742613"/>
              <a:chExt cx="177208" cy="214134"/>
            </a:xfrm>
          </p:grpSpPr>
          <p:sp>
            <p:nvSpPr>
              <p:cNvPr id="1083" name="Rektangel: afrundede hjørner 1082">
                <a:extLst>
                  <a:ext uri="{FF2B5EF4-FFF2-40B4-BE49-F238E27FC236}">
                    <a16:creationId xmlns:a16="http://schemas.microsoft.com/office/drawing/2014/main" id="{B910BB79-7F85-4D31-9D8E-AEEE125D947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4" name="Gruppe 1083">
                <a:extLst>
                  <a:ext uri="{FF2B5EF4-FFF2-40B4-BE49-F238E27FC236}">
                    <a16:creationId xmlns:a16="http://schemas.microsoft.com/office/drawing/2014/main" id="{AB5F92C9-EC5F-4C27-B51A-BA55F50F92EE}"/>
                  </a:ext>
                </a:extLst>
              </p:cNvPr>
              <p:cNvGrpSpPr/>
              <p:nvPr/>
            </p:nvGrpSpPr>
            <p:grpSpPr>
              <a:xfrm>
                <a:off x="6090483" y="4838785"/>
                <a:ext cx="176276" cy="117962"/>
                <a:chOff x="5988619" y="4669003"/>
                <a:chExt cx="176276" cy="153689"/>
              </a:xfrm>
            </p:grpSpPr>
            <p:sp>
              <p:nvSpPr>
                <p:cNvPr id="1085" name="Rektangel 1084">
                  <a:extLst>
                    <a:ext uri="{FF2B5EF4-FFF2-40B4-BE49-F238E27FC236}">
                      <a16:creationId xmlns:a16="http://schemas.microsoft.com/office/drawing/2014/main" id="{1D1D57FD-E5C0-4382-98C5-D6C2C44CBFFA}"/>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6" name="Rektangel 1085">
                  <a:extLst>
                    <a:ext uri="{FF2B5EF4-FFF2-40B4-BE49-F238E27FC236}">
                      <a16:creationId xmlns:a16="http://schemas.microsoft.com/office/drawing/2014/main" id="{66A5FBFA-FC58-4222-B1E7-A89F59C71DCB}"/>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sp>
          <p:nvSpPr>
            <p:cNvPr id="1032" name="Ligebenet trekant 1031">
              <a:extLst>
                <a:ext uri="{FF2B5EF4-FFF2-40B4-BE49-F238E27FC236}">
                  <a16:creationId xmlns:a16="http://schemas.microsoft.com/office/drawing/2014/main" id="{E1F5204A-55F2-4092-B3CC-ED0A81E3092A}"/>
                </a:ext>
              </a:extLst>
            </p:cNvPr>
            <p:cNvSpPr/>
            <p:nvPr/>
          </p:nvSpPr>
          <p:spPr>
            <a:xfrm>
              <a:off x="7845719" y="5036090"/>
              <a:ext cx="1328346" cy="124066"/>
            </a:xfrm>
            <a:prstGeom prst="triangle">
              <a:avLst>
                <a:gd name="adj" fmla="val 75097"/>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3" name="Gruppe 1032">
              <a:extLst>
                <a:ext uri="{FF2B5EF4-FFF2-40B4-BE49-F238E27FC236}">
                  <a16:creationId xmlns:a16="http://schemas.microsoft.com/office/drawing/2014/main" id="{66FCBC2F-12B2-4C5C-B739-CF7A3F39F73A}"/>
                </a:ext>
              </a:extLst>
            </p:cNvPr>
            <p:cNvGrpSpPr/>
            <p:nvPr/>
          </p:nvGrpSpPr>
          <p:grpSpPr>
            <a:xfrm>
              <a:off x="9235963" y="5188350"/>
              <a:ext cx="178657" cy="178315"/>
              <a:chOff x="7898541" y="5235970"/>
              <a:chExt cx="178657" cy="178315"/>
            </a:xfrm>
          </p:grpSpPr>
          <p:sp>
            <p:nvSpPr>
              <p:cNvPr id="1079" name="Rektangel 1078">
                <a:extLst>
                  <a:ext uri="{FF2B5EF4-FFF2-40B4-BE49-F238E27FC236}">
                    <a16:creationId xmlns:a16="http://schemas.microsoft.com/office/drawing/2014/main" id="{D6817D16-3039-4A1D-BE4F-7FE5998B17CB}"/>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0" name="Rektangel 1079">
                <a:extLst>
                  <a:ext uri="{FF2B5EF4-FFF2-40B4-BE49-F238E27FC236}">
                    <a16:creationId xmlns:a16="http://schemas.microsoft.com/office/drawing/2014/main" id="{17BF887A-CA62-49F5-AC89-93207B38471E}"/>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1" name="Rektangel 1080">
                <a:extLst>
                  <a:ext uri="{FF2B5EF4-FFF2-40B4-BE49-F238E27FC236}">
                    <a16:creationId xmlns:a16="http://schemas.microsoft.com/office/drawing/2014/main" id="{C92859E1-6D7D-41D4-85C2-6AED4F67E8DE}"/>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2" name="Rektangel 1081">
                <a:extLst>
                  <a:ext uri="{FF2B5EF4-FFF2-40B4-BE49-F238E27FC236}">
                    <a16:creationId xmlns:a16="http://schemas.microsoft.com/office/drawing/2014/main" id="{354D627E-FCE1-4231-B9AC-FD8721B7AF76}"/>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34" name="Gruppe 1033">
              <a:extLst>
                <a:ext uri="{FF2B5EF4-FFF2-40B4-BE49-F238E27FC236}">
                  <a16:creationId xmlns:a16="http://schemas.microsoft.com/office/drawing/2014/main" id="{F1998398-7ACD-4E6B-87C3-A3E97B43219E}"/>
                </a:ext>
              </a:extLst>
            </p:cNvPr>
            <p:cNvGrpSpPr/>
            <p:nvPr/>
          </p:nvGrpSpPr>
          <p:grpSpPr>
            <a:xfrm>
              <a:off x="9235963" y="5426272"/>
              <a:ext cx="177208" cy="214134"/>
              <a:chOff x="6090483" y="4742613"/>
              <a:chExt cx="177208" cy="214134"/>
            </a:xfrm>
          </p:grpSpPr>
          <p:sp>
            <p:nvSpPr>
              <p:cNvPr id="1075" name="Rektangel: afrundede hjørner 1074">
                <a:extLst>
                  <a:ext uri="{FF2B5EF4-FFF2-40B4-BE49-F238E27FC236}">
                    <a16:creationId xmlns:a16="http://schemas.microsoft.com/office/drawing/2014/main" id="{56B1A27E-4D50-48C0-8CBE-3EC8C13E1BA3}"/>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6" name="Gruppe 1075">
                <a:extLst>
                  <a:ext uri="{FF2B5EF4-FFF2-40B4-BE49-F238E27FC236}">
                    <a16:creationId xmlns:a16="http://schemas.microsoft.com/office/drawing/2014/main" id="{0EB5EFAD-439D-41AF-A993-E3CB6B584BCA}"/>
                  </a:ext>
                </a:extLst>
              </p:cNvPr>
              <p:cNvGrpSpPr/>
              <p:nvPr/>
            </p:nvGrpSpPr>
            <p:grpSpPr>
              <a:xfrm>
                <a:off x="6090483" y="4838785"/>
                <a:ext cx="176276" cy="117962"/>
                <a:chOff x="5988619" y="4669003"/>
                <a:chExt cx="176276" cy="153689"/>
              </a:xfrm>
            </p:grpSpPr>
            <p:sp>
              <p:nvSpPr>
                <p:cNvPr id="1077" name="Rektangel 1076">
                  <a:extLst>
                    <a:ext uri="{FF2B5EF4-FFF2-40B4-BE49-F238E27FC236}">
                      <a16:creationId xmlns:a16="http://schemas.microsoft.com/office/drawing/2014/main" id="{3E10C4F2-D556-4BDA-AA07-8CB82CF834CB}"/>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8" name="Rektangel 1077">
                  <a:extLst>
                    <a:ext uri="{FF2B5EF4-FFF2-40B4-BE49-F238E27FC236}">
                      <a16:creationId xmlns:a16="http://schemas.microsoft.com/office/drawing/2014/main" id="{74BD772C-4CEC-478D-8D7F-DFF4379EE4E3}"/>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5" name="Gruppe 1034">
              <a:extLst>
                <a:ext uri="{FF2B5EF4-FFF2-40B4-BE49-F238E27FC236}">
                  <a16:creationId xmlns:a16="http://schemas.microsoft.com/office/drawing/2014/main" id="{354B90BA-6451-41BC-AD84-9AB557117799}"/>
                </a:ext>
              </a:extLst>
            </p:cNvPr>
            <p:cNvGrpSpPr/>
            <p:nvPr/>
          </p:nvGrpSpPr>
          <p:grpSpPr>
            <a:xfrm>
              <a:off x="9235963" y="5672935"/>
              <a:ext cx="178657" cy="178315"/>
              <a:chOff x="7898541" y="5235970"/>
              <a:chExt cx="178657" cy="178315"/>
            </a:xfrm>
          </p:grpSpPr>
          <p:sp>
            <p:nvSpPr>
              <p:cNvPr id="1071" name="Rektangel 1070">
                <a:extLst>
                  <a:ext uri="{FF2B5EF4-FFF2-40B4-BE49-F238E27FC236}">
                    <a16:creationId xmlns:a16="http://schemas.microsoft.com/office/drawing/2014/main" id="{BE87C587-60EF-4EEE-B0B5-6CA7C553A7EA}"/>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2" name="Rektangel 1071">
                <a:extLst>
                  <a:ext uri="{FF2B5EF4-FFF2-40B4-BE49-F238E27FC236}">
                    <a16:creationId xmlns:a16="http://schemas.microsoft.com/office/drawing/2014/main" id="{10FA4D6C-715D-4C86-9CF5-DA6752D64389}"/>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3" name="Rektangel 1072">
                <a:extLst>
                  <a:ext uri="{FF2B5EF4-FFF2-40B4-BE49-F238E27FC236}">
                    <a16:creationId xmlns:a16="http://schemas.microsoft.com/office/drawing/2014/main" id="{1FF414D0-21FB-4068-8A25-68F2D6DDF4E7}"/>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4" name="Rektangel 1073">
                <a:extLst>
                  <a:ext uri="{FF2B5EF4-FFF2-40B4-BE49-F238E27FC236}">
                    <a16:creationId xmlns:a16="http://schemas.microsoft.com/office/drawing/2014/main" id="{8445B31E-A7C6-420A-B50C-D97A3F98241A}"/>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36" name="Ellipse 1035">
              <a:extLst>
                <a:ext uri="{FF2B5EF4-FFF2-40B4-BE49-F238E27FC236}">
                  <a16:creationId xmlns:a16="http://schemas.microsoft.com/office/drawing/2014/main" id="{AA2EA3DF-4586-4F4C-9449-A6C334D63636}"/>
                </a:ext>
              </a:extLst>
            </p:cNvPr>
            <p:cNvSpPr>
              <a:spLocks noChangeAspect="1"/>
            </p:cNvSpPr>
            <p:nvPr/>
          </p:nvSpPr>
          <p:spPr>
            <a:xfrm>
              <a:off x="7990124" y="4877837"/>
              <a:ext cx="49878" cy="48412"/>
            </a:xfrm>
            <a:prstGeom prst="ellipse">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7" name="Rektangel 1036">
              <a:extLst>
                <a:ext uri="{FF2B5EF4-FFF2-40B4-BE49-F238E27FC236}">
                  <a16:creationId xmlns:a16="http://schemas.microsoft.com/office/drawing/2014/main" id="{0F8AFCAF-FE49-4446-93AE-B811A021A25B}"/>
                </a:ext>
              </a:extLst>
            </p:cNvPr>
            <p:cNvSpPr/>
            <p:nvPr/>
          </p:nvSpPr>
          <p:spPr>
            <a:xfrm>
              <a:off x="8028870" y="4929255"/>
              <a:ext cx="266039" cy="115403"/>
            </a:xfrm>
            <a:prstGeom prst="rect">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9" name="Gruppe 1038">
              <a:extLst>
                <a:ext uri="{FF2B5EF4-FFF2-40B4-BE49-F238E27FC236}">
                  <a16:creationId xmlns:a16="http://schemas.microsoft.com/office/drawing/2014/main" id="{083BF2CB-75CC-4C27-8D05-F2EC476F77AC}"/>
                </a:ext>
              </a:extLst>
            </p:cNvPr>
            <p:cNvGrpSpPr/>
            <p:nvPr/>
          </p:nvGrpSpPr>
          <p:grpSpPr>
            <a:xfrm>
              <a:off x="4336369" y="5752213"/>
              <a:ext cx="878560" cy="312995"/>
              <a:chOff x="5660360" y="4743450"/>
              <a:chExt cx="1340515" cy="530510"/>
            </a:xfrm>
          </p:grpSpPr>
          <p:sp>
            <p:nvSpPr>
              <p:cNvPr id="1054" name="Rektangel: afrundede hjørner 1053">
                <a:extLst>
                  <a:ext uri="{FF2B5EF4-FFF2-40B4-BE49-F238E27FC236}">
                    <a16:creationId xmlns:a16="http://schemas.microsoft.com/office/drawing/2014/main" id="{175DA2C9-7778-4C9F-9717-0EE4056223F8}"/>
                  </a:ext>
                </a:extLst>
              </p:cNvPr>
              <p:cNvSpPr/>
              <p:nvPr/>
            </p:nvSpPr>
            <p:spPr>
              <a:xfrm>
                <a:off x="5660360" y="4743450"/>
                <a:ext cx="1340514" cy="357744"/>
              </a:xfrm>
              <a:prstGeom prst="round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5" name="Rektangel 1054">
                <a:extLst>
                  <a:ext uri="{FF2B5EF4-FFF2-40B4-BE49-F238E27FC236}">
                    <a16:creationId xmlns:a16="http://schemas.microsoft.com/office/drawing/2014/main" id="{AC754DCB-2465-4DE5-95C7-39F79D13AA62}"/>
                  </a:ext>
                </a:extLst>
              </p:cNvPr>
              <p:cNvSpPr/>
              <p:nvPr/>
            </p:nvSpPr>
            <p:spPr>
              <a:xfrm>
                <a:off x="5660360" y="4924904"/>
                <a:ext cx="1340515" cy="258684"/>
              </a:xfrm>
              <a:prstGeom prst="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6" name="Ellipse 1055">
                <a:extLst>
                  <a:ext uri="{FF2B5EF4-FFF2-40B4-BE49-F238E27FC236}">
                    <a16:creationId xmlns:a16="http://schemas.microsoft.com/office/drawing/2014/main" id="{1DDCFF0D-B4BB-45DE-B909-FF4F141FE766}"/>
                  </a:ext>
                </a:extLst>
              </p:cNvPr>
              <p:cNvSpPr/>
              <p:nvPr/>
            </p:nvSpPr>
            <p:spPr>
              <a:xfrm>
                <a:off x="5778677"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7" name="Ellipse 1056">
                <a:extLst>
                  <a:ext uri="{FF2B5EF4-FFF2-40B4-BE49-F238E27FC236}">
                    <a16:creationId xmlns:a16="http://schemas.microsoft.com/office/drawing/2014/main" id="{22CD8BD6-5477-4D12-854E-C535FF690BCE}"/>
                  </a:ext>
                </a:extLst>
              </p:cNvPr>
              <p:cNvSpPr/>
              <p:nvPr/>
            </p:nvSpPr>
            <p:spPr>
              <a:xfrm>
                <a:off x="6730875"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8" name="Rektangel 1057">
                <a:extLst>
                  <a:ext uri="{FF2B5EF4-FFF2-40B4-BE49-F238E27FC236}">
                    <a16:creationId xmlns:a16="http://schemas.microsoft.com/office/drawing/2014/main" id="{876E0F1C-8C91-422C-A940-CB057EB61A5B}"/>
                  </a:ext>
                </a:extLst>
              </p:cNvPr>
              <p:cNvSpPr/>
              <p:nvPr/>
            </p:nvSpPr>
            <p:spPr>
              <a:xfrm>
                <a:off x="67308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9" name="Rektangel 1058">
                <a:extLst>
                  <a:ext uri="{FF2B5EF4-FFF2-40B4-BE49-F238E27FC236}">
                    <a16:creationId xmlns:a16="http://schemas.microsoft.com/office/drawing/2014/main" id="{3F27A3F7-9848-4A7E-915B-0830D2C77502}"/>
                  </a:ext>
                </a:extLst>
              </p:cNvPr>
              <p:cNvSpPr/>
              <p:nvPr/>
            </p:nvSpPr>
            <p:spPr>
              <a:xfrm>
                <a:off x="65022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0" name="Rektangel 1059">
                <a:extLst>
                  <a:ext uri="{FF2B5EF4-FFF2-40B4-BE49-F238E27FC236}">
                    <a16:creationId xmlns:a16="http://schemas.microsoft.com/office/drawing/2014/main" id="{3D3B9A92-52DB-4740-ADEA-28BFF74A625F}"/>
                  </a:ext>
                </a:extLst>
              </p:cNvPr>
              <p:cNvSpPr/>
              <p:nvPr/>
            </p:nvSpPr>
            <p:spPr>
              <a:xfrm>
                <a:off x="5666584"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1" name="Rektangel 1060">
                <a:extLst>
                  <a:ext uri="{FF2B5EF4-FFF2-40B4-BE49-F238E27FC236}">
                    <a16:creationId xmlns:a16="http://schemas.microsoft.com/office/drawing/2014/main" id="{4F529E35-F976-46C7-95CE-A2E14DFF7619}"/>
                  </a:ext>
                </a:extLst>
              </p:cNvPr>
              <p:cNvSpPr/>
              <p:nvPr/>
            </p:nvSpPr>
            <p:spPr>
              <a:xfrm>
                <a:off x="6003676"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2" name="Rektangel 1061">
                <a:extLst>
                  <a:ext uri="{FF2B5EF4-FFF2-40B4-BE49-F238E27FC236}">
                    <a16:creationId xmlns:a16="http://schemas.microsoft.com/office/drawing/2014/main" id="{335BA6D6-0441-4917-BB99-C8847DC5BFDD}"/>
                  </a:ext>
                </a:extLst>
              </p:cNvPr>
              <p:cNvSpPr/>
              <p:nvPr/>
            </p:nvSpPr>
            <p:spPr>
              <a:xfrm>
                <a:off x="6192058"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0" name="Gruppe 1039">
              <a:extLst>
                <a:ext uri="{FF2B5EF4-FFF2-40B4-BE49-F238E27FC236}">
                  <a16:creationId xmlns:a16="http://schemas.microsoft.com/office/drawing/2014/main" id="{02774EEC-1894-42C6-B025-04C548AEDA85}"/>
                </a:ext>
              </a:extLst>
            </p:cNvPr>
            <p:cNvGrpSpPr/>
            <p:nvPr/>
          </p:nvGrpSpPr>
          <p:grpSpPr>
            <a:xfrm>
              <a:off x="2369408" y="5341910"/>
              <a:ext cx="916095" cy="739090"/>
              <a:chOff x="3423170" y="5235767"/>
              <a:chExt cx="916095" cy="739090"/>
            </a:xfrm>
          </p:grpSpPr>
          <p:sp>
            <p:nvSpPr>
              <p:cNvPr id="1048" name="Rektangel 1047">
                <a:extLst>
                  <a:ext uri="{FF2B5EF4-FFF2-40B4-BE49-F238E27FC236}">
                    <a16:creationId xmlns:a16="http://schemas.microsoft.com/office/drawing/2014/main" id="{23A22E09-C645-4E18-AF8D-62FF4BCB7FC3}"/>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9" name="Ellipse 1048">
                <a:extLst>
                  <a:ext uri="{FF2B5EF4-FFF2-40B4-BE49-F238E27FC236}">
                    <a16:creationId xmlns:a16="http://schemas.microsoft.com/office/drawing/2014/main" id="{8C79606B-2A0D-44C1-9EE5-0CCFFB634D0A}"/>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0" name="Ellipse 1049">
                <a:extLst>
                  <a:ext uri="{FF2B5EF4-FFF2-40B4-BE49-F238E27FC236}">
                    <a16:creationId xmlns:a16="http://schemas.microsoft.com/office/drawing/2014/main" id="{AEB2D2FD-0061-4697-BA5C-44D84019377D}"/>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1" name="Ellipse 1050">
                <a:extLst>
                  <a:ext uri="{FF2B5EF4-FFF2-40B4-BE49-F238E27FC236}">
                    <a16:creationId xmlns:a16="http://schemas.microsoft.com/office/drawing/2014/main" id="{60D899D4-CD4C-4E87-A470-E35C3D85A89A}"/>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2" name="Ellipse 1051">
                <a:extLst>
                  <a:ext uri="{FF2B5EF4-FFF2-40B4-BE49-F238E27FC236}">
                    <a16:creationId xmlns:a16="http://schemas.microsoft.com/office/drawing/2014/main" id="{0CFBBE6E-76EA-4715-8CC6-A0F600A81BBF}"/>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3" name="Ellipse 1052">
                <a:extLst>
                  <a:ext uri="{FF2B5EF4-FFF2-40B4-BE49-F238E27FC236}">
                    <a16:creationId xmlns:a16="http://schemas.microsoft.com/office/drawing/2014/main" id="{35C6225B-35D7-409D-878F-9C7DFA9FF5CE}"/>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1" name="Gruppe 1040">
              <a:extLst>
                <a:ext uri="{FF2B5EF4-FFF2-40B4-BE49-F238E27FC236}">
                  <a16:creationId xmlns:a16="http://schemas.microsoft.com/office/drawing/2014/main" id="{CA410734-102A-463F-9F6F-AF66060D2891}"/>
                </a:ext>
              </a:extLst>
            </p:cNvPr>
            <p:cNvGrpSpPr/>
            <p:nvPr/>
          </p:nvGrpSpPr>
          <p:grpSpPr>
            <a:xfrm>
              <a:off x="7249387" y="5250602"/>
              <a:ext cx="916095" cy="739090"/>
              <a:chOff x="3423170" y="5235767"/>
              <a:chExt cx="916095" cy="739090"/>
            </a:xfrm>
          </p:grpSpPr>
          <p:sp>
            <p:nvSpPr>
              <p:cNvPr id="1042" name="Rektangel 1041">
                <a:extLst>
                  <a:ext uri="{FF2B5EF4-FFF2-40B4-BE49-F238E27FC236}">
                    <a16:creationId xmlns:a16="http://schemas.microsoft.com/office/drawing/2014/main" id="{07D3D8AA-358A-439D-872F-4E7CBFEF101E}"/>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3" name="Ellipse 1042">
                <a:extLst>
                  <a:ext uri="{FF2B5EF4-FFF2-40B4-BE49-F238E27FC236}">
                    <a16:creationId xmlns:a16="http://schemas.microsoft.com/office/drawing/2014/main" id="{BB0D9AF3-0565-402D-AE77-10EF1ACD000D}"/>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4" name="Ellipse 1043">
                <a:extLst>
                  <a:ext uri="{FF2B5EF4-FFF2-40B4-BE49-F238E27FC236}">
                    <a16:creationId xmlns:a16="http://schemas.microsoft.com/office/drawing/2014/main" id="{F7A455CB-60C9-4CE4-A68F-CCB32C457863}"/>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5" name="Ellipse 1044">
                <a:extLst>
                  <a:ext uri="{FF2B5EF4-FFF2-40B4-BE49-F238E27FC236}">
                    <a16:creationId xmlns:a16="http://schemas.microsoft.com/office/drawing/2014/main" id="{CD92B167-A3E9-445B-91D0-48B7821154A9}"/>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6" name="Ellipse 1045">
                <a:extLst>
                  <a:ext uri="{FF2B5EF4-FFF2-40B4-BE49-F238E27FC236}">
                    <a16:creationId xmlns:a16="http://schemas.microsoft.com/office/drawing/2014/main" id="{7B7C16E5-424F-4719-B001-72E504B70711}"/>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7" name="Ellipse 1046">
                <a:extLst>
                  <a:ext uri="{FF2B5EF4-FFF2-40B4-BE49-F238E27FC236}">
                    <a16:creationId xmlns:a16="http://schemas.microsoft.com/office/drawing/2014/main" id="{936F6B0E-9449-40F2-987C-4620852FAE76}"/>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6" name="Gruppe 5">
            <a:extLst>
              <a:ext uri="{FF2B5EF4-FFF2-40B4-BE49-F238E27FC236}">
                <a16:creationId xmlns:a16="http://schemas.microsoft.com/office/drawing/2014/main" id="{6BCA60C5-A0DA-45E6-92AA-594E86D9D53B}"/>
              </a:ext>
            </a:extLst>
          </p:cNvPr>
          <p:cNvGrpSpPr/>
          <p:nvPr userDrawn="1"/>
        </p:nvGrpSpPr>
        <p:grpSpPr>
          <a:xfrm>
            <a:off x="10802625" y="5150324"/>
            <a:ext cx="658076" cy="644507"/>
            <a:chOff x="10762407" y="5102768"/>
            <a:chExt cx="703057" cy="663486"/>
          </a:xfrm>
        </p:grpSpPr>
        <p:sp>
          <p:nvSpPr>
            <p:cNvPr id="1553" name="Rektangel 1552">
              <a:extLst>
                <a:ext uri="{FF2B5EF4-FFF2-40B4-BE49-F238E27FC236}">
                  <a16:creationId xmlns:a16="http://schemas.microsoft.com/office/drawing/2014/main" id="{B1504988-E200-4B4C-B33B-06AC7024D017}"/>
                </a:ext>
              </a:extLst>
            </p:cNvPr>
            <p:cNvSpPr/>
            <p:nvPr userDrawn="1"/>
          </p:nvSpPr>
          <p:spPr>
            <a:xfrm flipH="1">
              <a:off x="11044233" y="5595856"/>
              <a:ext cx="99539" cy="170398"/>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4" name="Ellipse 1553">
              <a:extLst>
                <a:ext uri="{FF2B5EF4-FFF2-40B4-BE49-F238E27FC236}">
                  <a16:creationId xmlns:a16="http://schemas.microsoft.com/office/drawing/2014/main" id="{A0702E9F-05C6-48F0-8DFD-8E3F1339A689}"/>
                </a:ext>
              </a:extLst>
            </p:cNvPr>
            <p:cNvSpPr/>
            <p:nvPr userDrawn="1"/>
          </p:nvSpPr>
          <p:spPr>
            <a:xfrm flipH="1">
              <a:off x="11081766" y="5326451"/>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5" name="Ellipse 1554">
              <a:extLst>
                <a:ext uri="{FF2B5EF4-FFF2-40B4-BE49-F238E27FC236}">
                  <a16:creationId xmlns:a16="http://schemas.microsoft.com/office/drawing/2014/main" id="{BF72FC00-5A78-4EA1-8B66-555C990D75C2}"/>
                </a:ext>
              </a:extLst>
            </p:cNvPr>
            <p:cNvSpPr/>
            <p:nvPr userDrawn="1"/>
          </p:nvSpPr>
          <p:spPr>
            <a:xfrm flipH="1">
              <a:off x="10861634" y="5102768"/>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6" name="Ellipse 1555">
              <a:extLst>
                <a:ext uri="{FF2B5EF4-FFF2-40B4-BE49-F238E27FC236}">
                  <a16:creationId xmlns:a16="http://schemas.microsoft.com/office/drawing/2014/main" id="{22F16B8F-A1E0-41DD-B906-CF729ACBBDCF}"/>
                </a:ext>
              </a:extLst>
            </p:cNvPr>
            <p:cNvSpPr/>
            <p:nvPr userDrawn="1"/>
          </p:nvSpPr>
          <p:spPr>
            <a:xfrm flipH="1">
              <a:off x="10924515" y="5136031"/>
              <a:ext cx="490904" cy="280717"/>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7" name="Ellipse 1556">
              <a:extLst>
                <a:ext uri="{FF2B5EF4-FFF2-40B4-BE49-F238E27FC236}">
                  <a16:creationId xmlns:a16="http://schemas.microsoft.com/office/drawing/2014/main" id="{D2AE1328-AB0B-4901-8132-3600E57D6EC5}"/>
                </a:ext>
              </a:extLst>
            </p:cNvPr>
            <p:cNvSpPr/>
            <p:nvPr userDrawn="1"/>
          </p:nvSpPr>
          <p:spPr>
            <a:xfrm flipH="1">
              <a:off x="10962046" y="5276085"/>
              <a:ext cx="383698" cy="350116"/>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8" name="Ellipse 1557">
              <a:extLst>
                <a:ext uri="{FF2B5EF4-FFF2-40B4-BE49-F238E27FC236}">
                  <a16:creationId xmlns:a16="http://schemas.microsoft.com/office/drawing/2014/main" id="{4CA26B34-D5F7-42DA-94F9-987FD19AFE90}"/>
                </a:ext>
              </a:extLst>
            </p:cNvPr>
            <p:cNvSpPr/>
            <p:nvPr userDrawn="1"/>
          </p:nvSpPr>
          <p:spPr>
            <a:xfrm flipH="1">
              <a:off x="10762407" y="5293027"/>
              <a:ext cx="355641" cy="280717"/>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587" name="Rektangel 586">
            <a:extLst>
              <a:ext uri="{FF2B5EF4-FFF2-40B4-BE49-F238E27FC236}">
                <a16:creationId xmlns:a16="http://schemas.microsoft.com/office/drawing/2014/main" id="{BEE52297-4F16-427B-84BC-76F8CB7A0F94}"/>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588" name="Pladsholder til tekst 5">
            <a:extLst>
              <a:ext uri="{FF2B5EF4-FFF2-40B4-BE49-F238E27FC236}">
                <a16:creationId xmlns:a16="http://schemas.microsoft.com/office/drawing/2014/main" id="{24517D3E-8F93-40BE-830C-E05629A73FD4}"/>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23735269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rederiksberg 2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5" name="Rektangel 124">
            <a:extLst>
              <a:ext uri="{FF2B5EF4-FFF2-40B4-BE49-F238E27FC236}">
                <a16:creationId xmlns:a16="http://schemas.microsoft.com/office/drawing/2014/main" id="{7B398603-DD18-4A94-AC46-5C76B75BABC7}"/>
              </a:ext>
            </a:extLst>
          </p:cNvPr>
          <p:cNvSpPr/>
          <p:nvPr userDrawn="1"/>
        </p:nvSpPr>
        <p:spPr>
          <a:xfrm>
            <a:off x="8373626" y="4164070"/>
            <a:ext cx="945815" cy="133191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6" name="Rektangel 245">
            <a:extLst>
              <a:ext uri="{FF2B5EF4-FFF2-40B4-BE49-F238E27FC236}">
                <a16:creationId xmlns:a16="http://schemas.microsoft.com/office/drawing/2014/main" id="{3D351234-FBA0-44E8-83A7-3D596FC40969}"/>
              </a:ext>
            </a:extLst>
          </p:cNvPr>
          <p:cNvSpPr/>
          <p:nvPr userDrawn="1"/>
        </p:nvSpPr>
        <p:spPr>
          <a:xfrm>
            <a:off x="9042828" y="3836241"/>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8" name="Rektangel 387">
            <a:extLst>
              <a:ext uri="{FF2B5EF4-FFF2-40B4-BE49-F238E27FC236}">
                <a16:creationId xmlns:a16="http://schemas.microsoft.com/office/drawing/2014/main" id="{A6B44A22-3509-4442-9BB4-715149EE82F4}"/>
              </a:ext>
            </a:extLst>
          </p:cNvPr>
          <p:cNvSpPr/>
          <p:nvPr userDrawn="1"/>
        </p:nvSpPr>
        <p:spPr>
          <a:xfrm>
            <a:off x="9029517" y="3794530"/>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6" name="Ligebenet trapez 165">
            <a:extLst>
              <a:ext uri="{FF2B5EF4-FFF2-40B4-BE49-F238E27FC236}">
                <a16:creationId xmlns:a16="http://schemas.microsoft.com/office/drawing/2014/main" id="{54D76662-1916-47DA-8C37-39DA0E99BC31}"/>
              </a:ext>
            </a:extLst>
          </p:cNvPr>
          <p:cNvSpPr/>
          <p:nvPr userDrawn="1"/>
        </p:nvSpPr>
        <p:spPr>
          <a:xfrm>
            <a:off x="8190479" y="3924819"/>
            <a:ext cx="1312109"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0" name="Gruppe 29">
            <a:extLst>
              <a:ext uri="{FF2B5EF4-FFF2-40B4-BE49-F238E27FC236}">
                <a16:creationId xmlns:a16="http://schemas.microsoft.com/office/drawing/2014/main" id="{2CF35544-BECF-4CE1-B255-AF7DA3AAE046}"/>
              </a:ext>
            </a:extLst>
          </p:cNvPr>
          <p:cNvGrpSpPr/>
          <p:nvPr userDrawn="1"/>
        </p:nvGrpSpPr>
        <p:grpSpPr>
          <a:xfrm>
            <a:off x="8421584" y="4253710"/>
            <a:ext cx="99577" cy="158629"/>
            <a:chOff x="8421584" y="4256885"/>
            <a:chExt cx="99577" cy="158629"/>
          </a:xfrm>
        </p:grpSpPr>
        <p:sp>
          <p:nvSpPr>
            <p:cNvPr id="551" name="Rektangel 550">
              <a:extLst>
                <a:ext uri="{FF2B5EF4-FFF2-40B4-BE49-F238E27FC236}">
                  <a16:creationId xmlns:a16="http://schemas.microsoft.com/office/drawing/2014/main" id="{B9D2D379-C222-4F4C-A991-5283A8150378}"/>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2" name="Rektangel 551">
              <a:extLst>
                <a:ext uri="{FF2B5EF4-FFF2-40B4-BE49-F238E27FC236}">
                  <a16:creationId xmlns:a16="http://schemas.microsoft.com/office/drawing/2014/main" id="{45B4894F-8191-4768-8EED-14FDE0CA49F3}"/>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3" name="Rektangel 552">
              <a:extLst>
                <a:ext uri="{FF2B5EF4-FFF2-40B4-BE49-F238E27FC236}">
                  <a16:creationId xmlns:a16="http://schemas.microsoft.com/office/drawing/2014/main" id="{B0E13E2B-33E5-450D-8139-E61210A5C87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4" name="Rektangel 553">
              <a:extLst>
                <a:ext uri="{FF2B5EF4-FFF2-40B4-BE49-F238E27FC236}">
                  <a16:creationId xmlns:a16="http://schemas.microsoft.com/office/drawing/2014/main" id="{8A0E2588-FB73-4E64-A33D-F180E2A32BC6}"/>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67" name="Gruppe 566">
            <a:extLst>
              <a:ext uri="{FF2B5EF4-FFF2-40B4-BE49-F238E27FC236}">
                <a16:creationId xmlns:a16="http://schemas.microsoft.com/office/drawing/2014/main" id="{318E7142-9F15-4FCA-87C5-DDBA164C827B}"/>
              </a:ext>
            </a:extLst>
          </p:cNvPr>
          <p:cNvGrpSpPr/>
          <p:nvPr userDrawn="1"/>
        </p:nvGrpSpPr>
        <p:grpSpPr>
          <a:xfrm>
            <a:off x="8607598" y="4253710"/>
            <a:ext cx="99577" cy="158629"/>
            <a:chOff x="8421584" y="4256885"/>
            <a:chExt cx="99577" cy="158629"/>
          </a:xfrm>
        </p:grpSpPr>
        <p:sp>
          <p:nvSpPr>
            <p:cNvPr id="568" name="Rektangel 567">
              <a:extLst>
                <a:ext uri="{FF2B5EF4-FFF2-40B4-BE49-F238E27FC236}">
                  <a16:creationId xmlns:a16="http://schemas.microsoft.com/office/drawing/2014/main" id="{99C85C6C-435B-45D0-9CF4-D3387769052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9" name="Rektangel 568">
              <a:extLst>
                <a:ext uri="{FF2B5EF4-FFF2-40B4-BE49-F238E27FC236}">
                  <a16:creationId xmlns:a16="http://schemas.microsoft.com/office/drawing/2014/main" id="{5DE4E477-DDBA-45AD-A876-5D92DAA4CC4D}"/>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0" name="Rektangel 569">
              <a:extLst>
                <a:ext uri="{FF2B5EF4-FFF2-40B4-BE49-F238E27FC236}">
                  <a16:creationId xmlns:a16="http://schemas.microsoft.com/office/drawing/2014/main" id="{159E164D-15E6-4047-8A58-FCBCEB6A03C3}"/>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1" name="Rektangel 570">
              <a:extLst>
                <a:ext uri="{FF2B5EF4-FFF2-40B4-BE49-F238E27FC236}">
                  <a16:creationId xmlns:a16="http://schemas.microsoft.com/office/drawing/2014/main" id="{20215E03-DC00-4F2C-BF11-972DD3AEB339}"/>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2" name="Gruppe 571">
            <a:extLst>
              <a:ext uri="{FF2B5EF4-FFF2-40B4-BE49-F238E27FC236}">
                <a16:creationId xmlns:a16="http://schemas.microsoft.com/office/drawing/2014/main" id="{837E1CF0-5D08-4BA9-AB48-849B3A17A897}"/>
              </a:ext>
            </a:extLst>
          </p:cNvPr>
          <p:cNvGrpSpPr/>
          <p:nvPr userDrawn="1"/>
        </p:nvGrpSpPr>
        <p:grpSpPr>
          <a:xfrm>
            <a:off x="8793612" y="4253710"/>
            <a:ext cx="99577" cy="158629"/>
            <a:chOff x="8421584" y="4256885"/>
            <a:chExt cx="99577" cy="158629"/>
          </a:xfrm>
        </p:grpSpPr>
        <p:sp>
          <p:nvSpPr>
            <p:cNvPr id="573" name="Rektangel 572">
              <a:extLst>
                <a:ext uri="{FF2B5EF4-FFF2-40B4-BE49-F238E27FC236}">
                  <a16:creationId xmlns:a16="http://schemas.microsoft.com/office/drawing/2014/main" id="{2514C702-D732-4E5F-819F-B958301C961D}"/>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4" name="Rektangel 573">
              <a:extLst>
                <a:ext uri="{FF2B5EF4-FFF2-40B4-BE49-F238E27FC236}">
                  <a16:creationId xmlns:a16="http://schemas.microsoft.com/office/drawing/2014/main" id="{771C0CA7-CA83-4691-9065-F1AAB5B3AADB}"/>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5" name="Rektangel 574">
              <a:extLst>
                <a:ext uri="{FF2B5EF4-FFF2-40B4-BE49-F238E27FC236}">
                  <a16:creationId xmlns:a16="http://schemas.microsoft.com/office/drawing/2014/main" id="{36810F7D-E652-4EBA-B436-6FB74654618A}"/>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6" name="Rektangel 575">
              <a:extLst>
                <a:ext uri="{FF2B5EF4-FFF2-40B4-BE49-F238E27FC236}">
                  <a16:creationId xmlns:a16="http://schemas.microsoft.com/office/drawing/2014/main" id="{E8EDE6F3-3E8E-4DE4-9270-32B448C7F5E8}"/>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7" name="Gruppe 576">
            <a:extLst>
              <a:ext uri="{FF2B5EF4-FFF2-40B4-BE49-F238E27FC236}">
                <a16:creationId xmlns:a16="http://schemas.microsoft.com/office/drawing/2014/main" id="{930C2FD3-1BD8-43B0-8E9E-40CAD263678C}"/>
              </a:ext>
            </a:extLst>
          </p:cNvPr>
          <p:cNvGrpSpPr/>
          <p:nvPr userDrawn="1"/>
        </p:nvGrpSpPr>
        <p:grpSpPr>
          <a:xfrm>
            <a:off x="8979626" y="4253710"/>
            <a:ext cx="99577" cy="158629"/>
            <a:chOff x="8421584" y="4256885"/>
            <a:chExt cx="99577" cy="158629"/>
          </a:xfrm>
        </p:grpSpPr>
        <p:sp>
          <p:nvSpPr>
            <p:cNvPr id="578" name="Rektangel 577">
              <a:extLst>
                <a:ext uri="{FF2B5EF4-FFF2-40B4-BE49-F238E27FC236}">
                  <a16:creationId xmlns:a16="http://schemas.microsoft.com/office/drawing/2014/main" id="{EDA191C4-9EF9-4FE2-A0C1-7C2CC65681C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9" name="Rektangel 578">
              <a:extLst>
                <a:ext uri="{FF2B5EF4-FFF2-40B4-BE49-F238E27FC236}">
                  <a16:creationId xmlns:a16="http://schemas.microsoft.com/office/drawing/2014/main" id="{F973B453-6DAE-423F-8689-4EAB5996B427}"/>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0" name="Rektangel 579">
              <a:extLst>
                <a:ext uri="{FF2B5EF4-FFF2-40B4-BE49-F238E27FC236}">
                  <a16:creationId xmlns:a16="http://schemas.microsoft.com/office/drawing/2014/main" id="{5C46A54F-8C54-46CE-84B7-91158174C3E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1" name="Rektangel 580">
              <a:extLst>
                <a:ext uri="{FF2B5EF4-FFF2-40B4-BE49-F238E27FC236}">
                  <a16:creationId xmlns:a16="http://schemas.microsoft.com/office/drawing/2014/main" id="{266C41D2-BABE-44E4-A7C9-6EA50977A3FE}"/>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82" name="Gruppe 581">
            <a:extLst>
              <a:ext uri="{FF2B5EF4-FFF2-40B4-BE49-F238E27FC236}">
                <a16:creationId xmlns:a16="http://schemas.microsoft.com/office/drawing/2014/main" id="{8C5B1DA6-52A3-4F36-BA75-F58D7BED329F}"/>
              </a:ext>
            </a:extLst>
          </p:cNvPr>
          <p:cNvGrpSpPr/>
          <p:nvPr userDrawn="1"/>
        </p:nvGrpSpPr>
        <p:grpSpPr>
          <a:xfrm>
            <a:off x="9165640" y="4253710"/>
            <a:ext cx="99577" cy="158629"/>
            <a:chOff x="8421584" y="4256885"/>
            <a:chExt cx="99577" cy="158629"/>
          </a:xfrm>
        </p:grpSpPr>
        <p:sp>
          <p:nvSpPr>
            <p:cNvPr id="583" name="Rektangel 582">
              <a:extLst>
                <a:ext uri="{FF2B5EF4-FFF2-40B4-BE49-F238E27FC236}">
                  <a16:creationId xmlns:a16="http://schemas.microsoft.com/office/drawing/2014/main" id="{E030EBCD-2476-48E2-BD47-4552FFA3D4BB}"/>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4" name="Rektangel 583">
              <a:extLst>
                <a:ext uri="{FF2B5EF4-FFF2-40B4-BE49-F238E27FC236}">
                  <a16:creationId xmlns:a16="http://schemas.microsoft.com/office/drawing/2014/main" id="{2B380582-CC04-4854-8E1A-4868306A53CA}"/>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5" name="Rektangel 584">
              <a:extLst>
                <a:ext uri="{FF2B5EF4-FFF2-40B4-BE49-F238E27FC236}">
                  <a16:creationId xmlns:a16="http://schemas.microsoft.com/office/drawing/2014/main" id="{24B911B9-0622-4605-AD00-7EB898F789B7}"/>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6" name="Rektangel 585">
              <a:extLst>
                <a:ext uri="{FF2B5EF4-FFF2-40B4-BE49-F238E27FC236}">
                  <a16:creationId xmlns:a16="http://schemas.microsoft.com/office/drawing/2014/main" id="{67F42BBB-4522-41AE-B326-F56243CDFFFC}"/>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549" name="Rektangel 548">
            <a:extLst>
              <a:ext uri="{FF2B5EF4-FFF2-40B4-BE49-F238E27FC236}">
                <a16:creationId xmlns:a16="http://schemas.microsoft.com/office/drawing/2014/main" id="{A1C91856-739F-4D3C-8419-67FA1B424DDD}"/>
              </a:ext>
            </a:extLst>
          </p:cNvPr>
          <p:cNvSpPr/>
          <p:nvPr userDrawn="1"/>
        </p:nvSpPr>
        <p:spPr>
          <a:xfrm>
            <a:off x="6575499" y="3549037"/>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0" name="Rektangel 549">
            <a:extLst>
              <a:ext uri="{FF2B5EF4-FFF2-40B4-BE49-F238E27FC236}">
                <a16:creationId xmlns:a16="http://schemas.microsoft.com/office/drawing/2014/main" id="{2B9DACA1-77E1-4391-A0F3-D410B9BB6BB5}"/>
              </a:ext>
            </a:extLst>
          </p:cNvPr>
          <p:cNvSpPr/>
          <p:nvPr userDrawn="1"/>
        </p:nvSpPr>
        <p:spPr>
          <a:xfrm>
            <a:off x="6562188" y="3507326"/>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42" name="Gruppe 341">
            <a:extLst>
              <a:ext uri="{FF2B5EF4-FFF2-40B4-BE49-F238E27FC236}">
                <a16:creationId xmlns:a16="http://schemas.microsoft.com/office/drawing/2014/main" id="{06C8AF43-7A7A-462C-AFF8-6F5C0C0A74D3}"/>
              </a:ext>
            </a:extLst>
          </p:cNvPr>
          <p:cNvGrpSpPr>
            <a:grpSpLocks noChangeAspect="1"/>
          </p:cNvGrpSpPr>
          <p:nvPr userDrawn="1"/>
        </p:nvGrpSpPr>
        <p:grpSpPr>
          <a:xfrm flipH="1">
            <a:off x="9330607" y="2202877"/>
            <a:ext cx="1892210" cy="693435"/>
            <a:chOff x="7698172" y="1860827"/>
            <a:chExt cx="2046398" cy="794493"/>
          </a:xfrm>
        </p:grpSpPr>
        <p:sp>
          <p:nvSpPr>
            <p:cNvPr id="343" name="Ellipse 342">
              <a:extLst>
                <a:ext uri="{FF2B5EF4-FFF2-40B4-BE49-F238E27FC236}">
                  <a16:creationId xmlns:a16="http://schemas.microsoft.com/office/drawing/2014/main" id="{5D89502A-E2F7-47AC-BBD5-C671C38D3AF6}"/>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4" name="Ellipse 343">
              <a:extLst>
                <a:ext uri="{FF2B5EF4-FFF2-40B4-BE49-F238E27FC236}">
                  <a16:creationId xmlns:a16="http://schemas.microsoft.com/office/drawing/2014/main" id="{94B00F50-3ED5-4777-9B1C-C3A6A2783AC2}"/>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5" name="Ellipse 344">
              <a:extLst>
                <a:ext uri="{FF2B5EF4-FFF2-40B4-BE49-F238E27FC236}">
                  <a16:creationId xmlns:a16="http://schemas.microsoft.com/office/drawing/2014/main" id="{7C05C1BE-6D89-4988-A0EC-C89B3EC00B29}"/>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6" name="Ellipse 345">
              <a:extLst>
                <a:ext uri="{FF2B5EF4-FFF2-40B4-BE49-F238E27FC236}">
                  <a16:creationId xmlns:a16="http://schemas.microsoft.com/office/drawing/2014/main" id="{7F546B39-8E59-4029-BB56-5E4719C0595F}"/>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7" name="Ellipse 346">
              <a:extLst>
                <a:ext uri="{FF2B5EF4-FFF2-40B4-BE49-F238E27FC236}">
                  <a16:creationId xmlns:a16="http://schemas.microsoft.com/office/drawing/2014/main" id="{28074721-66C7-40F9-9BD1-EEB0285B1AFC}"/>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8" name="Ellipse 347">
              <a:extLst>
                <a:ext uri="{FF2B5EF4-FFF2-40B4-BE49-F238E27FC236}">
                  <a16:creationId xmlns:a16="http://schemas.microsoft.com/office/drawing/2014/main" id="{DD495963-4432-4EDC-9CFD-4F35F46D2ED8}"/>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49" name="Gruppe 348">
            <a:extLst>
              <a:ext uri="{FF2B5EF4-FFF2-40B4-BE49-F238E27FC236}">
                <a16:creationId xmlns:a16="http://schemas.microsoft.com/office/drawing/2014/main" id="{3D83FD06-EDA1-480C-93D6-C80612131DE7}"/>
              </a:ext>
            </a:extLst>
          </p:cNvPr>
          <p:cNvGrpSpPr/>
          <p:nvPr userDrawn="1"/>
        </p:nvGrpSpPr>
        <p:grpSpPr>
          <a:xfrm>
            <a:off x="6270980" y="1977069"/>
            <a:ext cx="2046398" cy="794493"/>
            <a:chOff x="6270980" y="1977069"/>
            <a:chExt cx="2046398" cy="794493"/>
          </a:xfrm>
        </p:grpSpPr>
        <p:sp>
          <p:nvSpPr>
            <p:cNvPr id="350" name="Ellipse 349">
              <a:extLst>
                <a:ext uri="{FF2B5EF4-FFF2-40B4-BE49-F238E27FC236}">
                  <a16:creationId xmlns:a16="http://schemas.microsoft.com/office/drawing/2014/main" id="{8DD86FD0-9F2C-4578-9EDB-7C57A76014F9}"/>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1" name="Ellipse 350">
              <a:extLst>
                <a:ext uri="{FF2B5EF4-FFF2-40B4-BE49-F238E27FC236}">
                  <a16:creationId xmlns:a16="http://schemas.microsoft.com/office/drawing/2014/main" id="{A514AB74-0AEE-4DDF-B9B6-84A67101C5AF}"/>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2" name="Ellipse 351">
              <a:extLst>
                <a:ext uri="{FF2B5EF4-FFF2-40B4-BE49-F238E27FC236}">
                  <a16:creationId xmlns:a16="http://schemas.microsoft.com/office/drawing/2014/main" id="{B07A2B44-C3B4-45DA-9A0D-3451DE8CDE29}"/>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3" name="Ellipse 352">
              <a:extLst>
                <a:ext uri="{FF2B5EF4-FFF2-40B4-BE49-F238E27FC236}">
                  <a16:creationId xmlns:a16="http://schemas.microsoft.com/office/drawing/2014/main" id="{2C22B975-E072-44BF-9848-70F15BFCFD72}"/>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4" name="Ellipse 353">
              <a:extLst>
                <a:ext uri="{FF2B5EF4-FFF2-40B4-BE49-F238E27FC236}">
                  <a16:creationId xmlns:a16="http://schemas.microsoft.com/office/drawing/2014/main" id="{59641F3D-D124-4631-91D5-BF418A153602}"/>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5" name="Ellipse 354">
              <a:extLst>
                <a:ext uri="{FF2B5EF4-FFF2-40B4-BE49-F238E27FC236}">
                  <a16:creationId xmlns:a16="http://schemas.microsoft.com/office/drawing/2014/main" id="{811B51A4-57AE-4E21-AAF4-9B83A340D6EB}"/>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1" name="Gruppe 20">
            <a:extLst>
              <a:ext uri="{FF2B5EF4-FFF2-40B4-BE49-F238E27FC236}">
                <a16:creationId xmlns:a16="http://schemas.microsoft.com/office/drawing/2014/main" id="{1774DC92-E294-49CB-9C90-2955E689F3F2}"/>
              </a:ext>
            </a:extLst>
          </p:cNvPr>
          <p:cNvGrpSpPr/>
          <p:nvPr userDrawn="1"/>
        </p:nvGrpSpPr>
        <p:grpSpPr>
          <a:xfrm>
            <a:off x="10306154" y="3089866"/>
            <a:ext cx="636481" cy="1224368"/>
            <a:chOff x="10306154" y="3089866"/>
            <a:chExt cx="636481" cy="1224368"/>
          </a:xfrm>
          <a:solidFill>
            <a:schemeClr val="accent4">
              <a:lumMod val="75000"/>
            </a:schemeClr>
          </a:solidFill>
        </p:grpSpPr>
        <p:sp>
          <p:nvSpPr>
            <p:cNvPr id="11" name="Rektangel 10">
              <a:extLst>
                <a:ext uri="{FF2B5EF4-FFF2-40B4-BE49-F238E27FC236}">
                  <a16:creationId xmlns:a16="http://schemas.microsoft.com/office/drawing/2014/main" id="{68AF03FF-461D-4A8F-8C1E-2028870C87F2}"/>
                </a:ext>
              </a:extLst>
            </p:cNvPr>
            <p:cNvSpPr/>
            <p:nvPr userDrawn="1"/>
          </p:nvSpPr>
          <p:spPr>
            <a:xfrm>
              <a:off x="10533563" y="3748643"/>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5" name="Rektangel 324">
              <a:extLst>
                <a:ext uri="{FF2B5EF4-FFF2-40B4-BE49-F238E27FC236}">
                  <a16:creationId xmlns:a16="http://schemas.microsoft.com/office/drawing/2014/main" id="{9811A366-2F57-4588-9F00-3555F05E313C}"/>
                </a:ext>
              </a:extLst>
            </p:cNvPr>
            <p:cNvSpPr/>
            <p:nvPr userDrawn="1"/>
          </p:nvSpPr>
          <p:spPr>
            <a:xfrm>
              <a:off x="10533563" y="3579667"/>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6" name="Rektangel 325">
              <a:extLst>
                <a:ext uri="{FF2B5EF4-FFF2-40B4-BE49-F238E27FC236}">
                  <a16:creationId xmlns:a16="http://schemas.microsoft.com/office/drawing/2014/main" id="{734AF6BD-B875-4028-968D-A4508625B25C}"/>
                </a:ext>
              </a:extLst>
            </p:cNvPr>
            <p:cNvSpPr/>
            <p:nvPr userDrawn="1"/>
          </p:nvSpPr>
          <p:spPr>
            <a:xfrm>
              <a:off x="10533563" y="3410690"/>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7" name="Ligebenet trapez 326">
              <a:extLst>
                <a:ext uri="{FF2B5EF4-FFF2-40B4-BE49-F238E27FC236}">
                  <a16:creationId xmlns:a16="http://schemas.microsoft.com/office/drawing/2014/main" id="{354B443D-4808-472A-8D7B-06267986C95D}"/>
                </a:ext>
              </a:extLst>
            </p:cNvPr>
            <p:cNvSpPr/>
            <p:nvPr userDrawn="1"/>
          </p:nvSpPr>
          <p:spPr>
            <a:xfrm>
              <a:off x="10406044" y="3089866"/>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8" name="Ligebenet trapez 327">
              <a:extLst>
                <a:ext uri="{FF2B5EF4-FFF2-40B4-BE49-F238E27FC236}">
                  <a16:creationId xmlns:a16="http://schemas.microsoft.com/office/drawing/2014/main" id="{5D0027D1-8814-485E-B62A-3599E0E7142B}"/>
                </a:ext>
              </a:extLst>
            </p:cNvPr>
            <p:cNvSpPr/>
            <p:nvPr userDrawn="1"/>
          </p:nvSpPr>
          <p:spPr>
            <a:xfrm flipV="1">
              <a:off x="10406044" y="3327567"/>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9" name="Rektangel 328">
              <a:extLst>
                <a:ext uri="{FF2B5EF4-FFF2-40B4-BE49-F238E27FC236}">
                  <a16:creationId xmlns:a16="http://schemas.microsoft.com/office/drawing/2014/main" id="{8C12977C-8109-444D-A099-F83DD3A8CFDB}"/>
                </a:ext>
              </a:extLst>
            </p:cNvPr>
            <p:cNvSpPr/>
            <p:nvPr userDrawn="1"/>
          </p:nvSpPr>
          <p:spPr>
            <a:xfrm>
              <a:off x="10533563" y="3172989"/>
              <a:ext cx="163283" cy="147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2" name="Rektangel: øverste hjørner afrundet 331">
              <a:extLst>
                <a:ext uri="{FF2B5EF4-FFF2-40B4-BE49-F238E27FC236}">
                  <a16:creationId xmlns:a16="http://schemas.microsoft.com/office/drawing/2014/main" id="{126E0E10-E46C-49E0-BF30-B4D78BD6A456}"/>
                </a:ext>
              </a:extLst>
            </p:cNvPr>
            <p:cNvSpPr/>
            <p:nvPr userDrawn="1"/>
          </p:nvSpPr>
          <p:spPr>
            <a:xfrm>
              <a:off x="10351717" y="4088582"/>
              <a:ext cx="531872"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16" name="Lige forbindelse 15">
              <a:extLst>
                <a:ext uri="{FF2B5EF4-FFF2-40B4-BE49-F238E27FC236}">
                  <a16:creationId xmlns:a16="http://schemas.microsoft.com/office/drawing/2014/main" id="{1F7472D5-31D2-40E4-943F-90722F9C13BB}"/>
                </a:ext>
              </a:extLst>
            </p:cNvPr>
            <p:cNvCxnSpPr>
              <a:cxnSpLocks/>
            </p:cNvCxnSpPr>
            <p:nvPr userDrawn="1"/>
          </p:nvCxnSpPr>
          <p:spPr>
            <a:xfrm>
              <a:off x="10418744"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3" name="Lige forbindelse 332">
              <a:extLst>
                <a:ext uri="{FF2B5EF4-FFF2-40B4-BE49-F238E27FC236}">
                  <a16:creationId xmlns:a16="http://schemas.microsoft.com/office/drawing/2014/main" id="{38B5409E-CE1B-4622-90C8-DCC7901FA862}"/>
                </a:ext>
              </a:extLst>
            </p:cNvPr>
            <p:cNvCxnSpPr>
              <a:cxnSpLocks/>
            </p:cNvCxnSpPr>
            <p:nvPr userDrawn="1"/>
          </p:nvCxnSpPr>
          <p:spPr>
            <a:xfrm>
              <a:off x="10809680"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4" name="Rektangel 333">
              <a:extLst>
                <a:ext uri="{FF2B5EF4-FFF2-40B4-BE49-F238E27FC236}">
                  <a16:creationId xmlns:a16="http://schemas.microsoft.com/office/drawing/2014/main" id="{EF1806F3-6E67-4960-915A-348E0ED0C7B6}"/>
                </a:ext>
              </a:extLst>
            </p:cNvPr>
            <p:cNvSpPr/>
            <p:nvPr userDrawn="1"/>
          </p:nvSpPr>
          <p:spPr>
            <a:xfrm>
              <a:off x="10533563" y="3919146"/>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335" name="Lige forbindelse 334">
              <a:extLst>
                <a:ext uri="{FF2B5EF4-FFF2-40B4-BE49-F238E27FC236}">
                  <a16:creationId xmlns:a16="http://schemas.microsoft.com/office/drawing/2014/main" id="{1AB054AB-07D5-4754-B87D-3B6391EBDA5A}"/>
                </a:ext>
              </a:extLst>
            </p:cNvPr>
            <p:cNvCxnSpPr>
              <a:cxnSpLocks/>
            </p:cNvCxnSpPr>
            <p:nvPr userDrawn="1"/>
          </p:nvCxnSpPr>
          <p:spPr>
            <a:xfrm rot="2100000">
              <a:off x="10451672" y="3832002"/>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FCAA2DB7-9589-4F6C-A122-791DF411963E}"/>
                </a:ext>
              </a:extLst>
            </p:cNvPr>
            <p:cNvCxnSpPr>
              <a:cxnSpLocks/>
            </p:cNvCxnSpPr>
            <p:nvPr userDrawn="1"/>
          </p:nvCxnSpPr>
          <p:spPr>
            <a:xfrm rot="19500000" flipH="1">
              <a:off x="10783678" y="3832000"/>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8" name="Rektangel: øverste hjørner afrundet 337">
              <a:extLst>
                <a:ext uri="{FF2B5EF4-FFF2-40B4-BE49-F238E27FC236}">
                  <a16:creationId xmlns:a16="http://schemas.microsoft.com/office/drawing/2014/main" id="{56FFCA39-BFA9-4F46-9C30-AFFED85AC7E0}"/>
                </a:ext>
              </a:extLst>
            </p:cNvPr>
            <p:cNvSpPr/>
            <p:nvPr userDrawn="1"/>
          </p:nvSpPr>
          <p:spPr>
            <a:xfrm>
              <a:off x="10306154" y="4205546"/>
              <a:ext cx="636481"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9" name="Rektangel 338">
              <a:extLst>
                <a:ext uri="{FF2B5EF4-FFF2-40B4-BE49-F238E27FC236}">
                  <a16:creationId xmlns:a16="http://schemas.microsoft.com/office/drawing/2014/main" id="{7894008A-7823-4AB5-AD53-36F5082E8272}"/>
                </a:ext>
              </a:extLst>
            </p:cNvPr>
            <p:cNvSpPr/>
            <p:nvPr userDrawn="1"/>
          </p:nvSpPr>
          <p:spPr>
            <a:xfrm>
              <a:off x="10533563" y="4112431"/>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12" name="Gruppe 311">
            <a:extLst>
              <a:ext uri="{FF2B5EF4-FFF2-40B4-BE49-F238E27FC236}">
                <a16:creationId xmlns:a16="http://schemas.microsoft.com/office/drawing/2014/main" id="{A1487348-C29D-4D67-9AF0-8CC5A000AD0F}"/>
              </a:ext>
            </a:extLst>
          </p:cNvPr>
          <p:cNvGrpSpPr/>
          <p:nvPr userDrawn="1"/>
        </p:nvGrpSpPr>
        <p:grpSpPr>
          <a:xfrm flipH="1">
            <a:off x="10675190" y="3653750"/>
            <a:ext cx="754844" cy="756518"/>
            <a:chOff x="5963869" y="5072627"/>
            <a:chExt cx="830528" cy="1085187"/>
          </a:xfrm>
          <a:solidFill>
            <a:schemeClr val="accent4"/>
          </a:solidFill>
        </p:grpSpPr>
        <p:grpSp>
          <p:nvGrpSpPr>
            <p:cNvPr id="313" name="Gruppe 312">
              <a:extLst>
                <a:ext uri="{FF2B5EF4-FFF2-40B4-BE49-F238E27FC236}">
                  <a16:creationId xmlns:a16="http://schemas.microsoft.com/office/drawing/2014/main" id="{601A005A-2546-40CD-911A-5AE284C09620}"/>
                </a:ext>
              </a:extLst>
            </p:cNvPr>
            <p:cNvGrpSpPr/>
            <p:nvPr userDrawn="1"/>
          </p:nvGrpSpPr>
          <p:grpSpPr>
            <a:xfrm>
              <a:off x="5963869" y="5072627"/>
              <a:ext cx="830528" cy="1085187"/>
              <a:chOff x="6528663" y="5014275"/>
              <a:chExt cx="830528" cy="1085187"/>
            </a:xfrm>
            <a:grpFill/>
          </p:grpSpPr>
          <p:sp>
            <p:nvSpPr>
              <p:cNvPr id="315" name="Rektangel 314">
                <a:extLst>
                  <a:ext uri="{FF2B5EF4-FFF2-40B4-BE49-F238E27FC236}">
                    <a16:creationId xmlns:a16="http://schemas.microsoft.com/office/drawing/2014/main" id="{E124597B-97EE-47A2-ACA8-6AA70DFA43B2}"/>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6" name="Ellipse 315">
                <a:extLst>
                  <a:ext uri="{FF2B5EF4-FFF2-40B4-BE49-F238E27FC236}">
                    <a16:creationId xmlns:a16="http://schemas.microsoft.com/office/drawing/2014/main" id="{2F66B8C1-9A2E-4D3D-9B72-62D12CAFF81C}"/>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7" name="Ellipse 316">
                <a:extLst>
                  <a:ext uri="{FF2B5EF4-FFF2-40B4-BE49-F238E27FC236}">
                    <a16:creationId xmlns:a16="http://schemas.microsoft.com/office/drawing/2014/main" id="{DEFDEC4E-9F4D-48F7-B236-6F2857AC546B}"/>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8" name="Ellipse 317">
                <a:extLst>
                  <a:ext uri="{FF2B5EF4-FFF2-40B4-BE49-F238E27FC236}">
                    <a16:creationId xmlns:a16="http://schemas.microsoft.com/office/drawing/2014/main" id="{493C6A63-0D81-4C9C-88AD-5FE2556D232E}"/>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9" name="Ellipse 318">
                <a:extLst>
                  <a:ext uri="{FF2B5EF4-FFF2-40B4-BE49-F238E27FC236}">
                    <a16:creationId xmlns:a16="http://schemas.microsoft.com/office/drawing/2014/main" id="{128730B1-F452-4701-989B-DA555498F5A8}"/>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14" name="Ellipse 313">
              <a:extLst>
                <a:ext uri="{FF2B5EF4-FFF2-40B4-BE49-F238E27FC236}">
                  <a16:creationId xmlns:a16="http://schemas.microsoft.com/office/drawing/2014/main" id="{EA67F01F-86A9-4A22-B617-BFE4607C69A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9" name="Rektangel: øverste hjørner afrundet 248">
            <a:extLst>
              <a:ext uri="{FF2B5EF4-FFF2-40B4-BE49-F238E27FC236}">
                <a16:creationId xmlns:a16="http://schemas.microsoft.com/office/drawing/2014/main" id="{B12238DF-AD03-499E-BA4D-AE5628DB862B}"/>
              </a:ext>
            </a:extLst>
          </p:cNvPr>
          <p:cNvSpPr/>
          <p:nvPr userDrawn="1"/>
        </p:nvSpPr>
        <p:spPr>
          <a:xfrm>
            <a:off x="9988425" y="4238877"/>
            <a:ext cx="1481651" cy="117423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8" name="Rektangel: øverste hjørner afrundet 247">
            <a:extLst>
              <a:ext uri="{FF2B5EF4-FFF2-40B4-BE49-F238E27FC236}">
                <a16:creationId xmlns:a16="http://schemas.microsoft.com/office/drawing/2014/main" id="{4AF23D9C-5ECB-4BC6-AB0A-75802F844AE9}"/>
              </a:ext>
            </a:extLst>
          </p:cNvPr>
          <p:cNvSpPr/>
          <p:nvPr userDrawn="1"/>
        </p:nvSpPr>
        <p:spPr>
          <a:xfrm>
            <a:off x="9712580" y="4345398"/>
            <a:ext cx="1514894" cy="1209822"/>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7" name="Rektangel: øverste hjørner afrundet 246">
            <a:extLst>
              <a:ext uri="{FF2B5EF4-FFF2-40B4-BE49-F238E27FC236}">
                <a16:creationId xmlns:a16="http://schemas.microsoft.com/office/drawing/2014/main" id="{B56485DD-8DFF-420A-82B8-FC2933694F23}"/>
              </a:ext>
            </a:extLst>
          </p:cNvPr>
          <p:cNvSpPr/>
          <p:nvPr userDrawn="1"/>
        </p:nvSpPr>
        <p:spPr>
          <a:xfrm>
            <a:off x="10155636" y="4502461"/>
            <a:ext cx="1314439" cy="120982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38" name="Gruppe 237">
            <a:extLst>
              <a:ext uri="{FF2B5EF4-FFF2-40B4-BE49-F238E27FC236}">
                <a16:creationId xmlns:a16="http://schemas.microsoft.com/office/drawing/2014/main" id="{4C8AAC0F-BE5F-41A3-AD47-8FA0DE6F81E4}"/>
              </a:ext>
            </a:extLst>
          </p:cNvPr>
          <p:cNvGrpSpPr/>
          <p:nvPr userDrawn="1"/>
        </p:nvGrpSpPr>
        <p:grpSpPr>
          <a:xfrm flipH="1">
            <a:off x="8880539" y="4570857"/>
            <a:ext cx="1068119" cy="746150"/>
            <a:chOff x="5878302" y="5164076"/>
            <a:chExt cx="916095" cy="739089"/>
          </a:xfrm>
          <a:solidFill>
            <a:schemeClr val="accent4">
              <a:lumMod val="60000"/>
              <a:lumOff val="40000"/>
            </a:schemeClr>
          </a:solidFill>
        </p:grpSpPr>
        <p:grpSp>
          <p:nvGrpSpPr>
            <p:cNvPr id="239" name="Gruppe 238">
              <a:extLst>
                <a:ext uri="{FF2B5EF4-FFF2-40B4-BE49-F238E27FC236}">
                  <a16:creationId xmlns:a16="http://schemas.microsoft.com/office/drawing/2014/main" id="{1701C1A9-EE5A-4FEB-8921-D7F20B21DF8F}"/>
                </a:ext>
              </a:extLst>
            </p:cNvPr>
            <p:cNvGrpSpPr/>
            <p:nvPr userDrawn="1"/>
          </p:nvGrpSpPr>
          <p:grpSpPr>
            <a:xfrm>
              <a:off x="5878302" y="5164076"/>
              <a:ext cx="916095" cy="739089"/>
              <a:chOff x="6443096" y="5105724"/>
              <a:chExt cx="916095" cy="739089"/>
            </a:xfrm>
            <a:grpFill/>
          </p:grpSpPr>
          <p:sp>
            <p:nvSpPr>
              <p:cNvPr id="241" name="Rektangel 240">
                <a:extLst>
                  <a:ext uri="{FF2B5EF4-FFF2-40B4-BE49-F238E27FC236}">
                    <a16:creationId xmlns:a16="http://schemas.microsoft.com/office/drawing/2014/main" id="{B4ED253A-A77B-4D08-A8E4-8F771FF44EC3}"/>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2" name="Ellipse 241">
                <a:extLst>
                  <a:ext uri="{FF2B5EF4-FFF2-40B4-BE49-F238E27FC236}">
                    <a16:creationId xmlns:a16="http://schemas.microsoft.com/office/drawing/2014/main" id="{E287B098-4F07-433E-A902-039C73AE81A5}"/>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3" name="Ellipse 242">
                <a:extLst>
                  <a:ext uri="{FF2B5EF4-FFF2-40B4-BE49-F238E27FC236}">
                    <a16:creationId xmlns:a16="http://schemas.microsoft.com/office/drawing/2014/main" id="{76DA8D89-1D7A-4C15-A96E-D03493C1BC2E}"/>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4" name="Ellipse 243">
                <a:extLst>
                  <a:ext uri="{FF2B5EF4-FFF2-40B4-BE49-F238E27FC236}">
                    <a16:creationId xmlns:a16="http://schemas.microsoft.com/office/drawing/2014/main" id="{6EB859CE-A314-486A-B09E-2BF81956004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5" name="Ellipse 244">
                <a:extLst>
                  <a:ext uri="{FF2B5EF4-FFF2-40B4-BE49-F238E27FC236}">
                    <a16:creationId xmlns:a16="http://schemas.microsoft.com/office/drawing/2014/main" id="{116711E7-2606-48E1-B5F6-EA3F773C010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0" name="Ellipse 239">
              <a:extLst>
                <a:ext uri="{FF2B5EF4-FFF2-40B4-BE49-F238E27FC236}">
                  <a16:creationId xmlns:a16="http://schemas.microsoft.com/office/drawing/2014/main" id="{D1ED5E9C-A56A-4CFA-B569-63280F7F986C}"/>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9" name="Gruppe 228">
            <a:extLst>
              <a:ext uri="{FF2B5EF4-FFF2-40B4-BE49-F238E27FC236}">
                <a16:creationId xmlns:a16="http://schemas.microsoft.com/office/drawing/2014/main" id="{CB021EA0-F583-42F4-BC85-A983CC405D08}"/>
              </a:ext>
            </a:extLst>
          </p:cNvPr>
          <p:cNvGrpSpPr/>
          <p:nvPr userDrawn="1"/>
        </p:nvGrpSpPr>
        <p:grpSpPr>
          <a:xfrm>
            <a:off x="9295933" y="4687651"/>
            <a:ext cx="980779" cy="1057255"/>
            <a:chOff x="9806171" y="4688837"/>
            <a:chExt cx="980779" cy="1057255"/>
          </a:xfrm>
        </p:grpSpPr>
        <p:sp>
          <p:nvSpPr>
            <p:cNvPr id="196" name="Rektangel 195">
              <a:extLst>
                <a:ext uri="{FF2B5EF4-FFF2-40B4-BE49-F238E27FC236}">
                  <a16:creationId xmlns:a16="http://schemas.microsoft.com/office/drawing/2014/main" id="{0FB38109-4347-4B33-8138-48FD955606CF}"/>
                </a:ext>
              </a:extLst>
            </p:cNvPr>
            <p:cNvSpPr/>
            <p:nvPr userDrawn="1"/>
          </p:nvSpPr>
          <p:spPr>
            <a:xfrm>
              <a:off x="9917174" y="5108558"/>
              <a:ext cx="776191" cy="637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7" name="Ligebenet trekant 196">
              <a:extLst>
                <a:ext uri="{FF2B5EF4-FFF2-40B4-BE49-F238E27FC236}">
                  <a16:creationId xmlns:a16="http://schemas.microsoft.com/office/drawing/2014/main" id="{F52F3B6F-E93E-4FFB-93CC-FE2B8D84F38C}"/>
                </a:ext>
              </a:extLst>
            </p:cNvPr>
            <p:cNvSpPr/>
            <p:nvPr userDrawn="1"/>
          </p:nvSpPr>
          <p:spPr>
            <a:xfrm>
              <a:off x="9806171" y="4688837"/>
              <a:ext cx="980779" cy="425454"/>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2" name="Rektangel 181">
            <a:extLst>
              <a:ext uri="{FF2B5EF4-FFF2-40B4-BE49-F238E27FC236}">
                <a16:creationId xmlns:a16="http://schemas.microsoft.com/office/drawing/2014/main" id="{26761E30-769A-4EC6-ACFE-BD8E1740804F}"/>
              </a:ext>
            </a:extLst>
          </p:cNvPr>
          <p:cNvSpPr/>
          <p:nvPr userDrawn="1"/>
        </p:nvSpPr>
        <p:spPr>
          <a:xfrm flipH="1">
            <a:off x="8007054" y="3666438"/>
            <a:ext cx="45719" cy="293271"/>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4" name="Gruppe 173">
            <a:extLst>
              <a:ext uri="{FF2B5EF4-FFF2-40B4-BE49-F238E27FC236}">
                <a16:creationId xmlns:a16="http://schemas.microsoft.com/office/drawing/2014/main" id="{D98E48ED-1547-40B9-BB47-3E4D8A20CBCA}"/>
              </a:ext>
            </a:extLst>
          </p:cNvPr>
          <p:cNvGrpSpPr/>
          <p:nvPr userDrawn="1"/>
        </p:nvGrpSpPr>
        <p:grpSpPr>
          <a:xfrm flipH="1">
            <a:off x="6019155" y="4808008"/>
            <a:ext cx="1105266" cy="891489"/>
            <a:chOff x="5878302" y="5164076"/>
            <a:chExt cx="916095" cy="739089"/>
          </a:xfrm>
          <a:solidFill>
            <a:schemeClr val="accent4">
              <a:lumMod val="60000"/>
              <a:lumOff val="40000"/>
            </a:schemeClr>
          </a:solidFill>
        </p:grpSpPr>
        <p:grpSp>
          <p:nvGrpSpPr>
            <p:cNvPr id="175" name="Gruppe 174">
              <a:extLst>
                <a:ext uri="{FF2B5EF4-FFF2-40B4-BE49-F238E27FC236}">
                  <a16:creationId xmlns:a16="http://schemas.microsoft.com/office/drawing/2014/main" id="{DBC250E5-74C1-44EE-97BC-E3E1D1A3E5B9}"/>
                </a:ext>
              </a:extLst>
            </p:cNvPr>
            <p:cNvGrpSpPr/>
            <p:nvPr userDrawn="1"/>
          </p:nvGrpSpPr>
          <p:grpSpPr>
            <a:xfrm>
              <a:off x="5878302" y="5164076"/>
              <a:ext cx="916095" cy="739089"/>
              <a:chOff x="6443096" y="5105724"/>
              <a:chExt cx="916095" cy="739089"/>
            </a:xfrm>
            <a:grpFill/>
          </p:grpSpPr>
          <p:sp>
            <p:nvSpPr>
              <p:cNvPr id="177" name="Rektangel 176">
                <a:extLst>
                  <a:ext uri="{FF2B5EF4-FFF2-40B4-BE49-F238E27FC236}">
                    <a16:creationId xmlns:a16="http://schemas.microsoft.com/office/drawing/2014/main" id="{A1F92383-EFA1-407E-90B9-7E258202CA4B}"/>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8" name="Ellipse 177">
                <a:extLst>
                  <a:ext uri="{FF2B5EF4-FFF2-40B4-BE49-F238E27FC236}">
                    <a16:creationId xmlns:a16="http://schemas.microsoft.com/office/drawing/2014/main" id="{E45D9125-EAB5-4A81-824B-E996AD688DD4}"/>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Ellipse 178">
                <a:extLst>
                  <a:ext uri="{FF2B5EF4-FFF2-40B4-BE49-F238E27FC236}">
                    <a16:creationId xmlns:a16="http://schemas.microsoft.com/office/drawing/2014/main" id="{60E6D7F7-FBDE-40F9-97E7-D8131E7EF1A5}"/>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Ellipse 179">
                <a:extLst>
                  <a:ext uri="{FF2B5EF4-FFF2-40B4-BE49-F238E27FC236}">
                    <a16:creationId xmlns:a16="http://schemas.microsoft.com/office/drawing/2014/main" id="{19030737-0033-4B30-A1CE-D4D3888B7D39}"/>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1" name="Ellipse 180">
                <a:extLst>
                  <a:ext uri="{FF2B5EF4-FFF2-40B4-BE49-F238E27FC236}">
                    <a16:creationId xmlns:a16="http://schemas.microsoft.com/office/drawing/2014/main" id="{6FBEFE93-57CD-42F9-9C13-36ED16BA3894}"/>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6" name="Ellipse 175">
              <a:extLst>
                <a:ext uri="{FF2B5EF4-FFF2-40B4-BE49-F238E27FC236}">
                  <a16:creationId xmlns:a16="http://schemas.microsoft.com/office/drawing/2014/main" id="{0F6DF34C-4E4C-4161-B4F3-DF39A0826652}"/>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Rektangel 164">
            <a:extLst>
              <a:ext uri="{FF2B5EF4-FFF2-40B4-BE49-F238E27FC236}">
                <a16:creationId xmlns:a16="http://schemas.microsoft.com/office/drawing/2014/main" id="{2049A3C2-DE3C-4B33-85D9-17D2C60838D7}"/>
              </a:ext>
            </a:extLst>
          </p:cNvPr>
          <p:cNvSpPr/>
          <p:nvPr userDrawn="1"/>
        </p:nvSpPr>
        <p:spPr>
          <a:xfrm>
            <a:off x="7438153" y="3916883"/>
            <a:ext cx="678767" cy="133705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24BEA58D-57BB-4B41-9827-5F5CEBC6E142}"/>
              </a:ext>
            </a:extLst>
          </p:cNvPr>
          <p:cNvSpPr/>
          <p:nvPr userDrawn="1"/>
        </p:nvSpPr>
        <p:spPr>
          <a:xfrm>
            <a:off x="7345863" y="4346822"/>
            <a:ext cx="2087324" cy="1331912"/>
          </a:xfrm>
          <a:prstGeom prst="rect">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grpSp>
        <p:nvGrpSpPr>
          <p:cNvPr id="63" name="Gruppe 62">
            <a:extLst>
              <a:ext uri="{FF2B5EF4-FFF2-40B4-BE49-F238E27FC236}">
                <a16:creationId xmlns:a16="http://schemas.microsoft.com/office/drawing/2014/main" id="{78D7199C-DD4A-4C07-95CE-46562C07E617}"/>
              </a:ext>
            </a:extLst>
          </p:cNvPr>
          <p:cNvGrpSpPr/>
          <p:nvPr userDrawn="1"/>
        </p:nvGrpSpPr>
        <p:grpSpPr>
          <a:xfrm>
            <a:off x="7398339" y="4407386"/>
            <a:ext cx="1961668" cy="153547"/>
            <a:chOff x="5121590" y="6344869"/>
            <a:chExt cx="1961668" cy="153547"/>
          </a:xfrm>
        </p:grpSpPr>
        <p:sp>
          <p:nvSpPr>
            <p:cNvPr id="128" name="Rektangel 127">
              <a:extLst>
                <a:ext uri="{FF2B5EF4-FFF2-40B4-BE49-F238E27FC236}">
                  <a16:creationId xmlns:a16="http://schemas.microsoft.com/office/drawing/2014/main" id="{BB1B126C-27FD-422A-A6FE-6EB659E85718}"/>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050DA149-5038-4647-B5E8-8BE1ED469CD2}"/>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0" name="Rektangel 129">
              <a:extLst>
                <a:ext uri="{FF2B5EF4-FFF2-40B4-BE49-F238E27FC236}">
                  <a16:creationId xmlns:a16="http://schemas.microsoft.com/office/drawing/2014/main" id="{1BDF2AE1-FFEC-495A-A7FA-BF4E31E44C5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1" name="Rektangel 130">
              <a:extLst>
                <a:ext uri="{FF2B5EF4-FFF2-40B4-BE49-F238E27FC236}">
                  <a16:creationId xmlns:a16="http://schemas.microsoft.com/office/drawing/2014/main" id="{4FB1DDD0-796D-486B-95F7-A948E2737607}"/>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F39D44FE-4E28-4604-BAC3-49449992963D}"/>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FCD03105-EBED-49E1-AF78-E3C56EEA5A9C}"/>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47DEFC7D-723E-4494-823F-5A2ACD6B4C14}"/>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4C325CDF-F2FF-4A88-BF86-7A8FCDD8D8F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6" name="Rektangel 135">
              <a:extLst>
                <a:ext uri="{FF2B5EF4-FFF2-40B4-BE49-F238E27FC236}">
                  <a16:creationId xmlns:a16="http://schemas.microsoft.com/office/drawing/2014/main" id="{1D0073B0-8EDC-45F7-900B-8B31E6D1CB99}"/>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7" name="Rektangel 136">
              <a:extLst>
                <a:ext uri="{FF2B5EF4-FFF2-40B4-BE49-F238E27FC236}">
                  <a16:creationId xmlns:a16="http://schemas.microsoft.com/office/drawing/2014/main" id="{E6A5752F-507B-41C4-8A00-4A6CF5D6BA63}"/>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0" name="Rektangel 139">
              <a:extLst>
                <a:ext uri="{FF2B5EF4-FFF2-40B4-BE49-F238E27FC236}">
                  <a16:creationId xmlns:a16="http://schemas.microsoft.com/office/drawing/2014/main" id="{DD3B22E6-1069-4B2B-BCE6-62BE60C3CDD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1" name="Gruppe 140">
            <a:extLst>
              <a:ext uri="{FF2B5EF4-FFF2-40B4-BE49-F238E27FC236}">
                <a16:creationId xmlns:a16="http://schemas.microsoft.com/office/drawing/2014/main" id="{3D51C6E2-F27E-409A-9DB9-7552F1D19BD9}"/>
              </a:ext>
            </a:extLst>
          </p:cNvPr>
          <p:cNvGrpSpPr/>
          <p:nvPr userDrawn="1"/>
        </p:nvGrpSpPr>
        <p:grpSpPr>
          <a:xfrm>
            <a:off x="7398339" y="4614506"/>
            <a:ext cx="1961668" cy="153547"/>
            <a:chOff x="5121590" y="6344869"/>
            <a:chExt cx="1961668" cy="153547"/>
          </a:xfrm>
        </p:grpSpPr>
        <p:sp>
          <p:nvSpPr>
            <p:cNvPr id="142" name="Rektangel 141">
              <a:extLst>
                <a:ext uri="{FF2B5EF4-FFF2-40B4-BE49-F238E27FC236}">
                  <a16:creationId xmlns:a16="http://schemas.microsoft.com/office/drawing/2014/main" id="{2F27D65F-62B4-4DD9-8492-5616CA72446A}"/>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3" name="Rektangel 142">
              <a:extLst>
                <a:ext uri="{FF2B5EF4-FFF2-40B4-BE49-F238E27FC236}">
                  <a16:creationId xmlns:a16="http://schemas.microsoft.com/office/drawing/2014/main" id="{69DB77B6-C578-4E91-977E-82E263DEAC79}"/>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4" name="Rektangel 143">
              <a:extLst>
                <a:ext uri="{FF2B5EF4-FFF2-40B4-BE49-F238E27FC236}">
                  <a16:creationId xmlns:a16="http://schemas.microsoft.com/office/drawing/2014/main" id="{32294095-0743-47AF-A9E4-604E6E986D19}"/>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5" name="Rektangel 144">
              <a:extLst>
                <a:ext uri="{FF2B5EF4-FFF2-40B4-BE49-F238E27FC236}">
                  <a16:creationId xmlns:a16="http://schemas.microsoft.com/office/drawing/2014/main" id="{68BE3D2B-FDE8-48FD-B4A4-8A504FF44955}"/>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6" name="Rektangel 145">
              <a:extLst>
                <a:ext uri="{FF2B5EF4-FFF2-40B4-BE49-F238E27FC236}">
                  <a16:creationId xmlns:a16="http://schemas.microsoft.com/office/drawing/2014/main" id="{D5A493A3-B059-49CB-88DD-C19E53310532}"/>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7" name="Rektangel 146">
              <a:extLst>
                <a:ext uri="{FF2B5EF4-FFF2-40B4-BE49-F238E27FC236}">
                  <a16:creationId xmlns:a16="http://schemas.microsoft.com/office/drawing/2014/main" id="{5480F4E6-29CB-4D09-B52A-B5A6FF88CB46}"/>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8" name="Rektangel 147">
              <a:extLst>
                <a:ext uri="{FF2B5EF4-FFF2-40B4-BE49-F238E27FC236}">
                  <a16:creationId xmlns:a16="http://schemas.microsoft.com/office/drawing/2014/main" id="{3DA77E43-2935-4C6F-8470-4A51AD41BAE8}"/>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9" name="Rektangel 148">
              <a:extLst>
                <a:ext uri="{FF2B5EF4-FFF2-40B4-BE49-F238E27FC236}">
                  <a16:creationId xmlns:a16="http://schemas.microsoft.com/office/drawing/2014/main" id="{7FD18631-F6B3-4E0D-A9F7-065313226D9D}"/>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2" name="Rektangel 151">
              <a:extLst>
                <a:ext uri="{FF2B5EF4-FFF2-40B4-BE49-F238E27FC236}">
                  <a16:creationId xmlns:a16="http://schemas.microsoft.com/office/drawing/2014/main" id="{66FF0E02-0A0E-4B6C-9170-0035C1187DE5}"/>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53" name="Gruppe 152">
            <a:extLst>
              <a:ext uri="{FF2B5EF4-FFF2-40B4-BE49-F238E27FC236}">
                <a16:creationId xmlns:a16="http://schemas.microsoft.com/office/drawing/2014/main" id="{31B68935-BCB6-4AED-934E-F773D7FD2199}"/>
              </a:ext>
            </a:extLst>
          </p:cNvPr>
          <p:cNvGrpSpPr/>
          <p:nvPr userDrawn="1"/>
        </p:nvGrpSpPr>
        <p:grpSpPr>
          <a:xfrm>
            <a:off x="7398339" y="4821626"/>
            <a:ext cx="1961668" cy="153547"/>
            <a:chOff x="5121590" y="6344869"/>
            <a:chExt cx="1961668" cy="153547"/>
          </a:xfrm>
        </p:grpSpPr>
        <p:sp>
          <p:nvSpPr>
            <p:cNvPr id="154" name="Rektangel 153">
              <a:extLst>
                <a:ext uri="{FF2B5EF4-FFF2-40B4-BE49-F238E27FC236}">
                  <a16:creationId xmlns:a16="http://schemas.microsoft.com/office/drawing/2014/main" id="{91B4A65F-C6E9-40AD-B8EE-6F7435E457DB}"/>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5" name="Rektangel 154">
              <a:extLst>
                <a:ext uri="{FF2B5EF4-FFF2-40B4-BE49-F238E27FC236}">
                  <a16:creationId xmlns:a16="http://schemas.microsoft.com/office/drawing/2014/main" id="{51BF6181-00F7-4E13-BCD9-C4218781A49F}"/>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6" name="Rektangel 155">
              <a:extLst>
                <a:ext uri="{FF2B5EF4-FFF2-40B4-BE49-F238E27FC236}">
                  <a16:creationId xmlns:a16="http://schemas.microsoft.com/office/drawing/2014/main" id="{BE6D0DFB-0470-499B-A2F8-3269CB34D93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7" name="Rektangel 156">
              <a:extLst>
                <a:ext uri="{FF2B5EF4-FFF2-40B4-BE49-F238E27FC236}">
                  <a16:creationId xmlns:a16="http://schemas.microsoft.com/office/drawing/2014/main" id="{7C32B980-6F21-4FC2-BEC2-508540784853}"/>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8" name="Rektangel 157">
              <a:extLst>
                <a:ext uri="{FF2B5EF4-FFF2-40B4-BE49-F238E27FC236}">
                  <a16:creationId xmlns:a16="http://schemas.microsoft.com/office/drawing/2014/main" id="{30FB9782-F163-4730-B4FF-C8524A1032F4}"/>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9" name="Rektangel 158">
              <a:extLst>
                <a:ext uri="{FF2B5EF4-FFF2-40B4-BE49-F238E27FC236}">
                  <a16:creationId xmlns:a16="http://schemas.microsoft.com/office/drawing/2014/main" id="{3AAE54F6-99E0-4DB7-8AC7-F8DFCE72D5F2}"/>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0" name="Rektangel 159">
              <a:extLst>
                <a:ext uri="{FF2B5EF4-FFF2-40B4-BE49-F238E27FC236}">
                  <a16:creationId xmlns:a16="http://schemas.microsoft.com/office/drawing/2014/main" id="{B4CB179E-54E2-4491-9706-B89C0B245B69}"/>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1" name="Rektangel 160">
              <a:extLst>
                <a:ext uri="{FF2B5EF4-FFF2-40B4-BE49-F238E27FC236}">
                  <a16:creationId xmlns:a16="http://schemas.microsoft.com/office/drawing/2014/main" id="{84F7FB2C-8FBD-4827-99A7-1212BE69747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2" name="Rektangel 161">
              <a:extLst>
                <a:ext uri="{FF2B5EF4-FFF2-40B4-BE49-F238E27FC236}">
                  <a16:creationId xmlns:a16="http://schemas.microsoft.com/office/drawing/2014/main" id="{1ACE2253-64D5-4A2B-A0A6-AFEB9F7F97C8}"/>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3" name="Rektangel 162">
              <a:extLst>
                <a:ext uri="{FF2B5EF4-FFF2-40B4-BE49-F238E27FC236}">
                  <a16:creationId xmlns:a16="http://schemas.microsoft.com/office/drawing/2014/main" id="{5B41A0A4-DFE0-476E-B61C-9464420B90EE}"/>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4" name="Rektangel 163">
              <a:extLst>
                <a:ext uri="{FF2B5EF4-FFF2-40B4-BE49-F238E27FC236}">
                  <a16:creationId xmlns:a16="http://schemas.microsoft.com/office/drawing/2014/main" id="{C28FDBFB-6599-41AE-BC71-1CAC4BA75CA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6" name="Pladsholder til tekst 5">
            <a:extLst>
              <a:ext uri="{FF2B5EF4-FFF2-40B4-BE49-F238E27FC236}">
                <a16:creationId xmlns:a16="http://schemas.microsoft.com/office/drawing/2014/main" id="{79A0D0BE-F722-48CC-83D2-C6BF1D28BF1A}"/>
              </a:ext>
            </a:extLst>
          </p:cNvPr>
          <p:cNvSpPr>
            <a:spLocks noGrp="1"/>
          </p:cNvSpPr>
          <p:nvPr>
            <p:ph type="body" sz="quarter" idx="12" hasCustomPrompt="1"/>
          </p:nvPr>
        </p:nvSpPr>
        <p:spPr>
          <a:xfrm>
            <a:off x="858838" y="1663700"/>
            <a:ext cx="5106988" cy="4183063"/>
          </a:xfrm>
          <a:prstGeom prst="rect">
            <a:avLst/>
          </a:prstGeom>
          <a:solidFill>
            <a:schemeClr val="accent2">
              <a:lumMod val="40000"/>
              <a:lumOff val="60000"/>
            </a:schemeClr>
          </a:solidFill>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83" name="Rektangel 182">
            <a:extLst>
              <a:ext uri="{FF2B5EF4-FFF2-40B4-BE49-F238E27FC236}">
                <a16:creationId xmlns:a16="http://schemas.microsoft.com/office/drawing/2014/main" id="{BA886A3F-BAD0-41F5-9FB7-9AFA4CACD0C2}"/>
              </a:ext>
            </a:extLst>
          </p:cNvPr>
          <p:cNvSpPr/>
          <p:nvPr userDrawn="1"/>
        </p:nvSpPr>
        <p:spPr>
          <a:xfrm>
            <a:off x="7492158" y="3988647"/>
            <a:ext cx="587598" cy="700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4" name="Rektangel 183">
            <a:extLst>
              <a:ext uri="{FF2B5EF4-FFF2-40B4-BE49-F238E27FC236}">
                <a16:creationId xmlns:a16="http://schemas.microsoft.com/office/drawing/2014/main" id="{A5607A02-CF06-4DAD-A6B8-D31DE984E768}"/>
              </a:ext>
            </a:extLst>
          </p:cNvPr>
          <p:cNvSpPr/>
          <p:nvPr userDrawn="1"/>
        </p:nvSpPr>
        <p:spPr>
          <a:xfrm>
            <a:off x="7492158"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5" name="Rektangel 184">
            <a:extLst>
              <a:ext uri="{FF2B5EF4-FFF2-40B4-BE49-F238E27FC236}">
                <a16:creationId xmlns:a16="http://schemas.microsoft.com/office/drawing/2014/main" id="{7AB290F5-5332-4389-B50C-923E48264D35}"/>
              </a:ext>
            </a:extLst>
          </p:cNvPr>
          <p:cNvSpPr/>
          <p:nvPr userDrawn="1"/>
        </p:nvSpPr>
        <p:spPr>
          <a:xfrm>
            <a:off x="7863756"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5" name="Ellipse 194">
            <a:extLst>
              <a:ext uri="{FF2B5EF4-FFF2-40B4-BE49-F238E27FC236}">
                <a16:creationId xmlns:a16="http://schemas.microsoft.com/office/drawing/2014/main" id="{B7E3216E-5BFB-40BA-A2A0-1F393CF1E433}"/>
              </a:ext>
            </a:extLst>
          </p:cNvPr>
          <p:cNvSpPr/>
          <p:nvPr userDrawn="1"/>
        </p:nvSpPr>
        <p:spPr>
          <a:xfrm>
            <a:off x="9796841" y="3565656"/>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54" name="Gruppe 253">
            <a:extLst>
              <a:ext uri="{FF2B5EF4-FFF2-40B4-BE49-F238E27FC236}">
                <a16:creationId xmlns:a16="http://schemas.microsoft.com/office/drawing/2014/main" id="{F2AA640B-6C64-4212-A1B9-31F2CD6937B0}"/>
              </a:ext>
            </a:extLst>
          </p:cNvPr>
          <p:cNvGrpSpPr/>
          <p:nvPr userDrawn="1"/>
        </p:nvGrpSpPr>
        <p:grpSpPr>
          <a:xfrm>
            <a:off x="9481916" y="5193892"/>
            <a:ext cx="104645" cy="200718"/>
            <a:chOff x="9541473" y="5278660"/>
            <a:chExt cx="104645" cy="200718"/>
          </a:xfrm>
        </p:grpSpPr>
        <p:sp>
          <p:nvSpPr>
            <p:cNvPr id="250" name="Rektangel 249">
              <a:extLst>
                <a:ext uri="{FF2B5EF4-FFF2-40B4-BE49-F238E27FC236}">
                  <a16:creationId xmlns:a16="http://schemas.microsoft.com/office/drawing/2014/main" id="{CE573129-DA94-43A4-B5DE-9A0B095CC24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1" name="Rektangel 250">
              <a:extLst>
                <a:ext uri="{FF2B5EF4-FFF2-40B4-BE49-F238E27FC236}">
                  <a16:creationId xmlns:a16="http://schemas.microsoft.com/office/drawing/2014/main" id="{885AB7B4-5197-4CC5-A15C-7DDA2EE96CD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2" name="Rektangel 251">
              <a:extLst>
                <a:ext uri="{FF2B5EF4-FFF2-40B4-BE49-F238E27FC236}">
                  <a16:creationId xmlns:a16="http://schemas.microsoft.com/office/drawing/2014/main" id="{C40A4D5B-82D4-43D5-8632-58F65A5361D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3" name="Rektangel 252">
              <a:extLst>
                <a:ext uri="{FF2B5EF4-FFF2-40B4-BE49-F238E27FC236}">
                  <a16:creationId xmlns:a16="http://schemas.microsoft.com/office/drawing/2014/main" id="{966DF86B-5B2E-42D6-9810-A00EA2BB79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58" name="Gruppe 257">
            <a:extLst>
              <a:ext uri="{FF2B5EF4-FFF2-40B4-BE49-F238E27FC236}">
                <a16:creationId xmlns:a16="http://schemas.microsoft.com/office/drawing/2014/main" id="{E920C5D8-C8C6-403A-94E4-3D1D22A54E9E}"/>
              </a:ext>
            </a:extLst>
          </p:cNvPr>
          <p:cNvGrpSpPr/>
          <p:nvPr userDrawn="1"/>
        </p:nvGrpSpPr>
        <p:grpSpPr>
          <a:xfrm>
            <a:off x="9655598" y="5193892"/>
            <a:ext cx="104645" cy="200718"/>
            <a:chOff x="9541473" y="5278660"/>
            <a:chExt cx="104645" cy="200718"/>
          </a:xfrm>
        </p:grpSpPr>
        <p:sp>
          <p:nvSpPr>
            <p:cNvPr id="259" name="Rektangel 258">
              <a:extLst>
                <a:ext uri="{FF2B5EF4-FFF2-40B4-BE49-F238E27FC236}">
                  <a16:creationId xmlns:a16="http://schemas.microsoft.com/office/drawing/2014/main" id="{638C31EB-3411-4FB8-84F1-F5B5800DDF1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0" name="Rektangel 259">
              <a:extLst>
                <a:ext uri="{FF2B5EF4-FFF2-40B4-BE49-F238E27FC236}">
                  <a16:creationId xmlns:a16="http://schemas.microsoft.com/office/drawing/2014/main" id="{0B232491-DFFA-4CA8-9666-4B3F0F98EF0A}"/>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1" name="Rektangel 260">
              <a:extLst>
                <a:ext uri="{FF2B5EF4-FFF2-40B4-BE49-F238E27FC236}">
                  <a16:creationId xmlns:a16="http://schemas.microsoft.com/office/drawing/2014/main" id="{54411354-ED2A-4ABE-9364-91ECBA52F32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2" name="Rektangel 261">
              <a:extLst>
                <a:ext uri="{FF2B5EF4-FFF2-40B4-BE49-F238E27FC236}">
                  <a16:creationId xmlns:a16="http://schemas.microsoft.com/office/drawing/2014/main" id="{54D3F74D-7CCE-4078-AFD4-66BF9AF15FC2}"/>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3" name="Gruppe 262">
            <a:extLst>
              <a:ext uri="{FF2B5EF4-FFF2-40B4-BE49-F238E27FC236}">
                <a16:creationId xmlns:a16="http://schemas.microsoft.com/office/drawing/2014/main" id="{2586723E-D57C-4716-AA32-0133FA698FE5}"/>
              </a:ext>
            </a:extLst>
          </p:cNvPr>
          <p:cNvGrpSpPr/>
          <p:nvPr userDrawn="1"/>
        </p:nvGrpSpPr>
        <p:grpSpPr>
          <a:xfrm>
            <a:off x="9822042" y="5193892"/>
            <a:ext cx="104645" cy="200718"/>
            <a:chOff x="9541473" y="5278660"/>
            <a:chExt cx="104645" cy="200718"/>
          </a:xfrm>
        </p:grpSpPr>
        <p:sp>
          <p:nvSpPr>
            <p:cNvPr id="264" name="Rektangel 263">
              <a:extLst>
                <a:ext uri="{FF2B5EF4-FFF2-40B4-BE49-F238E27FC236}">
                  <a16:creationId xmlns:a16="http://schemas.microsoft.com/office/drawing/2014/main" id="{F14D843F-ED44-4DE0-9B06-5159D1A8D3BC}"/>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5" name="Rektangel 264">
              <a:extLst>
                <a:ext uri="{FF2B5EF4-FFF2-40B4-BE49-F238E27FC236}">
                  <a16:creationId xmlns:a16="http://schemas.microsoft.com/office/drawing/2014/main" id="{CCFFD28F-DC82-4CFD-BEE2-5309AF63D52F}"/>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6" name="Rektangel 265">
              <a:extLst>
                <a:ext uri="{FF2B5EF4-FFF2-40B4-BE49-F238E27FC236}">
                  <a16:creationId xmlns:a16="http://schemas.microsoft.com/office/drawing/2014/main" id="{34C16787-DE51-49B5-B50E-75B95E9570DE}"/>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7" name="Rektangel 266">
              <a:extLst>
                <a:ext uri="{FF2B5EF4-FFF2-40B4-BE49-F238E27FC236}">
                  <a16:creationId xmlns:a16="http://schemas.microsoft.com/office/drawing/2014/main" id="{5C620567-992B-49D9-AE02-8B83B22AAAC6}"/>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8" name="Gruppe 267">
            <a:extLst>
              <a:ext uri="{FF2B5EF4-FFF2-40B4-BE49-F238E27FC236}">
                <a16:creationId xmlns:a16="http://schemas.microsoft.com/office/drawing/2014/main" id="{BD767397-0268-443C-B8F8-5D51B22930AF}"/>
              </a:ext>
            </a:extLst>
          </p:cNvPr>
          <p:cNvGrpSpPr/>
          <p:nvPr userDrawn="1"/>
        </p:nvGrpSpPr>
        <p:grpSpPr>
          <a:xfrm>
            <a:off x="10022426" y="5193892"/>
            <a:ext cx="104645" cy="200718"/>
            <a:chOff x="9541473" y="5278660"/>
            <a:chExt cx="104645" cy="200718"/>
          </a:xfrm>
        </p:grpSpPr>
        <p:sp>
          <p:nvSpPr>
            <p:cNvPr id="269" name="Rektangel 268">
              <a:extLst>
                <a:ext uri="{FF2B5EF4-FFF2-40B4-BE49-F238E27FC236}">
                  <a16:creationId xmlns:a16="http://schemas.microsoft.com/office/drawing/2014/main" id="{05F8679F-DB91-4A6F-8223-B09F15D6E67D}"/>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0" name="Rektangel 269">
              <a:extLst>
                <a:ext uri="{FF2B5EF4-FFF2-40B4-BE49-F238E27FC236}">
                  <a16:creationId xmlns:a16="http://schemas.microsoft.com/office/drawing/2014/main" id="{E656F0B5-2D35-45EA-BE8F-D3BBE4201007}"/>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1" name="Rektangel 270">
              <a:extLst>
                <a:ext uri="{FF2B5EF4-FFF2-40B4-BE49-F238E27FC236}">
                  <a16:creationId xmlns:a16="http://schemas.microsoft.com/office/drawing/2014/main" id="{FD4C19DC-75A3-422E-99F7-736B3B1B4D6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2" name="Rektangel 271">
              <a:extLst>
                <a:ext uri="{FF2B5EF4-FFF2-40B4-BE49-F238E27FC236}">
                  <a16:creationId xmlns:a16="http://schemas.microsoft.com/office/drawing/2014/main" id="{5184E3C5-8F36-4370-ADCE-64DFCDF8141B}"/>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73" name="Gruppe 272">
            <a:extLst>
              <a:ext uri="{FF2B5EF4-FFF2-40B4-BE49-F238E27FC236}">
                <a16:creationId xmlns:a16="http://schemas.microsoft.com/office/drawing/2014/main" id="{09636528-E9EB-426A-A772-13FA769DE435}"/>
              </a:ext>
            </a:extLst>
          </p:cNvPr>
          <p:cNvGrpSpPr/>
          <p:nvPr userDrawn="1"/>
        </p:nvGrpSpPr>
        <p:grpSpPr>
          <a:xfrm>
            <a:off x="9481916" y="5439401"/>
            <a:ext cx="104645" cy="200718"/>
            <a:chOff x="9541473" y="5278660"/>
            <a:chExt cx="104645" cy="200718"/>
          </a:xfrm>
        </p:grpSpPr>
        <p:sp>
          <p:nvSpPr>
            <p:cNvPr id="274" name="Rektangel 273">
              <a:extLst>
                <a:ext uri="{FF2B5EF4-FFF2-40B4-BE49-F238E27FC236}">
                  <a16:creationId xmlns:a16="http://schemas.microsoft.com/office/drawing/2014/main" id="{AC83F930-9972-4BF8-881C-114DA79D8E18}"/>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5" name="Rektangel 274">
              <a:extLst>
                <a:ext uri="{FF2B5EF4-FFF2-40B4-BE49-F238E27FC236}">
                  <a16:creationId xmlns:a16="http://schemas.microsoft.com/office/drawing/2014/main" id="{8385C037-C828-468E-85B7-5785B68CBC9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6" name="Rektangel 275">
              <a:extLst>
                <a:ext uri="{FF2B5EF4-FFF2-40B4-BE49-F238E27FC236}">
                  <a16:creationId xmlns:a16="http://schemas.microsoft.com/office/drawing/2014/main" id="{4169F4EB-59AF-4778-AAAE-F41D9F5421A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7" name="Rektangel 276">
              <a:extLst>
                <a:ext uri="{FF2B5EF4-FFF2-40B4-BE49-F238E27FC236}">
                  <a16:creationId xmlns:a16="http://schemas.microsoft.com/office/drawing/2014/main" id="{CABE93DD-8E37-442D-8019-ABB6158FCA48}"/>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88" name="Gruppe 287">
            <a:extLst>
              <a:ext uri="{FF2B5EF4-FFF2-40B4-BE49-F238E27FC236}">
                <a16:creationId xmlns:a16="http://schemas.microsoft.com/office/drawing/2014/main" id="{300AFC6A-55E1-4BB9-99E4-5DBBFAF124FF}"/>
              </a:ext>
            </a:extLst>
          </p:cNvPr>
          <p:cNvGrpSpPr/>
          <p:nvPr userDrawn="1"/>
        </p:nvGrpSpPr>
        <p:grpSpPr>
          <a:xfrm>
            <a:off x="10022426" y="5439401"/>
            <a:ext cx="104645" cy="200718"/>
            <a:chOff x="9541473" y="5278660"/>
            <a:chExt cx="104645" cy="200718"/>
          </a:xfrm>
        </p:grpSpPr>
        <p:sp>
          <p:nvSpPr>
            <p:cNvPr id="289" name="Rektangel 288">
              <a:extLst>
                <a:ext uri="{FF2B5EF4-FFF2-40B4-BE49-F238E27FC236}">
                  <a16:creationId xmlns:a16="http://schemas.microsoft.com/office/drawing/2014/main" id="{799C5F80-C37D-4EB4-B2CB-CFD34A5CF2A0}"/>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0" name="Rektangel 289">
              <a:extLst>
                <a:ext uri="{FF2B5EF4-FFF2-40B4-BE49-F238E27FC236}">
                  <a16:creationId xmlns:a16="http://schemas.microsoft.com/office/drawing/2014/main" id="{2A79EB17-FF69-4793-9808-67897CA17FD3}"/>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1" name="Rektangel 290">
              <a:extLst>
                <a:ext uri="{FF2B5EF4-FFF2-40B4-BE49-F238E27FC236}">
                  <a16:creationId xmlns:a16="http://schemas.microsoft.com/office/drawing/2014/main" id="{BD0453C6-8264-4F65-8637-856411AE468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2" name="Rektangel 291">
              <a:extLst>
                <a:ext uri="{FF2B5EF4-FFF2-40B4-BE49-F238E27FC236}">
                  <a16:creationId xmlns:a16="http://schemas.microsoft.com/office/drawing/2014/main" id="{48C2A977-D584-4169-8E53-4DBF8E8EED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4" name="Ligebenet trapez 23">
            <a:extLst>
              <a:ext uri="{FF2B5EF4-FFF2-40B4-BE49-F238E27FC236}">
                <a16:creationId xmlns:a16="http://schemas.microsoft.com/office/drawing/2014/main" id="{C0DEC328-DE99-40AE-90A9-516DDFA0F043}"/>
              </a:ext>
            </a:extLst>
          </p:cNvPr>
          <p:cNvSpPr/>
          <p:nvPr userDrawn="1"/>
        </p:nvSpPr>
        <p:spPr>
          <a:xfrm>
            <a:off x="6948240" y="4909626"/>
            <a:ext cx="2724678"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Rektangel 14">
            <a:extLst>
              <a:ext uri="{FF2B5EF4-FFF2-40B4-BE49-F238E27FC236}">
                <a16:creationId xmlns:a16="http://schemas.microsoft.com/office/drawing/2014/main" id="{513EB950-7611-455D-8520-A74DA8769C9F}"/>
              </a:ext>
            </a:extLst>
          </p:cNvPr>
          <p:cNvSpPr/>
          <p:nvPr userDrawn="1"/>
        </p:nvSpPr>
        <p:spPr>
          <a:xfrm>
            <a:off x="7094347" y="5150746"/>
            <a:ext cx="2414401" cy="695519"/>
          </a:xfrm>
          <a:prstGeom prst="rect">
            <a:avLst/>
          </a:prstGeom>
          <a:gradFill>
            <a:gsLst>
              <a:gs pos="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7" name="Gruppe 36">
            <a:extLst>
              <a:ext uri="{FF2B5EF4-FFF2-40B4-BE49-F238E27FC236}">
                <a16:creationId xmlns:a16="http://schemas.microsoft.com/office/drawing/2014/main" id="{67DDBDE6-5204-446B-B1F5-4613123479CD}"/>
              </a:ext>
            </a:extLst>
          </p:cNvPr>
          <p:cNvGrpSpPr/>
          <p:nvPr userDrawn="1"/>
        </p:nvGrpSpPr>
        <p:grpSpPr>
          <a:xfrm>
            <a:off x="7390835" y="5231949"/>
            <a:ext cx="2042352" cy="153547"/>
            <a:chOff x="7390835" y="5231949"/>
            <a:chExt cx="2042352" cy="153547"/>
          </a:xfrm>
        </p:grpSpPr>
        <p:sp>
          <p:nvSpPr>
            <p:cNvPr id="66" name="Rektangel 65">
              <a:extLst>
                <a:ext uri="{FF2B5EF4-FFF2-40B4-BE49-F238E27FC236}">
                  <a16:creationId xmlns:a16="http://schemas.microsoft.com/office/drawing/2014/main" id="{8F2DD363-128E-47A3-91BE-8139849FB54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7" name="Rektangel 66">
              <a:extLst>
                <a:ext uri="{FF2B5EF4-FFF2-40B4-BE49-F238E27FC236}">
                  <a16:creationId xmlns:a16="http://schemas.microsoft.com/office/drawing/2014/main" id="{F29633AC-E6D4-4B67-957A-2E1FC223580E}"/>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Rektangel 67">
              <a:extLst>
                <a:ext uri="{FF2B5EF4-FFF2-40B4-BE49-F238E27FC236}">
                  <a16:creationId xmlns:a16="http://schemas.microsoft.com/office/drawing/2014/main" id="{859EB0B9-9A7C-4F52-A011-F363AC430751}"/>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Rektangel 68">
              <a:extLst>
                <a:ext uri="{FF2B5EF4-FFF2-40B4-BE49-F238E27FC236}">
                  <a16:creationId xmlns:a16="http://schemas.microsoft.com/office/drawing/2014/main" id="{C9E48CD7-C717-4CBD-AFE0-52C36FFC0F30}"/>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Rektangel 69">
              <a:extLst>
                <a:ext uri="{FF2B5EF4-FFF2-40B4-BE49-F238E27FC236}">
                  <a16:creationId xmlns:a16="http://schemas.microsoft.com/office/drawing/2014/main" id="{B4454ED5-914F-4616-AF37-B97BA56C034C}"/>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Rektangel 70">
              <a:extLst>
                <a:ext uri="{FF2B5EF4-FFF2-40B4-BE49-F238E27FC236}">
                  <a16:creationId xmlns:a16="http://schemas.microsoft.com/office/drawing/2014/main" id="{B49EF3FA-EAEE-4A77-8640-9D5CE9E15EF1}"/>
                </a:ext>
              </a:extLst>
            </p:cNvPr>
            <p:cNvSpPr/>
            <p:nvPr userDrawn="1"/>
          </p:nvSpPr>
          <p:spPr>
            <a:xfrm>
              <a:off x="8214450"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Rektangel 71">
              <a:extLst>
                <a:ext uri="{FF2B5EF4-FFF2-40B4-BE49-F238E27FC236}">
                  <a16:creationId xmlns:a16="http://schemas.microsoft.com/office/drawing/2014/main" id="{FC7A0617-F618-40B8-9668-616E59666E47}"/>
                </a:ext>
              </a:extLst>
            </p:cNvPr>
            <p:cNvSpPr/>
            <p:nvPr userDrawn="1"/>
          </p:nvSpPr>
          <p:spPr>
            <a:xfrm>
              <a:off x="8379173"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3" name="Rektangel 72">
              <a:extLst>
                <a:ext uri="{FF2B5EF4-FFF2-40B4-BE49-F238E27FC236}">
                  <a16:creationId xmlns:a16="http://schemas.microsoft.com/office/drawing/2014/main" id="{FCE41074-A209-41E2-BBF0-C189E7504C3E}"/>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4" name="Rektangel 73">
              <a:extLst>
                <a:ext uri="{FF2B5EF4-FFF2-40B4-BE49-F238E27FC236}">
                  <a16:creationId xmlns:a16="http://schemas.microsoft.com/office/drawing/2014/main" id="{07803B7D-8DA0-495D-BD64-E957ADF34C0B}"/>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5" name="Rektangel 74">
              <a:extLst>
                <a:ext uri="{FF2B5EF4-FFF2-40B4-BE49-F238E27FC236}">
                  <a16:creationId xmlns:a16="http://schemas.microsoft.com/office/drawing/2014/main" id="{ECD2AB45-4FD3-4F53-80E2-B1138C1AEDE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Rektangel 75">
              <a:extLst>
                <a:ext uri="{FF2B5EF4-FFF2-40B4-BE49-F238E27FC236}">
                  <a16:creationId xmlns:a16="http://schemas.microsoft.com/office/drawing/2014/main" id="{AB1E29CD-423B-4EAB-81A1-1278E6098072}"/>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7" name="Rektangel 76">
              <a:extLst>
                <a:ext uri="{FF2B5EF4-FFF2-40B4-BE49-F238E27FC236}">
                  <a16:creationId xmlns:a16="http://schemas.microsoft.com/office/drawing/2014/main" id="{7A575850-504D-46E0-B357-8C82FB4BB0D5}"/>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0" name="Rektangel 79">
              <a:extLst>
                <a:ext uri="{FF2B5EF4-FFF2-40B4-BE49-F238E27FC236}">
                  <a16:creationId xmlns:a16="http://schemas.microsoft.com/office/drawing/2014/main" id="{7ACF43F9-95E3-44A6-B62C-28BFEE3DD327}"/>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81" name="Gruppe 80">
            <a:extLst>
              <a:ext uri="{FF2B5EF4-FFF2-40B4-BE49-F238E27FC236}">
                <a16:creationId xmlns:a16="http://schemas.microsoft.com/office/drawing/2014/main" id="{9650C57B-7F95-4256-AD9F-490B0C9A07CF}"/>
              </a:ext>
            </a:extLst>
          </p:cNvPr>
          <p:cNvGrpSpPr/>
          <p:nvPr userDrawn="1"/>
        </p:nvGrpSpPr>
        <p:grpSpPr>
          <a:xfrm>
            <a:off x="7390835" y="5429282"/>
            <a:ext cx="2042352" cy="153547"/>
            <a:chOff x="7390835" y="5231949"/>
            <a:chExt cx="2042352" cy="153547"/>
          </a:xfrm>
        </p:grpSpPr>
        <p:sp>
          <p:nvSpPr>
            <p:cNvPr id="82" name="Rektangel 81">
              <a:extLst>
                <a:ext uri="{FF2B5EF4-FFF2-40B4-BE49-F238E27FC236}">
                  <a16:creationId xmlns:a16="http://schemas.microsoft.com/office/drawing/2014/main" id="{9B4C5F00-D900-4500-861C-EEA8C4FF5E9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3" name="Rektangel 82">
              <a:extLst>
                <a:ext uri="{FF2B5EF4-FFF2-40B4-BE49-F238E27FC236}">
                  <a16:creationId xmlns:a16="http://schemas.microsoft.com/office/drawing/2014/main" id="{47F4D720-F509-44BE-BC7C-40AC6905DE64}"/>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4" name="Rektangel 83">
              <a:extLst>
                <a:ext uri="{FF2B5EF4-FFF2-40B4-BE49-F238E27FC236}">
                  <a16:creationId xmlns:a16="http://schemas.microsoft.com/office/drawing/2014/main" id="{31C0D845-0D4D-4997-8BCE-A0FC0FBAB068}"/>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5" name="Rektangel 84">
              <a:extLst>
                <a:ext uri="{FF2B5EF4-FFF2-40B4-BE49-F238E27FC236}">
                  <a16:creationId xmlns:a16="http://schemas.microsoft.com/office/drawing/2014/main" id="{03F8BFC0-1B46-45BE-9D0A-C5FB6C67F156}"/>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6" name="Rektangel 85">
              <a:extLst>
                <a:ext uri="{FF2B5EF4-FFF2-40B4-BE49-F238E27FC236}">
                  <a16:creationId xmlns:a16="http://schemas.microsoft.com/office/drawing/2014/main" id="{8D6FF817-2E92-436E-BC11-412593309276}"/>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9" name="Rektangel 88">
              <a:extLst>
                <a:ext uri="{FF2B5EF4-FFF2-40B4-BE49-F238E27FC236}">
                  <a16:creationId xmlns:a16="http://schemas.microsoft.com/office/drawing/2014/main" id="{E41BAE92-7EA7-4252-B038-9F33BC68FAE1}"/>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0" name="Rektangel 89">
              <a:extLst>
                <a:ext uri="{FF2B5EF4-FFF2-40B4-BE49-F238E27FC236}">
                  <a16:creationId xmlns:a16="http://schemas.microsoft.com/office/drawing/2014/main" id="{6920FA45-5191-4787-8FBA-161327798BF2}"/>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1" name="Rektangel 90">
              <a:extLst>
                <a:ext uri="{FF2B5EF4-FFF2-40B4-BE49-F238E27FC236}">
                  <a16:creationId xmlns:a16="http://schemas.microsoft.com/office/drawing/2014/main" id="{15888661-8150-4706-9F30-4B5BEC61700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2" name="Rektangel 91">
              <a:extLst>
                <a:ext uri="{FF2B5EF4-FFF2-40B4-BE49-F238E27FC236}">
                  <a16:creationId xmlns:a16="http://schemas.microsoft.com/office/drawing/2014/main" id="{F60E68B8-E74C-40D4-88B2-C82062044967}"/>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3" name="Rektangel 92">
              <a:extLst>
                <a:ext uri="{FF2B5EF4-FFF2-40B4-BE49-F238E27FC236}">
                  <a16:creationId xmlns:a16="http://schemas.microsoft.com/office/drawing/2014/main" id="{F944E10D-CFA9-4C17-A58A-5F942952F9F1}"/>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4" name="Rektangel 93">
              <a:extLst>
                <a:ext uri="{FF2B5EF4-FFF2-40B4-BE49-F238E27FC236}">
                  <a16:creationId xmlns:a16="http://schemas.microsoft.com/office/drawing/2014/main" id="{1AAB8FA9-E617-474A-B65D-E11EBAE6B74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10" name="Gruppe 109">
            <a:extLst>
              <a:ext uri="{FF2B5EF4-FFF2-40B4-BE49-F238E27FC236}">
                <a16:creationId xmlns:a16="http://schemas.microsoft.com/office/drawing/2014/main" id="{FFE9092D-A852-4B0C-BA6E-60385E68C57C}"/>
              </a:ext>
            </a:extLst>
          </p:cNvPr>
          <p:cNvGrpSpPr/>
          <p:nvPr userDrawn="1"/>
        </p:nvGrpSpPr>
        <p:grpSpPr>
          <a:xfrm>
            <a:off x="7390835" y="5626616"/>
            <a:ext cx="2042352" cy="153547"/>
            <a:chOff x="7390835" y="5231949"/>
            <a:chExt cx="2042352" cy="153547"/>
          </a:xfrm>
        </p:grpSpPr>
        <p:sp>
          <p:nvSpPr>
            <p:cNvPr id="111" name="Rektangel 110">
              <a:extLst>
                <a:ext uri="{FF2B5EF4-FFF2-40B4-BE49-F238E27FC236}">
                  <a16:creationId xmlns:a16="http://schemas.microsoft.com/office/drawing/2014/main" id="{DFFAEDFD-FA83-479F-A39D-9E1C73BE0A38}"/>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2" name="Rektangel 111">
              <a:extLst>
                <a:ext uri="{FF2B5EF4-FFF2-40B4-BE49-F238E27FC236}">
                  <a16:creationId xmlns:a16="http://schemas.microsoft.com/office/drawing/2014/main" id="{41E6142C-0500-4FB9-921A-9F56F03C4BE8}"/>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3" name="Rektangel 112">
              <a:extLst>
                <a:ext uri="{FF2B5EF4-FFF2-40B4-BE49-F238E27FC236}">
                  <a16:creationId xmlns:a16="http://schemas.microsoft.com/office/drawing/2014/main" id="{DCA632B4-052B-4CFA-9F8C-D8E437FB9445}"/>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4" name="Rektangel 113">
              <a:extLst>
                <a:ext uri="{FF2B5EF4-FFF2-40B4-BE49-F238E27FC236}">
                  <a16:creationId xmlns:a16="http://schemas.microsoft.com/office/drawing/2014/main" id="{DC1902F0-8604-45D3-B214-12D4793288DF}"/>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5" name="Rektangel 114">
              <a:extLst>
                <a:ext uri="{FF2B5EF4-FFF2-40B4-BE49-F238E27FC236}">
                  <a16:creationId xmlns:a16="http://schemas.microsoft.com/office/drawing/2014/main" id="{91154A3C-B87A-45DD-9020-F45F5546182D}"/>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8" name="Rektangel 117">
              <a:extLst>
                <a:ext uri="{FF2B5EF4-FFF2-40B4-BE49-F238E27FC236}">
                  <a16:creationId xmlns:a16="http://schemas.microsoft.com/office/drawing/2014/main" id="{D72C0EEB-278D-4BD6-A194-2585A11C65D8}"/>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9" name="Rektangel 118">
              <a:extLst>
                <a:ext uri="{FF2B5EF4-FFF2-40B4-BE49-F238E27FC236}">
                  <a16:creationId xmlns:a16="http://schemas.microsoft.com/office/drawing/2014/main" id="{1A64214E-2923-4BDA-9426-CA9F3428F128}"/>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0" name="Rektangel 119">
              <a:extLst>
                <a:ext uri="{FF2B5EF4-FFF2-40B4-BE49-F238E27FC236}">
                  <a16:creationId xmlns:a16="http://schemas.microsoft.com/office/drawing/2014/main" id="{84A6A3CB-965C-444C-9670-C32BF9D8705A}"/>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1" name="Rektangel 120">
              <a:extLst>
                <a:ext uri="{FF2B5EF4-FFF2-40B4-BE49-F238E27FC236}">
                  <a16:creationId xmlns:a16="http://schemas.microsoft.com/office/drawing/2014/main" id="{94625083-7581-4D9B-BA6E-272B73800CF5}"/>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 name="Rektangel 121">
              <a:extLst>
                <a:ext uri="{FF2B5EF4-FFF2-40B4-BE49-F238E27FC236}">
                  <a16:creationId xmlns:a16="http://schemas.microsoft.com/office/drawing/2014/main" id="{F3415190-D407-40CF-BDE8-EAE15E21E5BE}"/>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 name="Rektangel 122">
              <a:extLst>
                <a:ext uri="{FF2B5EF4-FFF2-40B4-BE49-F238E27FC236}">
                  <a16:creationId xmlns:a16="http://schemas.microsoft.com/office/drawing/2014/main" id="{AA98C243-98D1-4761-9D03-7A70BBF08CB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Rektangel 2">
            <a:extLst>
              <a:ext uri="{FF2B5EF4-FFF2-40B4-BE49-F238E27FC236}">
                <a16:creationId xmlns:a16="http://schemas.microsoft.com/office/drawing/2014/main" id="{72563DCF-7739-41F7-8E50-DFCB7572DEBB}"/>
              </a:ext>
            </a:extLst>
          </p:cNvPr>
          <p:cNvSpPr/>
          <p:nvPr userDrawn="1"/>
        </p:nvSpPr>
        <p:spPr>
          <a:xfrm>
            <a:off x="6527149" y="3959460"/>
            <a:ext cx="776191" cy="1953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Ligebenet trekant 6">
            <a:extLst>
              <a:ext uri="{FF2B5EF4-FFF2-40B4-BE49-F238E27FC236}">
                <a16:creationId xmlns:a16="http://schemas.microsoft.com/office/drawing/2014/main" id="{8299D225-845A-44FB-B573-DA7AE1F8B80C}"/>
              </a:ext>
            </a:extLst>
          </p:cNvPr>
          <p:cNvSpPr/>
          <p:nvPr userDrawn="1"/>
        </p:nvSpPr>
        <p:spPr>
          <a:xfrm>
            <a:off x="6416146" y="3301258"/>
            <a:ext cx="980779" cy="615625"/>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Rektangel 7">
            <a:extLst>
              <a:ext uri="{FF2B5EF4-FFF2-40B4-BE49-F238E27FC236}">
                <a16:creationId xmlns:a16="http://schemas.microsoft.com/office/drawing/2014/main" id="{AE433A7F-DB9C-45CD-892A-A25A2E90FFA2}"/>
              </a:ext>
            </a:extLst>
          </p:cNvPr>
          <p:cNvSpPr/>
          <p:nvPr userDrawn="1"/>
        </p:nvSpPr>
        <p:spPr>
          <a:xfrm>
            <a:off x="6467207" y="3908175"/>
            <a:ext cx="878656" cy="533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da-DK" dirty="0"/>
          </a:p>
        </p:txBody>
      </p:sp>
      <p:sp>
        <p:nvSpPr>
          <p:cNvPr id="293" name="Rektangel 292">
            <a:extLst>
              <a:ext uri="{FF2B5EF4-FFF2-40B4-BE49-F238E27FC236}">
                <a16:creationId xmlns:a16="http://schemas.microsoft.com/office/drawing/2014/main" id="{63A177BD-AD98-440B-BBDD-6133B36A3580}"/>
              </a:ext>
            </a:extLst>
          </p:cNvPr>
          <p:cNvSpPr/>
          <p:nvPr userDrawn="1"/>
        </p:nvSpPr>
        <p:spPr>
          <a:xfrm>
            <a:off x="9995727" y="4768053"/>
            <a:ext cx="108427" cy="218194"/>
          </a:xfrm>
          <a:prstGeom prst="rect">
            <a:avLst/>
          </a:prstGeom>
          <a:solidFill>
            <a:srgbClr val="4B6A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94" name="Gruppe 293">
            <a:extLst>
              <a:ext uri="{FF2B5EF4-FFF2-40B4-BE49-F238E27FC236}">
                <a16:creationId xmlns:a16="http://schemas.microsoft.com/office/drawing/2014/main" id="{154968E5-4D2C-4860-B38E-6B4F3C6966B6}"/>
              </a:ext>
            </a:extLst>
          </p:cNvPr>
          <p:cNvGrpSpPr/>
          <p:nvPr userDrawn="1"/>
        </p:nvGrpSpPr>
        <p:grpSpPr>
          <a:xfrm flipH="1">
            <a:off x="8502738" y="5152312"/>
            <a:ext cx="754844" cy="756518"/>
            <a:chOff x="5963869" y="5072627"/>
            <a:chExt cx="830528" cy="1085187"/>
          </a:xfrm>
          <a:solidFill>
            <a:schemeClr val="accent4"/>
          </a:solidFill>
        </p:grpSpPr>
        <p:grpSp>
          <p:nvGrpSpPr>
            <p:cNvPr id="295" name="Gruppe 294">
              <a:extLst>
                <a:ext uri="{FF2B5EF4-FFF2-40B4-BE49-F238E27FC236}">
                  <a16:creationId xmlns:a16="http://schemas.microsoft.com/office/drawing/2014/main" id="{5DA75CC6-37E3-40A4-9C63-59F17B97719D}"/>
                </a:ext>
              </a:extLst>
            </p:cNvPr>
            <p:cNvGrpSpPr/>
            <p:nvPr userDrawn="1"/>
          </p:nvGrpSpPr>
          <p:grpSpPr>
            <a:xfrm>
              <a:off x="5963869" y="5072627"/>
              <a:ext cx="830528" cy="1085187"/>
              <a:chOff x="6528663" y="5014275"/>
              <a:chExt cx="830528" cy="1085187"/>
            </a:xfrm>
            <a:grpFill/>
          </p:grpSpPr>
          <p:sp>
            <p:nvSpPr>
              <p:cNvPr id="297" name="Rektangel 296">
                <a:extLst>
                  <a:ext uri="{FF2B5EF4-FFF2-40B4-BE49-F238E27FC236}">
                    <a16:creationId xmlns:a16="http://schemas.microsoft.com/office/drawing/2014/main" id="{3EF537A6-35FE-4DB5-AB5C-309D14B7CB4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Ellipse 297">
                <a:extLst>
                  <a:ext uri="{FF2B5EF4-FFF2-40B4-BE49-F238E27FC236}">
                    <a16:creationId xmlns:a16="http://schemas.microsoft.com/office/drawing/2014/main" id="{501F6430-FAB4-48F1-98C8-79D25B0781C1}"/>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9" name="Ellipse 298">
                <a:extLst>
                  <a:ext uri="{FF2B5EF4-FFF2-40B4-BE49-F238E27FC236}">
                    <a16:creationId xmlns:a16="http://schemas.microsoft.com/office/drawing/2014/main" id="{82822276-8324-4301-B04C-C1D7FFF60E65}"/>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0" name="Ellipse 299">
                <a:extLst>
                  <a:ext uri="{FF2B5EF4-FFF2-40B4-BE49-F238E27FC236}">
                    <a16:creationId xmlns:a16="http://schemas.microsoft.com/office/drawing/2014/main" id="{FF593165-A84D-4CF1-A033-0837DF00073B}"/>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1" name="Ellipse 300">
                <a:extLst>
                  <a:ext uri="{FF2B5EF4-FFF2-40B4-BE49-F238E27FC236}">
                    <a16:creationId xmlns:a16="http://schemas.microsoft.com/office/drawing/2014/main" id="{61F850AF-5430-4E46-9FF1-4D02FB21F55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96" name="Ellipse 295">
              <a:extLst>
                <a:ext uri="{FF2B5EF4-FFF2-40B4-BE49-F238E27FC236}">
                  <a16:creationId xmlns:a16="http://schemas.microsoft.com/office/drawing/2014/main" id="{19325375-B874-444F-BBCC-3B5B0A5BEEC8}"/>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2" name="Gruppe 301">
            <a:extLst>
              <a:ext uri="{FF2B5EF4-FFF2-40B4-BE49-F238E27FC236}">
                <a16:creationId xmlns:a16="http://schemas.microsoft.com/office/drawing/2014/main" id="{B956CE69-4C5F-4F86-B9E7-93014E0A902A}"/>
              </a:ext>
            </a:extLst>
          </p:cNvPr>
          <p:cNvGrpSpPr/>
          <p:nvPr userDrawn="1"/>
        </p:nvGrpSpPr>
        <p:grpSpPr>
          <a:xfrm>
            <a:off x="10640826" y="5077300"/>
            <a:ext cx="754844" cy="756518"/>
            <a:chOff x="5963869" y="5072627"/>
            <a:chExt cx="830528" cy="1085187"/>
          </a:xfrm>
          <a:solidFill>
            <a:schemeClr val="accent4">
              <a:lumMod val="60000"/>
              <a:lumOff val="40000"/>
            </a:schemeClr>
          </a:solidFill>
        </p:grpSpPr>
        <p:grpSp>
          <p:nvGrpSpPr>
            <p:cNvPr id="303" name="Gruppe 302">
              <a:extLst>
                <a:ext uri="{FF2B5EF4-FFF2-40B4-BE49-F238E27FC236}">
                  <a16:creationId xmlns:a16="http://schemas.microsoft.com/office/drawing/2014/main" id="{67BD5D07-1129-428F-8F70-F9F1785299F1}"/>
                </a:ext>
              </a:extLst>
            </p:cNvPr>
            <p:cNvGrpSpPr/>
            <p:nvPr userDrawn="1"/>
          </p:nvGrpSpPr>
          <p:grpSpPr>
            <a:xfrm>
              <a:off x="5963869" y="5072627"/>
              <a:ext cx="830528" cy="1085187"/>
              <a:chOff x="6528663" y="5014275"/>
              <a:chExt cx="830528" cy="1085187"/>
            </a:xfrm>
            <a:grpFill/>
          </p:grpSpPr>
          <p:sp>
            <p:nvSpPr>
              <p:cNvPr id="305" name="Rektangel 304">
                <a:extLst>
                  <a:ext uri="{FF2B5EF4-FFF2-40B4-BE49-F238E27FC236}">
                    <a16:creationId xmlns:a16="http://schemas.microsoft.com/office/drawing/2014/main" id="{CB1AAB54-63C1-40B0-95F9-093741E73DD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6" name="Ellipse 305">
                <a:extLst>
                  <a:ext uri="{FF2B5EF4-FFF2-40B4-BE49-F238E27FC236}">
                    <a16:creationId xmlns:a16="http://schemas.microsoft.com/office/drawing/2014/main" id="{94F84BEA-4416-40EA-9BA4-DA798F2D3B82}"/>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7" name="Ellipse 306">
                <a:extLst>
                  <a:ext uri="{FF2B5EF4-FFF2-40B4-BE49-F238E27FC236}">
                    <a16:creationId xmlns:a16="http://schemas.microsoft.com/office/drawing/2014/main" id="{047DF334-9AF4-45A8-A07D-AAC12E2BF0AD}"/>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8" name="Ellipse 307">
                <a:extLst>
                  <a:ext uri="{FF2B5EF4-FFF2-40B4-BE49-F238E27FC236}">
                    <a16:creationId xmlns:a16="http://schemas.microsoft.com/office/drawing/2014/main" id="{2A853F9A-9ED2-4EF9-8B4B-8CC1F31E4E50}"/>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9" name="Ellipse 308">
                <a:extLst>
                  <a:ext uri="{FF2B5EF4-FFF2-40B4-BE49-F238E27FC236}">
                    <a16:creationId xmlns:a16="http://schemas.microsoft.com/office/drawing/2014/main" id="{AA8586AD-A268-409D-B999-FB5C94532F2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04" name="Ellipse 303">
              <a:extLst>
                <a:ext uri="{FF2B5EF4-FFF2-40B4-BE49-F238E27FC236}">
                  <a16:creationId xmlns:a16="http://schemas.microsoft.com/office/drawing/2014/main" id="{E6B9FEDF-17D7-45DF-A249-BDF78A79D493}"/>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0" name="Gruppe 219">
            <a:extLst>
              <a:ext uri="{FF2B5EF4-FFF2-40B4-BE49-F238E27FC236}">
                <a16:creationId xmlns:a16="http://schemas.microsoft.com/office/drawing/2014/main" id="{4292F807-CC8E-4482-8B6E-4D1D040D43D4}"/>
              </a:ext>
            </a:extLst>
          </p:cNvPr>
          <p:cNvGrpSpPr/>
          <p:nvPr userDrawn="1"/>
        </p:nvGrpSpPr>
        <p:grpSpPr>
          <a:xfrm>
            <a:off x="9949474" y="3922687"/>
            <a:ext cx="620513" cy="472970"/>
            <a:chOff x="5878302" y="5164076"/>
            <a:chExt cx="916095" cy="739089"/>
          </a:xfrm>
        </p:grpSpPr>
        <p:grpSp>
          <p:nvGrpSpPr>
            <p:cNvPr id="221" name="Gruppe 220">
              <a:extLst>
                <a:ext uri="{FF2B5EF4-FFF2-40B4-BE49-F238E27FC236}">
                  <a16:creationId xmlns:a16="http://schemas.microsoft.com/office/drawing/2014/main" id="{B012B21A-193A-40E7-8B18-03D86A25A6E7}"/>
                </a:ext>
              </a:extLst>
            </p:cNvPr>
            <p:cNvGrpSpPr/>
            <p:nvPr userDrawn="1"/>
          </p:nvGrpSpPr>
          <p:grpSpPr>
            <a:xfrm>
              <a:off x="5878302" y="5164076"/>
              <a:ext cx="916095" cy="739089"/>
              <a:chOff x="6443096" y="5105724"/>
              <a:chExt cx="916095" cy="739089"/>
            </a:xfrm>
          </p:grpSpPr>
          <p:sp>
            <p:nvSpPr>
              <p:cNvPr id="223" name="Rektangel 222">
                <a:extLst>
                  <a:ext uri="{FF2B5EF4-FFF2-40B4-BE49-F238E27FC236}">
                    <a16:creationId xmlns:a16="http://schemas.microsoft.com/office/drawing/2014/main" id="{9FCE88A3-9F5D-4D80-8DF6-E6587172E8D7}"/>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4" name="Ellipse 223">
                <a:extLst>
                  <a:ext uri="{FF2B5EF4-FFF2-40B4-BE49-F238E27FC236}">
                    <a16:creationId xmlns:a16="http://schemas.microsoft.com/office/drawing/2014/main" id="{B08E6BAC-E1DB-49BB-BBDA-81B59A4B5809}"/>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5" name="Ellipse 224">
                <a:extLst>
                  <a:ext uri="{FF2B5EF4-FFF2-40B4-BE49-F238E27FC236}">
                    <a16:creationId xmlns:a16="http://schemas.microsoft.com/office/drawing/2014/main" id="{69FF9019-4B35-475C-8766-1058F4787F14}"/>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6" name="Ellipse 225">
                <a:extLst>
                  <a:ext uri="{FF2B5EF4-FFF2-40B4-BE49-F238E27FC236}">
                    <a16:creationId xmlns:a16="http://schemas.microsoft.com/office/drawing/2014/main" id="{DA79CCF9-D7D2-4ED6-8463-49DBE9D52C24}"/>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7" name="Ellipse 226">
                <a:extLst>
                  <a:ext uri="{FF2B5EF4-FFF2-40B4-BE49-F238E27FC236}">
                    <a16:creationId xmlns:a16="http://schemas.microsoft.com/office/drawing/2014/main" id="{A1C65010-0F1C-4688-B243-C98FBD8BF885}"/>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22" name="Ellipse 221">
              <a:extLst>
                <a:ext uri="{FF2B5EF4-FFF2-40B4-BE49-F238E27FC236}">
                  <a16:creationId xmlns:a16="http://schemas.microsoft.com/office/drawing/2014/main" id="{725822E7-A3E7-4983-9FC4-C326B7A522C2}"/>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82" name="Gruppe 281">
            <a:extLst>
              <a:ext uri="{FF2B5EF4-FFF2-40B4-BE49-F238E27FC236}">
                <a16:creationId xmlns:a16="http://schemas.microsoft.com/office/drawing/2014/main" id="{EEA7A269-8F43-4E76-91B3-9FF5EADF0299}"/>
              </a:ext>
            </a:extLst>
          </p:cNvPr>
          <p:cNvGrpSpPr/>
          <p:nvPr userDrawn="1"/>
        </p:nvGrpSpPr>
        <p:grpSpPr>
          <a:xfrm flipH="1">
            <a:off x="10295894" y="4241293"/>
            <a:ext cx="832613" cy="515242"/>
            <a:chOff x="5878302" y="5164076"/>
            <a:chExt cx="916095" cy="739089"/>
          </a:xfrm>
          <a:solidFill>
            <a:schemeClr val="accent4">
              <a:lumMod val="60000"/>
              <a:lumOff val="40000"/>
            </a:schemeClr>
          </a:solidFill>
        </p:grpSpPr>
        <p:grpSp>
          <p:nvGrpSpPr>
            <p:cNvPr id="283" name="Gruppe 282">
              <a:extLst>
                <a:ext uri="{FF2B5EF4-FFF2-40B4-BE49-F238E27FC236}">
                  <a16:creationId xmlns:a16="http://schemas.microsoft.com/office/drawing/2014/main" id="{909DED1B-8467-4330-881D-505AFE0CA01E}"/>
                </a:ext>
              </a:extLst>
            </p:cNvPr>
            <p:cNvGrpSpPr/>
            <p:nvPr userDrawn="1"/>
          </p:nvGrpSpPr>
          <p:grpSpPr>
            <a:xfrm>
              <a:off x="5878302" y="5164076"/>
              <a:ext cx="916095" cy="739089"/>
              <a:chOff x="6443096" y="5105724"/>
              <a:chExt cx="916095" cy="739089"/>
            </a:xfrm>
            <a:grpFill/>
          </p:grpSpPr>
          <p:sp>
            <p:nvSpPr>
              <p:cNvPr id="285" name="Rektangel 284">
                <a:extLst>
                  <a:ext uri="{FF2B5EF4-FFF2-40B4-BE49-F238E27FC236}">
                    <a16:creationId xmlns:a16="http://schemas.microsoft.com/office/drawing/2014/main" id="{6F49FFA3-B56A-4952-B359-6F4E4B6641CD}"/>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6" name="Ellipse 285">
                <a:extLst>
                  <a:ext uri="{FF2B5EF4-FFF2-40B4-BE49-F238E27FC236}">
                    <a16:creationId xmlns:a16="http://schemas.microsoft.com/office/drawing/2014/main" id="{462D70C1-9ADD-46A3-8A6F-80CB6048641F}"/>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7" name="Ellipse 286">
                <a:extLst>
                  <a:ext uri="{FF2B5EF4-FFF2-40B4-BE49-F238E27FC236}">
                    <a16:creationId xmlns:a16="http://schemas.microsoft.com/office/drawing/2014/main" id="{8651EC12-31DA-4C7B-B8C1-61F1723FC891}"/>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0" name="Ellipse 309">
                <a:extLst>
                  <a:ext uri="{FF2B5EF4-FFF2-40B4-BE49-F238E27FC236}">
                    <a16:creationId xmlns:a16="http://schemas.microsoft.com/office/drawing/2014/main" id="{5DB3E50B-5AFE-400B-AD9D-3BAEC90F7DC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1" name="Ellipse 310">
                <a:extLst>
                  <a:ext uri="{FF2B5EF4-FFF2-40B4-BE49-F238E27FC236}">
                    <a16:creationId xmlns:a16="http://schemas.microsoft.com/office/drawing/2014/main" id="{C4ECC2B3-4AE2-4A7F-9324-43879D590FA2}"/>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84" name="Ellipse 283">
              <a:extLst>
                <a:ext uri="{FF2B5EF4-FFF2-40B4-BE49-F238E27FC236}">
                  <a16:creationId xmlns:a16="http://schemas.microsoft.com/office/drawing/2014/main" id="{FA73E8A4-BA6D-496D-ACF4-A1EC7ADBEDD7}"/>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 name="Gruppe 9">
            <a:extLst>
              <a:ext uri="{FF2B5EF4-FFF2-40B4-BE49-F238E27FC236}">
                <a16:creationId xmlns:a16="http://schemas.microsoft.com/office/drawing/2014/main" id="{E29795ED-ECA1-4FC3-85CA-9628F333E3BC}"/>
              </a:ext>
            </a:extLst>
          </p:cNvPr>
          <p:cNvGrpSpPr>
            <a:grpSpLocks noChangeAspect="1"/>
          </p:cNvGrpSpPr>
          <p:nvPr userDrawn="1"/>
        </p:nvGrpSpPr>
        <p:grpSpPr>
          <a:xfrm>
            <a:off x="10595393" y="2660797"/>
            <a:ext cx="212441" cy="301928"/>
            <a:chOff x="8910078" y="4612870"/>
            <a:chExt cx="304785" cy="433171"/>
          </a:xfrm>
        </p:grpSpPr>
        <p:sp>
          <p:nvSpPr>
            <p:cNvPr id="320" name="Rektangel 319">
              <a:extLst>
                <a:ext uri="{FF2B5EF4-FFF2-40B4-BE49-F238E27FC236}">
                  <a16:creationId xmlns:a16="http://schemas.microsoft.com/office/drawing/2014/main" id="{0BA3EA4B-A5C9-449C-8203-39EDD292D934}"/>
                </a:ext>
              </a:extLst>
            </p:cNvPr>
            <p:cNvSpPr/>
            <p:nvPr userDrawn="1"/>
          </p:nvSpPr>
          <p:spPr>
            <a:xfrm rot="5400000">
              <a:off x="8717562" y="4817571"/>
              <a:ext cx="432000"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1" name="Ellipse 320">
              <a:extLst>
                <a:ext uri="{FF2B5EF4-FFF2-40B4-BE49-F238E27FC236}">
                  <a16:creationId xmlns:a16="http://schemas.microsoft.com/office/drawing/2014/main" id="{FF923BF8-B895-4020-807B-F70FA849550A}"/>
                </a:ext>
              </a:extLst>
            </p:cNvPr>
            <p:cNvSpPr>
              <a:spLocks noChangeAspect="1"/>
            </p:cNvSpPr>
            <p:nvPr userDrawn="1"/>
          </p:nvSpPr>
          <p:spPr>
            <a:xfrm>
              <a:off x="8910078" y="4612870"/>
              <a:ext cx="49878" cy="48412"/>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2" name="Rektangel 321">
              <a:extLst>
                <a:ext uri="{FF2B5EF4-FFF2-40B4-BE49-F238E27FC236}">
                  <a16:creationId xmlns:a16="http://schemas.microsoft.com/office/drawing/2014/main" id="{A81ECA5A-0916-42D5-8478-5B0DD61E2B42}"/>
                </a:ext>
              </a:extLst>
            </p:cNvPr>
            <p:cNvSpPr/>
            <p:nvPr userDrawn="1"/>
          </p:nvSpPr>
          <p:spPr>
            <a:xfrm>
              <a:off x="8948824" y="4664288"/>
              <a:ext cx="266039" cy="115403"/>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3" name="Rektangel 322">
              <a:extLst>
                <a:ext uri="{FF2B5EF4-FFF2-40B4-BE49-F238E27FC236}">
                  <a16:creationId xmlns:a16="http://schemas.microsoft.com/office/drawing/2014/main" id="{867539CB-4175-4B96-AEEF-25C7EAB8D854}"/>
                </a:ext>
              </a:extLst>
            </p:cNvPr>
            <p:cNvSpPr/>
            <p:nvPr userDrawn="1"/>
          </p:nvSpPr>
          <p:spPr>
            <a:xfrm rot="5400000">
              <a:off x="9065594" y="4589340"/>
              <a:ext cx="24206" cy="274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4" name="Rektangel 323">
              <a:extLst>
                <a:ext uri="{FF2B5EF4-FFF2-40B4-BE49-F238E27FC236}">
                  <a16:creationId xmlns:a16="http://schemas.microsoft.com/office/drawing/2014/main" id="{DA347924-9CC1-4DA7-A0B7-544B9BEF0A5A}"/>
                </a:ext>
              </a:extLst>
            </p:cNvPr>
            <p:cNvSpPr/>
            <p:nvPr userDrawn="1"/>
          </p:nvSpPr>
          <p:spPr>
            <a:xfrm>
              <a:off x="9033438" y="4663973"/>
              <a:ext cx="24939" cy="115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40" name="Rektangel: øverste hjørner afrundet 339">
            <a:extLst>
              <a:ext uri="{FF2B5EF4-FFF2-40B4-BE49-F238E27FC236}">
                <a16:creationId xmlns:a16="http://schemas.microsoft.com/office/drawing/2014/main" id="{C62F0BC4-88CE-420B-BFCB-A413968293E7}"/>
              </a:ext>
            </a:extLst>
          </p:cNvPr>
          <p:cNvSpPr/>
          <p:nvPr userDrawn="1"/>
        </p:nvSpPr>
        <p:spPr>
          <a:xfrm>
            <a:off x="10533563" y="2978289"/>
            <a:ext cx="157195" cy="108688"/>
          </a:xfrm>
          <a:prstGeom prst="round2SameRect">
            <a:avLst>
              <a:gd name="adj1" fmla="val 35394"/>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1" name="Rektangel: øverste hjørner afrundet 340">
            <a:extLst>
              <a:ext uri="{FF2B5EF4-FFF2-40B4-BE49-F238E27FC236}">
                <a16:creationId xmlns:a16="http://schemas.microsoft.com/office/drawing/2014/main" id="{5CB2B274-161F-4E9D-A7B4-7C62E90A5997}"/>
              </a:ext>
            </a:extLst>
          </p:cNvPr>
          <p:cNvSpPr/>
          <p:nvPr userDrawn="1"/>
        </p:nvSpPr>
        <p:spPr>
          <a:xfrm>
            <a:off x="10588757" y="2919897"/>
            <a:ext cx="45719" cy="108688"/>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81" name="Gruppe 280">
            <a:extLst>
              <a:ext uri="{FF2B5EF4-FFF2-40B4-BE49-F238E27FC236}">
                <a16:creationId xmlns:a16="http://schemas.microsoft.com/office/drawing/2014/main" id="{4A829FF2-4B54-4C8C-9536-FA5C27653B07}"/>
              </a:ext>
            </a:extLst>
          </p:cNvPr>
          <p:cNvGrpSpPr/>
          <p:nvPr userDrawn="1"/>
        </p:nvGrpSpPr>
        <p:grpSpPr>
          <a:xfrm>
            <a:off x="11007726" y="5568895"/>
            <a:ext cx="478314" cy="308029"/>
            <a:chOff x="5878302" y="5164076"/>
            <a:chExt cx="916095" cy="618051"/>
          </a:xfrm>
          <a:solidFill>
            <a:schemeClr val="accent4">
              <a:lumMod val="75000"/>
            </a:schemeClr>
          </a:solidFill>
        </p:grpSpPr>
        <p:grpSp>
          <p:nvGrpSpPr>
            <p:cNvPr id="330" name="Gruppe 329">
              <a:extLst>
                <a:ext uri="{FF2B5EF4-FFF2-40B4-BE49-F238E27FC236}">
                  <a16:creationId xmlns:a16="http://schemas.microsoft.com/office/drawing/2014/main" id="{F192E2E2-809D-4C86-80C6-8B5B13229DF7}"/>
                </a:ext>
              </a:extLst>
            </p:cNvPr>
            <p:cNvGrpSpPr/>
            <p:nvPr userDrawn="1"/>
          </p:nvGrpSpPr>
          <p:grpSpPr>
            <a:xfrm>
              <a:off x="5878302" y="5164076"/>
              <a:ext cx="916095" cy="561875"/>
              <a:chOff x="6443096" y="5105724"/>
              <a:chExt cx="916095" cy="561875"/>
            </a:xfrm>
            <a:grpFill/>
          </p:grpSpPr>
          <p:sp>
            <p:nvSpPr>
              <p:cNvPr id="356" name="Ellipse 355">
                <a:extLst>
                  <a:ext uri="{FF2B5EF4-FFF2-40B4-BE49-F238E27FC236}">
                    <a16:creationId xmlns:a16="http://schemas.microsoft.com/office/drawing/2014/main" id="{E4E4E890-222D-431A-8273-4FFCD3C44BAB}"/>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7" name="Ellipse 356">
                <a:extLst>
                  <a:ext uri="{FF2B5EF4-FFF2-40B4-BE49-F238E27FC236}">
                    <a16:creationId xmlns:a16="http://schemas.microsoft.com/office/drawing/2014/main" id="{1210BBB9-443B-476C-B85F-4F954E746504}"/>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8" name="Ellipse 357">
                <a:extLst>
                  <a:ext uri="{FF2B5EF4-FFF2-40B4-BE49-F238E27FC236}">
                    <a16:creationId xmlns:a16="http://schemas.microsoft.com/office/drawing/2014/main" id="{7BBEECEE-598F-4535-912D-81D86526240F}"/>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9" name="Ellipse 358">
                <a:extLst>
                  <a:ext uri="{FF2B5EF4-FFF2-40B4-BE49-F238E27FC236}">
                    <a16:creationId xmlns:a16="http://schemas.microsoft.com/office/drawing/2014/main" id="{E7CE32A6-471A-471F-89A4-AFE9498FC56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31" name="Ellipse 330">
              <a:extLst>
                <a:ext uri="{FF2B5EF4-FFF2-40B4-BE49-F238E27FC236}">
                  <a16:creationId xmlns:a16="http://schemas.microsoft.com/office/drawing/2014/main" id="{91EBC68B-981B-4C4A-AF64-4E347C47984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7" name="Gruppe 366">
            <a:extLst>
              <a:ext uri="{FF2B5EF4-FFF2-40B4-BE49-F238E27FC236}">
                <a16:creationId xmlns:a16="http://schemas.microsoft.com/office/drawing/2014/main" id="{7CECA2B4-15EC-4DBA-98F2-4D1EE882E0FC}"/>
              </a:ext>
            </a:extLst>
          </p:cNvPr>
          <p:cNvGrpSpPr/>
          <p:nvPr userDrawn="1"/>
        </p:nvGrpSpPr>
        <p:grpSpPr>
          <a:xfrm flipV="1">
            <a:off x="10564403" y="5588264"/>
            <a:ext cx="394712" cy="270741"/>
            <a:chOff x="5878302" y="5164076"/>
            <a:chExt cx="916095" cy="618051"/>
          </a:xfrm>
          <a:solidFill>
            <a:schemeClr val="accent4">
              <a:lumMod val="60000"/>
              <a:lumOff val="40000"/>
            </a:schemeClr>
          </a:solidFill>
        </p:grpSpPr>
        <p:grpSp>
          <p:nvGrpSpPr>
            <p:cNvPr id="368" name="Gruppe 367">
              <a:extLst>
                <a:ext uri="{FF2B5EF4-FFF2-40B4-BE49-F238E27FC236}">
                  <a16:creationId xmlns:a16="http://schemas.microsoft.com/office/drawing/2014/main" id="{06D00D05-B8C7-4708-8B4E-4B1D85B7B1D6}"/>
                </a:ext>
              </a:extLst>
            </p:cNvPr>
            <p:cNvGrpSpPr/>
            <p:nvPr userDrawn="1"/>
          </p:nvGrpSpPr>
          <p:grpSpPr>
            <a:xfrm>
              <a:off x="5878302" y="5164076"/>
              <a:ext cx="916095" cy="561875"/>
              <a:chOff x="6443096" y="5105724"/>
              <a:chExt cx="916095" cy="561875"/>
            </a:xfrm>
            <a:grpFill/>
          </p:grpSpPr>
          <p:sp>
            <p:nvSpPr>
              <p:cNvPr id="370" name="Ellipse 369">
                <a:extLst>
                  <a:ext uri="{FF2B5EF4-FFF2-40B4-BE49-F238E27FC236}">
                    <a16:creationId xmlns:a16="http://schemas.microsoft.com/office/drawing/2014/main" id="{3E090C47-2503-4E78-872D-5C68DEFE7378}"/>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1" name="Ellipse 370">
                <a:extLst>
                  <a:ext uri="{FF2B5EF4-FFF2-40B4-BE49-F238E27FC236}">
                    <a16:creationId xmlns:a16="http://schemas.microsoft.com/office/drawing/2014/main" id="{D3C5F813-9E3C-4549-B611-AD50B97A6A0C}"/>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2" name="Ellipse 371">
                <a:extLst>
                  <a:ext uri="{FF2B5EF4-FFF2-40B4-BE49-F238E27FC236}">
                    <a16:creationId xmlns:a16="http://schemas.microsoft.com/office/drawing/2014/main" id="{10482F65-69E8-4663-ADAC-26A2A14AD3D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7D9DADE8-14E5-4029-ACDB-93CED8F4A66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9" name="Ellipse 368">
              <a:extLst>
                <a:ext uri="{FF2B5EF4-FFF2-40B4-BE49-F238E27FC236}">
                  <a16:creationId xmlns:a16="http://schemas.microsoft.com/office/drawing/2014/main" id="{E998773F-9E84-4DF3-A91B-0CA2795958D5}"/>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30" name="Gruppe 229">
            <a:extLst>
              <a:ext uri="{FF2B5EF4-FFF2-40B4-BE49-F238E27FC236}">
                <a16:creationId xmlns:a16="http://schemas.microsoft.com/office/drawing/2014/main" id="{796C7238-38A4-4829-9979-ADD88A405B96}"/>
              </a:ext>
            </a:extLst>
          </p:cNvPr>
          <p:cNvGrpSpPr/>
          <p:nvPr userDrawn="1"/>
        </p:nvGrpSpPr>
        <p:grpSpPr>
          <a:xfrm>
            <a:off x="10020191" y="5126437"/>
            <a:ext cx="916095" cy="739089"/>
            <a:chOff x="5878302" y="5164076"/>
            <a:chExt cx="916095" cy="739089"/>
          </a:xfrm>
        </p:grpSpPr>
        <p:grpSp>
          <p:nvGrpSpPr>
            <p:cNvPr id="231" name="Gruppe 230">
              <a:extLst>
                <a:ext uri="{FF2B5EF4-FFF2-40B4-BE49-F238E27FC236}">
                  <a16:creationId xmlns:a16="http://schemas.microsoft.com/office/drawing/2014/main" id="{8BDF96EF-0B8B-41BC-BE25-95C5C03503AD}"/>
                </a:ext>
              </a:extLst>
            </p:cNvPr>
            <p:cNvGrpSpPr/>
            <p:nvPr userDrawn="1"/>
          </p:nvGrpSpPr>
          <p:grpSpPr>
            <a:xfrm>
              <a:off x="5878302" y="5164076"/>
              <a:ext cx="916095" cy="739089"/>
              <a:chOff x="6443096" y="5105724"/>
              <a:chExt cx="916095" cy="739089"/>
            </a:xfrm>
          </p:grpSpPr>
          <p:sp>
            <p:nvSpPr>
              <p:cNvPr id="233" name="Rektangel 232">
                <a:extLst>
                  <a:ext uri="{FF2B5EF4-FFF2-40B4-BE49-F238E27FC236}">
                    <a16:creationId xmlns:a16="http://schemas.microsoft.com/office/drawing/2014/main" id="{B2026F2D-BB70-44A1-BB13-96A5EFB22069}"/>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4" name="Ellipse 233">
                <a:extLst>
                  <a:ext uri="{FF2B5EF4-FFF2-40B4-BE49-F238E27FC236}">
                    <a16:creationId xmlns:a16="http://schemas.microsoft.com/office/drawing/2014/main" id="{182AAC8F-A601-4F66-9CE1-18ECDAB0C86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5" name="Ellipse 234">
                <a:extLst>
                  <a:ext uri="{FF2B5EF4-FFF2-40B4-BE49-F238E27FC236}">
                    <a16:creationId xmlns:a16="http://schemas.microsoft.com/office/drawing/2014/main" id="{E89E9F92-DCC6-47C5-AF8C-5F8082497EF1}"/>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6" name="Ellipse 235">
                <a:extLst>
                  <a:ext uri="{FF2B5EF4-FFF2-40B4-BE49-F238E27FC236}">
                    <a16:creationId xmlns:a16="http://schemas.microsoft.com/office/drawing/2014/main" id="{3C2E8F47-9881-466A-8371-43CFD20B5366}"/>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7" name="Ellipse 236">
                <a:extLst>
                  <a:ext uri="{FF2B5EF4-FFF2-40B4-BE49-F238E27FC236}">
                    <a16:creationId xmlns:a16="http://schemas.microsoft.com/office/drawing/2014/main" id="{D4ACC086-0334-4990-8004-087E85BED416}"/>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32" name="Ellipse 231">
              <a:extLst>
                <a:ext uri="{FF2B5EF4-FFF2-40B4-BE49-F238E27FC236}">
                  <a16:creationId xmlns:a16="http://schemas.microsoft.com/office/drawing/2014/main" id="{85F74FBC-CB63-4285-B888-CA2C52C9C1FD}"/>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0" name="Gruppe 359">
            <a:extLst>
              <a:ext uri="{FF2B5EF4-FFF2-40B4-BE49-F238E27FC236}">
                <a16:creationId xmlns:a16="http://schemas.microsoft.com/office/drawing/2014/main" id="{01BD14B1-0C8C-4D63-A05E-636FC9F71D53}"/>
              </a:ext>
            </a:extLst>
          </p:cNvPr>
          <p:cNvGrpSpPr/>
          <p:nvPr userDrawn="1"/>
        </p:nvGrpSpPr>
        <p:grpSpPr>
          <a:xfrm>
            <a:off x="10124048" y="5644110"/>
            <a:ext cx="394712" cy="270741"/>
            <a:chOff x="5878302" y="5164076"/>
            <a:chExt cx="916095" cy="618051"/>
          </a:xfrm>
          <a:solidFill>
            <a:schemeClr val="accent4"/>
          </a:solidFill>
        </p:grpSpPr>
        <p:grpSp>
          <p:nvGrpSpPr>
            <p:cNvPr id="361" name="Gruppe 360">
              <a:extLst>
                <a:ext uri="{FF2B5EF4-FFF2-40B4-BE49-F238E27FC236}">
                  <a16:creationId xmlns:a16="http://schemas.microsoft.com/office/drawing/2014/main" id="{838C833C-7ECE-4074-8ACE-3300890F60FA}"/>
                </a:ext>
              </a:extLst>
            </p:cNvPr>
            <p:cNvGrpSpPr/>
            <p:nvPr userDrawn="1"/>
          </p:nvGrpSpPr>
          <p:grpSpPr>
            <a:xfrm>
              <a:off x="5878302" y="5164076"/>
              <a:ext cx="916095" cy="561875"/>
              <a:chOff x="6443096" y="5105724"/>
              <a:chExt cx="916095" cy="561875"/>
            </a:xfrm>
            <a:grpFill/>
          </p:grpSpPr>
          <p:sp>
            <p:nvSpPr>
              <p:cNvPr id="363" name="Ellipse 362">
                <a:extLst>
                  <a:ext uri="{FF2B5EF4-FFF2-40B4-BE49-F238E27FC236}">
                    <a16:creationId xmlns:a16="http://schemas.microsoft.com/office/drawing/2014/main" id="{7B6EAD83-13D8-4F12-B43A-8E363B7C8DED}"/>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4" name="Ellipse 363">
                <a:extLst>
                  <a:ext uri="{FF2B5EF4-FFF2-40B4-BE49-F238E27FC236}">
                    <a16:creationId xmlns:a16="http://schemas.microsoft.com/office/drawing/2014/main" id="{4961ACE8-9B7E-4E21-A787-5CC23E33CC5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5" name="Ellipse 364">
                <a:extLst>
                  <a:ext uri="{FF2B5EF4-FFF2-40B4-BE49-F238E27FC236}">
                    <a16:creationId xmlns:a16="http://schemas.microsoft.com/office/drawing/2014/main" id="{5A145DF6-9D3D-4360-9DBC-6CFA81B9C0D8}"/>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6" name="Ellipse 365">
                <a:extLst>
                  <a:ext uri="{FF2B5EF4-FFF2-40B4-BE49-F238E27FC236}">
                    <a16:creationId xmlns:a16="http://schemas.microsoft.com/office/drawing/2014/main" id="{B66C4709-4DBD-4777-89DA-299793B514B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2" name="Ellipse 361">
              <a:extLst>
                <a:ext uri="{FF2B5EF4-FFF2-40B4-BE49-F238E27FC236}">
                  <a16:creationId xmlns:a16="http://schemas.microsoft.com/office/drawing/2014/main" id="{0B326307-7CEB-4EC0-A724-33C991FC4910}"/>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75" name="Gruppe 374">
            <a:extLst>
              <a:ext uri="{FF2B5EF4-FFF2-40B4-BE49-F238E27FC236}">
                <a16:creationId xmlns:a16="http://schemas.microsoft.com/office/drawing/2014/main" id="{689BDEC5-905C-45DD-90C5-9AEA5503D833}"/>
              </a:ext>
            </a:extLst>
          </p:cNvPr>
          <p:cNvGrpSpPr/>
          <p:nvPr userDrawn="1"/>
        </p:nvGrpSpPr>
        <p:grpSpPr>
          <a:xfrm>
            <a:off x="10708687" y="5680624"/>
            <a:ext cx="478314" cy="308029"/>
            <a:chOff x="5878302" y="5164076"/>
            <a:chExt cx="916095" cy="618051"/>
          </a:xfrm>
          <a:solidFill>
            <a:schemeClr val="accent4"/>
          </a:solidFill>
        </p:grpSpPr>
        <p:grpSp>
          <p:nvGrpSpPr>
            <p:cNvPr id="376" name="Gruppe 375">
              <a:extLst>
                <a:ext uri="{FF2B5EF4-FFF2-40B4-BE49-F238E27FC236}">
                  <a16:creationId xmlns:a16="http://schemas.microsoft.com/office/drawing/2014/main" id="{AD8173EE-F5C8-483D-A02E-D7B6CF0975D0}"/>
                </a:ext>
              </a:extLst>
            </p:cNvPr>
            <p:cNvGrpSpPr/>
            <p:nvPr userDrawn="1"/>
          </p:nvGrpSpPr>
          <p:grpSpPr>
            <a:xfrm>
              <a:off x="5878302" y="5164076"/>
              <a:ext cx="916095" cy="561875"/>
              <a:chOff x="6443096" y="5105724"/>
              <a:chExt cx="916095" cy="561875"/>
            </a:xfrm>
            <a:grpFill/>
          </p:grpSpPr>
          <p:sp>
            <p:nvSpPr>
              <p:cNvPr id="378" name="Ellipse 377">
                <a:extLst>
                  <a:ext uri="{FF2B5EF4-FFF2-40B4-BE49-F238E27FC236}">
                    <a16:creationId xmlns:a16="http://schemas.microsoft.com/office/drawing/2014/main" id="{963C0A60-A3C9-430A-A108-F292F1838452}"/>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9" name="Ellipse 378">
                <a:extLst>
                  <a:ext uri="{FF2B5EF4-FFF2-40B4-BE49-F238E27FC236}">
                    <a16:creationId xmlns:a16="http://schemas.microsoft.com/office/drawing/2014/main" id="{73A888F8-DB76-4ECA-A70D-117A46E57AC9}"/>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0" name="Ellipse 379">
                <a:extLst>
                  <a:ext uri="{FF2B5EF4-FFF2-40B4-BE49-F238E27FC236}">
                    <a16:creationId xmlns:a16="http://schemas.microsoft.com/office/drawing/2014/main" id="{5420613A-C9A4-4803-ACA4-1839CCF52B7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2026BC59-313A-4460-9ED3-E98DFC14C81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7" name="Ellipse 376">
              <a:extLst>
                <a:ext uri="{FF2B5EF4-FFF2-40B4-BE49-F238E27FC236}">
                  <a16:creationId xmlns:a16="http://schemas.microsoft.com/office/drawing/2014/main" id="{6D6B0538-6F67-4C56-8E0B-EB1FF85B0E5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9" name="Gruppe 28">
            <a:extLst>
              <a:ext uri="{FF2B5EF4-FFF2-40B4-BE49-F238E27FC236}">
                <a16:creationId xmlns:a16="http://schemas.microsoft.com/office/drawing/2014/main" id="{E2DDE5A2-79AE-48C8-9B9A-83FC4FF17D90}"/>
              </a:ext>
            </a:extLst>
          </p:cNvPr>
          <p:cNvGrpSpPr/>
          <p:nvPr userDrawn="1"/>
        </p:nvGrpSpPr>
        <p:grpSpPr>
          <a:xfrm>
            <a:off x="6586590" y="4046025"/>
            <a:ext cx="99577" cy="1718833"/>
            <a:chOff x="6586590" y="4046025"/>
            <a:chExt cx="99577" cy="1718833"/>
          </a:xfrm>
        </p:grpSpPr>
        <p:grpSp>
          <p:nvGrpSpPr>
            <p:cNvPr id="19" name="Gruppe 18">
              <a:extLst>
                <a:ext uri="{FF2B5EF4-FFF2-40B4-BE49-F238E27FC236}">
                  <a16:creationId xmlns:a16="http://schemas.microsoft.com/office/drawing/2014/main" id="{9918AC4D-AE6C-4A67-8E5B-3E74B5ADE337}"/>
                </a:ext>
              </a:extLst>
            </p:cNvPr>
            <p:cNvGrpSpPr/>
            <p:nvPr userDrawn="1"/>
          </p:nvGrpSpPr>
          <p:grpSpPr>
            <a:xfrm>
              <a:off x="6586590" y="4046025"/>
              <a:ext cx="99577" cy="130933"/>
              <a:chOff x="6586590" y="4107944"/>
              <a:chExt cx="99577" cy="130933"/>
            </a:xfrm>
          </p:grpSpPr>
          <p:sp>
            <p:nvSpPr>
              <p:cNvPr id="17" name="Rektangel 16">
                <a:extLst>
                  <a:ext uri="{FF2B5EF4-FFF2-40B4-BE49-F238E27FC236}">
                    <a16:creationId xmlns:a16="http://schemas.microsoft.com/office/drawing/2014/main" id="{182ACCFE-41C8-4E17-9B8B-D827874A585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6" name="Rektangel 335">
                <a:extLst>
                  <a:ext uri="{FF2B5EF4-FFF2-40B4-BE49-F238E27FC236}">
                    <a16:creationId xmlns:a16="http://schemas.microsoft.com/office/drawing/2014/main" id="{CDE8D65B-CD8D-4003-A412-B5BC76EEB78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 name="Rektangel: øverste hjørner afrundet 12">
                <a:extLst>
                  <a:ext uri="{FF2B5EF4-FFF2-40B4-BE49-F238E27FC236}">
                    <a16:creationId xmlns:a16="http://schemas.microsoft.com/office/drawing/2014/main" id="{166A567D-33C1-4CA2-9DFE-4A65FA0F984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 name="Gruppe 13">
              <a:extLst>
                <a:ext uri="{FF2B5EF4-FFF2-40B4-BE49-F238E27FC236}">
                  <a16:creationId xmlns:a16="http://schemas.microsoft.com/office/drawing/2014/main" id="{587D7EB2-D5F6-4CD0-8A36-409C758BA33F}"/>
                </a:ext>
              </a:extLst>
            </p:cNvPr>
            <p:cNvGrpSpPr/>
            <p:nvPr userDrawn="1"/>
          </p:nvGrpSpPr>
          <p:grpSpPr>
            <a:xfrm>
              <a:off x="6586590" y="4257042"/>
              <a:ext cx="99577" cy="158629"/>
              <a:chOff x="6586590" y="4339419"/>
              <a:chExt cx="99577" cy="158629"/>
            </a:xfrm>
          </p:grpSpPr>
          <p:sp>
            <p:nvSpPr>
              <p:cNvPr id="389" name="Rektangel 388">
                <a:extLst>
                  <a:ext uri="{FF2B5EF4-FFF2-40B4-BE49-F238E27FC236}">
                    <a16:creationId xmlns:a16="http://schemas.microsoft.com/office/drawing/2014/main" id="{3E169BFA-6443-4EDB-BCCF-92BE8D19B67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0" name="Rektangel 389">
                <a:extLst>
                  <a:ext uri="{FF2B5EF4-FFF2-40B4-BE49-F238E27FC236}">
                    <a16:creationId xmlns:a16="http://schemas.microsoft.com/office/drawing/2014/main" id="{70CE1300-6612-4BD6-A5C2-B1059EEEEE4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1" name="Rektangel 390">
                <a:extLst>
                  <a:ext uri="{FF2B5EF4-FFF2-40B4-BE49-F238E27FC236}">
                    <a16:creationId xmlns:a16="http://schemas.microsoft.com/office/drawing/2014/main" id="{593E8EF2-DA0E-4D40-8BCC-4AB254A498D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2" name="Rektangel 391">
                <a:extLst>
                  <a:ext uri="{FF2B5EF4-FFF2-40B4-BE49-F238E27FC236}">
                    <a16:creationId xmlns:a16="http://schemas.microsoft.com/office/drawing/2014/main" id="{53040CC4-2268-4821-A77A-A32765988F03}"/>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3" name="Gruppe 392">
              <a:extLst>
                <a:ext uri="{FF2B5EF4-FFF2-40B4-BE49-F238E27FC236}">
                  <a16:creationId xmlns:a16="http://schemas.microsoft.com/office/drawing/2014/main" id="{3140AAA9-17DE-465B-8A6A-C9FE15269EF7}"/>
                </a:ext>
              </a:extLst>
            </p:cNvPr>
            <p:cNvGrpSpPr/>
            <p:nvPr userDrawn="1"/>
          </p:nvGrpSpPr>
          <p:grpSpPr>
            <a:xfrm>
              <a:off x="6586590" y="4495755"/>
              <a:ext cx="99577" cy="130933"/>
              <a:chOff x="6586590" y="4107944"/>
              <a:chExt cx="99577" cy="130933"/>
            </a:xfrm>
          </p:grpSpPr>
          <p:sp>
            <p:nvSpPr>
              <p:cNvPr id="394" name="Rektangel 393">
                <a:extLst>
                  <a:ext uri="{FF2B5EF4-FFF2-40B4-BE49-F238E27FC236}">
                    <a16:creationId xmlns:a16="http://schemas.microsoft.com/office/drawing/2014/main" id="{778552A3-E0DC-45DF-B6E8-CC07C581415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5" name="Rektangel 394">
                <a:extLst>
                  <a:ext uri="{FF2B5EF4-FFF2-40B4-BE49-F238E27FC236}">
                    <a16:creationId xmlns:a16="http://schemas.microsoft.com/office/drawing/2014/main" id="{DC3E0AC6-6E9B-4566-AD58-16808D35613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6" name="Rektangel: øverste hjørner afrundet 395">
                <a:extLst>
                  <a:ext uri="{FF2B5EF4-FFF2-40B4-BE49-F238E27FC236}">
                    <a16:creationId xmlns:a16="http://schemas.microsoft.com/office/drawing/2014/main" id="{D88CBFD0-3E8C-4ED3-A153-AE926B83168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7" name="Gruppe 396">
              <a:extLst>
                <a:ext uri="{FF2B5EF4-FFF2-40B4-BE49-F238E27FC236}">
                  <a16:creationId xmlns:a16="http://schemas.microsoft.com/office/drawing/2014/main" id="{F4E34A09-D0B3-4212-A589-68FC0C579D6D}"/>
                </a:ext>
              </a:extLst>
            </p:cNvPr>
            <p:cNvGrpSpPr/>
            <p:nvPr userDrawn="1"/>
          </p:nvGrpSpPr>
          <p:grpSpPr>
            <a:xfrm>
              <a:off x="6586590" y="4706772"/>
              <a:ext cx="99577" cy="158629"/>
              <a:chOff x="6586590" y="4339419"/>
              <a:chExt cx="99577" cy="158629"/>
            </a:xfrm>
          </p:grpSpPr>
          <p:sp>
            <p:nvSpPr>
              <p:cNvPr id="398" name="Rektangel 397">
                <a:extLst>
                  <a:ext uri="{FF2B5EF4-FFF2-40B4-BE49-F238E27FC236}">
                    <a16:creationId xmlns:a16="http://schemas.microsoft.com/office/drawing/2014/main" id="{53C43F32-76BA-45C4-B58C-7913498311B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9" name="Rektangel 398">
                <a:extLst>
                  <a:ext uri="{FF2B5EF4-FFF2-40B4-BE49-F238E27FC236}">
                    <a16:creationId xmlns:a16="http://schemas.microsoft.com/office/drawing/2014/main" id="{2D289542-AF25-42C1-A9D5-6FC616E91B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0" name="Rektangel 399">
                <a:extLst>
                  <a:ext uri="{FF2B5EF4-FFF2-40B4-BE49-F238E27FC236}">
                    <a16:creationId xmlns:a16="http://schemas.microsoft.com/office/drawing/2014/main" id="{3F21A039-3B6D-45CC-AFB3-F312070DA13B}"/>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1" name="Rektangel 400">
                <a:extLst>
                  <a:ext uri="{FF2B5EF4-FFF2-40B4-BE49-F238E27FC236}">
                    <a16:creationId xmlns:a16="http://schemas.microsoft.com/office/drawing/2014/main" id="{F2703EED-7B25-4998-97C5-DBD35AA4CAEE}"/>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2" name="Gruppe 401">
              <a:extLst>
                <a:ext uri="{FF2B5EF4-FFF2-40B4-BE49-F238E27FC236}">
                  <a16:creationId xmlns:a16="http://schemas.microsoft.com/office/drawing/2014/main" id="{E4AB5479-51EB-406C-A23A-6A8B7D8069B5}"/>
                </a:ext>
              </a:extLst>
            </p:cNvPr>
            <p:cNvGrpSpPr/>
            <p:nvPr userDrawn="1"/>
          </p:nvGrpSpPr>
          <p:grpSpPr>
            <a:xfrm>
              <a:off x="6586590" y="4945485"/>
              <a:ext cx="99577" cy="130933"/>
              <a:chOff x="6586590" y="4107944"/>
              <a:chExt cx="99577" cy="130933"/>
            </a:xfrm>
          </p:grpSpPr>
          <p:sp>
            <p:nvSpPr>
              <p:cNvPr id="403" name="Rektangel 402">
                <a:extLst>
                  <a:ext uri="{FF2B5EF4-FFF2-40B4-BE49-F238E27FC236}">
                    <a16:creationId xmlns:a16="http://schemas.microsoft.com/office/drawing/2014/main" id="{9B027EAF-0E31-4671-A90D-C3E9DCCD05A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Rektangel 403">
                <a:extLst>
                  <a:ext uri="{FF2B5EF4-FFF2-40B4-BE49-F238E27FC236}">
                    <a16:creationId xmlns:a16="http://schemas.microsoft.com/office/drawing/2014/main" id="{9B9273CD-ACE5-4738-8E59-727F57E9279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Rektangel: øverste hjørner afrundet 404">
                <a:extLst>
                  <a:ext uri="{FF2B5EF4-FFF2-40B4-BE49-F238E27FC236}">
                    <a16:creationId xmlns:a16="http://schemas.microsoft.com/office/drawing/2014/main" id="{1CCEF3A4-0066-4ADD-B682-687D833B47B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6" name="Gruppe 405">
              <a:extLst>
                <a:ext uri="{FF2B5EF4-FFF2-40B4-BE49-F238E27FC236}">
                  <a16:creationId xmlns:a16="http://schemas.microsoft.com/office/drawing/2014/main" id="{3B64A499-FF2C-49AD-A435-4F489F17E96D}"/>
                </a:ext>
              </a:extLst>
            </p:cNvPr>
            <p:cNvGrpSpPr/>
            <p:nvPr userDrawn="1"/>
          </p:nvGrpSpPr>
          <p:grpSpPr>
            <a:xfrm>
              <a:off x="6586590" y="5156502"/>
              <a:ext cx="99577" cy="158629"/>
              <a:chOff x="6586590" y="4339419"/>
              <a:chExt cx="99577" cy="158629"/>
            </a:xfrm>
          </p:grpSpPr>
          <p:sp>
            <p:nvSpPr>
              <p:cNvPr id="407" name="Rektangel 406">
                <a:extLst>
                  <a:ext uri="{FF2B5EF4-FFF2-40B4-BE49-F238E27FC236}">
                    <a16:creationId xmlns:a16="http://schemas.microsoft.com/office/drawing/2014/main" id="{D63AF5C8-A290-4155-9757-0638F2A31CD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Rektangel 407">
                <a:extLst>
                  <a:ext uri="{FF2B5EF4-FFF2-40B4-BE49-F238E27FC236}">
                    <a16:creationId xmlns:a16="http://schemas.microsoft.com/office/drawing/2014/main" id="{40E59388-F730-41FB-8870-5DB753969F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9" name="Rektangel 408">
                <a:extLst>
                  <a:ext uri="{FF2B5EF4-FFF2-40B4-BE49-F238E27FC236}">
                    <a16:creationId xmlns:a16="http://schemas.microsoft.com/office/drawing/2014/main" id="{345D8865-C2EE-4DBE-AE59-034171813651}"/>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0" name="Rektangel 409">
                <a:extLst>
                  <a:ext uri="{FF2B5EF4-FFF2-40B4-BE49-F238E27FC236}">
                    <a16:creationId xmlns:a16="http://schemas.microsoft.com/office/drawing/2014/main" id="{6ADC136D-CC27-475B-AC81-0A84AE3AB14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1" name="Gruppe 420">
              <a:extLst>
                <a:ext uri="{FF2B5EF4-FFF2-40B4-BE49-F238E27FC236}">
                  <a16:creationId xmlns:a16="http://schemas.microsoft.com/office/drawing/2014/main" id="{B1F3C9C3-F095-4C94-B38A-F70D74D8C6E6}"/>
                </a:ext>
              </a:extLst>
            </p:cNvPr>
            <p:cNvGrpSpPr/>
            <p:nvPr userDrawn="1"/>
          </p:nvGrpSpPr>
          <p:grpSpPr>
            <a:xfrm>
              <a:off x="6586590" y="5395215"/>
              <a:ext cx="99577" cy="130933"/>
              <a:chOff x="6586590" y="4107944"/>
              <a:chExt cx="99577" cy="130933"/>
            </a:xfrm>
          </p:grpSpPr>
          <p:sp>
            <p:nvSpPr>
              <p:cNvPr id="422" name="Rektangel 421">
                <a:extLst>
                  <a:ext uri="{FF2B5EF4-FFF2-40B4-BE49-F238E27FC236}">
                    <a16:creationId xmlns:a16="http://schemas.microsoft.com/office/drawing/2014/main" id="{567AA6F9-BB61-4BDE-957C-EC76271BA24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3" name="Rektangel 422">
                <a:extLst>
                  <a:ext uri="{FF2B5EF4-FFF2-40B4-BE49-F238E27FC236}">
                    <a16:creationId xmlns:a16="http://schemas.microsoft.com/office/drawing/2014/main" id="{9F11057C-83C2-4560-851D-B1B6C79920D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4" name="Rektangel: øverste hjørner afrundet 423">
                <a:extLst>
                  <a:ext uri="{FF2B5EF4-FFF2-40B4-BE49-F238E27FC236}">
                    <a16:creationId xmlns:a16="http://schemas.microsoft.com/office/drawing/2014/main" id="{A489C9D8-D23D-4434-86E7-C34970CE002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5" name="Gruppe 424">
              <a:extLst>
                <a:ext uri="{FF2B5EF4-FFF2-40B4-BE49-F238E27FC236}">
                  <a16:creationId xmlns:a16="http://schemas.microsoft.com/office/drawing/2014/main" id="{76F9B253-3B1F-4036-A46E-F2DFE861AEC2}"/>
                </a:ext>
              </a:extLst>
            </p:cNvPr>
            <p:cNvGrpSpPr/>
            <p:nvPr userDrawn="1"/>
          </p:nvGrpSpPr>
          <p:grpSpPr>
            <a:xfrm>
              <a:off x="6586590" y="5606229"/>
              <a:ext cx="99577" cy="158629"/>
              <a:chOff x="6586590" y="4339419"/>
              <a:chExt cx="99577" cy="158629"/>
            </a:xfrm>
          </p:grpSpPr>
          <p:sp>
            <p:nvSpPr>
              <p:cNvPr id="426" name="Rektangel 425">
                <a:extLst>
                  <a:ext uri="{FF2B5EF4-FFF2-40B4-BE49-F238E27FC236}">
                    <a16:creationId xmlns:a16="http://schemas.microsoft.com/office/drawing/2014/main" id="{00380A86-4B6A-4F2B-995B-1589728A743F}"/>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7" name="Rektangel 426">
                <a:extLst>
                  <a:ext uri="{FF2B5EF4-FFF2-40B4-BE49-F238E27FC236}">
                    <a16:creationId xmlns:a16="http://schemas.microsoft.com/office/drawing/2014/main" id="{199302DF-D00C-42AB-9A9E-277FD05E076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8" name="Rektangel 427">
                <a:extLst>
                  <a:ext uri="{FF2B5EF4-FFF2-40B4-BE49-F238E27FC236}">
                    <a16:creationId xmlns:a16="http://schemas.microsoft.com/office/drawing/2014/main" id="{D562AB1F-6F4E-4E70-BE9D-99F8CD2E30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9" name="Rektangel 428">
                <a:extLst>
                  <a:ext uri="{FF2B5EF4-FFF2-40B4-BE49-F238E27FC236}">
                    <a16:creationId xmlns:a16="http://schemas.microsoft.com/office/drawing/2014/main" id="{F02A5C87-813E-4385-8332-6932FACF3116}"/>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30" name="Gruppe 429">
            <a:extLst>
              <a:ext uri="{FF2B5EF4-FFF2-40B4-BE49-F238E27FC236}">
                <a16:creationId xmlns:a16="http://schemas.microsoft.com/office/drawing/2014/main" id="{E3029EB5-0AC7-4DDE-ACA1-3D9D57067507}"/>
              </a:ext>
            </a:extLst>
          </p:cNvPr>
          <p:cNvGrpSpPr/>
          <p:nvPr userDrawn="1"/>
        </p:nvGrpSpPr>
        <p:grpSpPr>
          <a:xfrm>
            <a:off x="6770776" y="4046025"/>
            <a:ext cx="99577" cy="1269106"/>
            <a:chOff x="6586590" y="4046025"/>
            <a:chExt cx="99577" cy="1269106"/>
          </a:xfrm>
        </p:grpSpPr>
        <p:grpSp>
          <p:nvGrpSpPr>
            <p:cNvPr id="431" name="Gruppe 430">
              <a:extLst>
                <a:ext uri="{FF2B5EF4-FFF2-40B4-BE49-F238E27FC236}">
                  <a16:creationId xmlns:a16="http://schemas.microsoft.com/office/drawing/2014/main" id="{6A46EB63-1274-4DBD-8FED-5A911499F981}"/>
                </a:ext>
              </a:extLst>
            </p:cNvPr>
            <p:cNvGrpSpPr/>
            <p:nvPr userDrawn="1"/>
          </p:nvGrpSpPr>
          <p:grpSpPr>
            <a:xfrm>
              <a:off x="6586590" y="4046025"/>
              <a:ext cx="99577" cy="130933"/>
              <a:chOff x="6586590" y="4107944"/>
              <a:chExt cx="99577" cy="130933"/>
            </a:xfrm>
          </p:grpSpPr>
          <p:sp>
            <p:nvSpPr>
              <p:cNvPr id="464" name="Rektangel 463">
                <a:extLst>
                  <a:ext uri="{FF2B5EF4-FFF2-40B4-BE49-F238E27FC236}">
                    <a16:creationId xmlns:a16="http://schemas.microsoft.com/office/drawing/2014/main" id="{94BE3C75-4DEC-42C6-9D92-8DFBF1FDEBBA}"/>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5" name="Rektangel 464">
                <a:extLst>
                  <a:ext uri="{FF2B5EF4-FFF2-40B4-BE49-F238E27FC236}">
                    <a16:creationId xmlns:a16="http://schemas.microsoft.com/office/drawing/2014/main" id="{A4BC8453-1157-4D7A-8651-E7FDFAC7BE2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6" name="Rektangel: øverste hjørner afrundet 465">
                <a:extLst>
                  <a:ext uri="{FF2B5EF4-FFF2-40B4-BE49-F238E27FC236}">
                    <a16:creationId xmlns:a16="http://schemas.microsoft.com/office/drawing/2014/main" id="{8D59FF8D-DD9C-45C2-AB8B-74BD85F91F63}"/>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2" name="Gruppe 431">
              <a:extLst>
                <a:ext uri="{FF2B5EF4-FFF2-40B4-BE49-F238E27FC236}">
                  <a16:creationId xmlns:a16="http://schemas.microsoft.com/office/drawing/2014/main" id="{45611319-A534-4A99-B4B8-CBD95B649E8A}"/>
                </a:ext>
              </a:extLst>
            </p:cNvPr>
            <p:cNvGrpSpPr/>
            <p:nvPr userDrawn="1"/>
          </p:nvGrpSpPr>
          <p:grpSpPr>
            <a:xfrm>
              <a:off x="6586590" y="4257042"/>
              <a:ext cx="99577" cy="158629"/>
              <a:chOff x="6586590" y="4339419"/>
              <a:chExt cx="99577" cy="158629"/>
            </a:xfrm>
          </p:grpSpPr>
          <p:sp>
            <p:nvSpPr>
              <p:cNvPr id="460" name="Rektangel 459">
                <a:extLst>
                  <a:ext uri="{FF2B5EF4-FFF2-40B4-BE49-F238E27FC236}">
                    <a16:creationId xmlns:a16="http://schemas.microsoft.com/office/drawing/2014/main" id="{178D2275-6619-4FB4-B7C8-C8076F173A6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1" name="Rektangel 460">
                <a:extLst>
                  <a:ext uri="{FF2B5EF4-FFF2-40B4-BE49-F238E27FC236}">
                    <a16:creationId xmlns:a16="http://schemas.microsoft.com/office/drawing/2014/main" id="{A04C0D2A-71D0-40C3-A879-DA23B02E4025}"/>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2" name="Rektangel 461">
                <a:extLst>
                  <a:ext uri="{FF2B5EF4-FFF2-40B4-BE49-F238E27FC236}">
                    <a16:creationId xmlns:a16="http://schemas.microsoft.com/office/drawing/2014/main" id="{F9D244BB-9E44-4971-874E-E48C1FCEB01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3" name="Rektangel 462">
                <a:extLst>
                  <a:ext uri="{FF2B5EF4-FFF2-40B4-BE49-F238E27FC236}">
                    <a16:creationId xmlns:a16="http://schemas.microsoft.com/office/drawing/2014/main" id="{B01C666D-BE31-418C-AAEE-E7D658FD52A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3" name="Gruppe 432">
              <a:extLst>
                <a:ext uri="{FF2B5EF4-FFF2-40B4-BE49-F238E27FC236}">
                  <a16:creationId xmlns:a16="http://schemas.microsoft.com/office/drawing/2014/main" id="{745CF06B-23F0-482F-B1B7-19F9DEA084CB}"/>
                </a:ext>
              </a:extLst>
            </p:cNvPr>
            <p:cNvGrpSpPr/>
            <p:nvPr userDrawn="1"/>
          </p:nvGrpSpPr>
          <p:grpSpPr>
            <a:xfrm>
              <a:off x="6586590" y="4495755"/>
              <a:ext cx="99577" cy="130933"/>
              <a:chOff x="6586590" y="4107944"/>
              <a:chExt cx="99577" cy="130933"/>
            </a:xfrm>
          </p:grpSpPr>
          <p:sp>
            <p:nvSpPr>
              <p:cNvPr id="457" name="Rektangel 456">
                <a:extLst>
                  <a:ext uri="{FF2B5EF4-FFF2-40B4-BE49-F238E27FC236}">
                    <a16:creationId xmlns:a16="http://schemas.microsoft.com/office/drawing/2014/main" id="{5B54E4C6-1BA5-4991-A82A-BC295605C6A8}"/>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8" name="Rektangel 457">
                <a:extLst>
                  <a:ext uri="{FF2B5EF4-FFF2-40B4-BE49-F238E27FC236}">
                    <a16:creationId xmlns:a16="http://schemas.microsoft.com/office/drawing/2014/main" id="{60267949-00FA-489E-8456-0FE20BE6D1F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9" name="Rektangel: øverste hjørner afrundet 458">
                <a:extLst>
                  <a:ext uri="{FF2B5EF4-FFF2-40B4-BE49-F238E27FC236}">
                    <a16:creationId xmlns:a16="http://schemas.microsoft.com/office/drawing/2014/main" id="{3954F634-7F1D-42A1-BAFE-CB7A574175F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4" name="Gruppe 433">
              <a:extLst>
                <a:ext uri="{FF2B5EF4-FFF2-40B4-BE49-F238E27FC236}">
                  <a16:creationId xmlns:a16="http://schemas.microsoft.com/office/drawing/2014/main" id="{5B9513C0-F010-4FF4-BCB5-9E6498DA831E}"/>
                </a:ext>
              </a:extLst>
            </p:cNvPr>
            <p:cNvGrpSpPr/>
            <p:nvPr userDrawn="1"/>
          </p:nvGrpSpPr>
          <p:grpSpPr>
            <a:xfrm>
              <a:off x="6586590" y="4706772"/>
              <a:ext cx="99577" cy="158629"/>
              <a:chOff x="6586590" y="4339419"/>
              <a:chExt cx="99577" cy="158629"/>
            </a:xfrm>
          </p:grpSpPr>
          <p:sp>
            <p:nvSpPr>
              <p:cNvPr id="453" name="Rektangel 452">
                <a:extLst>
                  <a:ext uri="{FF2B5EF4-FFF2-40B4-BE49-F238E27FC236}">
                    <a16:creationId xmlns:a16="http://schemas.microsoft.com/office/drawing/2014/main" id="{207B14FD-B98D-4368-8487-8256FAD0B88C}"/>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4" name="Rektangel 453">
                <a:extLst>
                  <a:ext uri="{FF2B5EF4-FFF2-40B4-BE49-F238E27FC236}">
                    <a16:creationId xmlns:a16="http://schemas.microsoft.com/office/drawing/2014/main" id="{BB20D617-EAD9-482A-B345-1CB8664EB16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5" name="Rektangel 454">
                <a:extLst>
                  <a:ext uri="{FF2B5EF4-FFF2-40B4-BE49-F238E27FC236}">
                    <a16:creationId xmlns:a16="http://schemas.microsoft.com/office/drawing/2014/main" id="{94C9A11C-EC30-4742-8AAE-E527C96D8FD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6" name="Rektangel 455">
                <a:extLst>
                  <a:ext uri="{FF2B5EF4-FFF2-40B4-BE49-F238E27FC236}">
                    <a16:creationId xmlns:a16="http://schemas.microsoft.com/office/drawing/2014/main" id="{838364B7-EEE5-4C41-A8CF-AE0E51C3400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5" name="Gruppe 434">
              <a:extLst>
                <a:ext uri="{FF2B5EF4-FFF2-40B4-BE49-F238E27FC236}">
                  <a16:creationId xmlns:a16="http://schemas.microsoft.com/office/drawing/2014/main" id="{D18017AD-1B62-42CA-ADAD-65E3AA0B2C4C}"/>
                </a:ext>
              </a:extLst>
            </p:cNvPr>
            <p:cNvGrpSpPr/>
            <p:nvPr userDrawn="1"/>
          </p:nvGrpSpPr>
          <p:grpSpPr>
            <a:xfrm>
              <a:off x="6586590" y="4945485"/>
              <a:ext cx="99577" cy="130933"/>
              <a:chOff x="6586590" y="4107944"/>
              <a:chExt cx="99577" cy="130933"/>
            </a:xfrm>
          </p:grpSpPr>
          <p:sp>
            <p:nvSpPr>
              <p:cNvPr id="450" name="Rektangel 449">
                <a:extLst>
                  <a:ext uri="{FF2B5EF4-FFF2-40B4-BE49-F238E27FC236}">
                    <a16:creationId xmlns:a16="http://schemas.microsoft.com/office/drawing/2014/main" id="{8898BCDD-799D-4C8A-B6C5-47FBAA91E470}"/>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1" name="Rektangel 450">
                <a:extLst>
                  <a:ext uri="{FF2B5EF4-FFF2-40B4-BE49-F238E27FC236}">
                    <a16:creationId xmlns:a16="http://schemas.microsoft.com/office/drawing/2014/main" id="{829DF5CA-99D7-4BEA-A853-139E694C45B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2" name="Rektangel: øverste hjørner afrundet 451">
                <a:extLst>
                  <a:ext uri="{FF2B5EF4-FFF2-40B4-BE49-F238E27FC236}">
                    <a16:creationId xmlns:a16="http://schemas.microsoft.com/office/drawing/2014/main" id="{C626CF3A-ABD1-4825-A7F8-5E0C85AE173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6" name="Gruppe 435">
              <a:extLst>
                <a:ext uri="{FF2B5EF4-FFF2-40B4-BE49-F238E27FC236}">
                  <a16:creationId xmlns:a16="http://schemas.microsoft.com/office/drawing/2014/main" id="{463926AD-996F-4477-BAC7-A11160DBD5BF}"/>
                </a:ext>
              </a:extLst>
            </p:cNvPr>
            <p:cNvGrpSpPr/>
            <p:nvPr userDrawn="1"/>
          </p:nvGrpSpPr>
          <p:grpSpPr>
            <a:xfrm>
              <a:off x="6586590" y="5156502"/>
              <a:ext cx="99577" cy="158629"/>
              <a:chOff x="6586590" y="4339419"/>
              <a:chExt cx="99577" cy="158629"/>
            </a:xfrm>
          </p:grpSpPr>
          <p:sp>
            <p:nvSpPr>
              <p:cNvPr id="446" name="Rektangel 445">
                <a:extLst>
                  <a:ext uri="{FF2B5EF4-FFF2-40B4-BE49-F238E27FC236}">
                    <a16:creationId xmlns:a16="http://schemas.microsoft.com/office/drawing/2014/main" id="{03D67241-DBD1-446D-906B-347B4A293C8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7" name="Rektangel 446">
                <a:extLst>
                  <a:ext uri="{FF2B5EF4-FFF2-40B4-BE49-F238E27FC236}">
                    <a16:creationId xmlns:a16="http://schemas.microsoft.com/office/drawing/2014/main" id="{EEB78B13-DEE7-41F6-92FE-F49DCCB79798}"/>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8" name="Rektangel 447">
                <a:extLst>
                  <a:ext uri="{FF2B5EF4-FFF2-40B4-BE49-F238E27FC236}">
                    <a16:creationId xmlns:a16="http://schemas.microsoft.com/office/drawing/2014/main" id="{77A651AF-EF0D-41B2-B847-101EDB0047F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9" name="Rektangel 448">
                <a:extLst>
                  <a:ext uri="{FF2B5EF4-FFF2-40B4-BE49-F238E27FC236}">
                    <a16:creationId xmlns:a16="http://schemas.microsoft.com/office/drawing/2014/main" id="{3AF05908-5F37-42B3-87E8-3F832662F0B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67" name="Gruppe 466">
            <a:extLst>
              <a:ext uri="{FF2B5EF4-FFF2-40B4-BE49-F238E27FC236}">
                <a16:creationId xmlns:a16="http://schemas.microsoft.com/office/drawing/2014/main" id="{D9FFD7B8-761A-4233-9AF8-3F19A497BA88}"/>
              </a:ext>
            </a:extLst>
          </p:cNvPr>
          <p:cNvGrpSpPr/>
          <p:nvPr userDrawn="1"/>
        </p:nvGrpSpPr>
        <p:grpSpPr>
          <a:xfrm>
            <a:off x="6954962" y="4046025"/>
            <a:ext cx="99577" cy="1269106"/>
            <a:chOff x="6586590" y="4046025"/>
            <a:chExt cx="99577" cy="1269106"/>
          </a:xfrm>
        </p:grpSpPr>
        <p:grpSp>
          <p:nvGrpSpPr>
            <p:cNvPr id="468" name="Gruppe 467">
              <a:extLst>
                <a:ext uri="{FF2B5EF4-FFF2-40B4-BE49-F238E27FC236}">
                  <a16:creationId xmlns:a16="http://schemas.microsoft.com/office/drawing/2014/main" id="{0A8812F7-A286-412E-A258-940E66FA7595}"/>
                </a:ext>
              </a:extLst>
            </p:cNvPr>
            <p:cNvGrpSpPr/>
            <p:nvPr userDrawn="1"/>
          </p:nvGrpSpPr>
          <p:grpSpPr>
            <a:xfrm>
              <a:off x="6586590" y="4046025"/>
              <a:ext cx="99577" cy="130933"/>
              <a:chOff x="6586590" y="4107944"/>
              <a:chExt cx="99577" cy="130933"/>
            </a:xfrm>
          </p:grpSpPr>
          <p:sp>
            <p:nvSpPr>
              <p:cNvPr id="501" name="Rektangel 500">
                <a:extLst>
                  <a:ext uri="{FF2B5EF4-FFF2-40B4-BE49-F238E27FC236}">
                    <a16:creationId xmlns:a16="http://schemas.microsoft.com/office/drawing/2014/main" id="{E9D52A4F-8971-4725-A325-DB2407682753}"/>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2" name="Rektangel 501">
                <a:extLst>
                  <a:ext uri="{FF2B5EF4-FFF2-40B4-BE49-F238E27FC236}">
                    <a16:creationId xmlns:a16="http://schemas.microsoft.com/office/drawing/2014/main" id="{792A86EC-BA74-42F4-85A1-DBC00135A63C}"/>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3" name="Rektangel: øverste hjørner afrundet 502">
                <a:extLst>
                  <a:ext uri="{FF2B5EF4-FFF2-40B4-BE49-F238E27FC236}">
                    <a16:creationId xmlns:a16="http://schemas.microsoft.com/office/drawing/2014/main" id="{C3C4CD40-71F5-454F-85F7-D04C6AA6087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69" name="Gruppe 468">
              <a:extLst>
                <a:ext uri="{FF2B5EF4-FFF2-40B4-BE49-F238E27FC236}">
                  <a16:creationId xmlns:a16="http://schemas.microsoft.com/office/drawing/2014/main" id="{59E3B372-0F8D-44AF-9DB8-1FE3E4CB844E}"/>
                </a:ext>
              </a:extLst>
            </p:cNvPr>
            <p:cNvGrpSpPr/>
            <p:nvPr userDrawn="1"/>
          </p:nvGrpSpPr>
          <p:grpSpPr>
            <a:xfrm>
              <a:off x="6586590" y="4257042"/>
              <a:ext cx="99577" cy="158629"/>
              <a:chOff x="6586590" y="4339419"/>
              <a:chExt cx="99577" cy="158629"/>
            </a:xfrm>
          </p:grpSpPr>
          <p:sp>
            <p:nvSpPr>
              <p:cNvPr id="497" name="Rektangel 496">
                <a:extLst>
                  <a:ext uri="{FF2B5EF4-FFF2-40B4-BE49-F238E27FC236}">
                    <a16:creationId xmlns:a16="http://schemas.microsoft.com/office/drawing/2014/main" id="{9CF914FA-2505-4268-9D19-73F7C604807D}"/>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8" name="Rektangel 497">
                <a:extLst>
                  <a:ext uri="{FF2B5EF4-FFF2-40B4-BE49-F238E27FC236}">
                    <a16:creationId xmlns:a16="http://schemas.microsoft.com/office/drawing/2014/main" id="{93226638-AA1F-4891-A665-CB969667D64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9" name="Rektangel 498">
                <a:extLst>
                  <a:ext uri="{FF2B5EF4-FFF2-40B4-BE49-F238E27FC236}">
                    <a16:creationId xmlns:a16="http://schemas.microsoft.com/office/drawing/2014/main" id="{6929DE60-88AF-4C55-923A-DE22FB5F06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0" name="Rektangel 499">
                <a:extLst>
                  <a:ext uri="{FF2B5EF4-FFF2-40B4-BE49-F238E27FC236}">
                    <a16:creationId xmlns:a16="http://schemas.microsoft.com/office/drawing/2014/main" id="{D70D46E5-3E47-431B-8396-81B2A5BDFFD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0" name="Gruppe 469">
              <a:extLst>
                <a:ext uri="{FF2B5EF4-FFF2-40B4-BE49-F238E27FC236}">
                  <a16:creationId xmlns:a16="http://schemas.microsoft.com/office/drawing/2014/main" id="{38B56FBD-898E-476D-83D4-9A321BC4CCF4}"/>
                </a:ext>
              </a:extLst>
            </p:cNvPr>
            <p:cNvGrpSpPr/>
            <p:nvPr userDrawn="1"/>
          </p:nvGrpSpPr>
          <p:grpSpPr>
            <a:xfrm>
              <a:off x="6586590" y="4495755"/>
              <a:ext cx="99577" cy="130933"/>
              <a:chOff x="6586590" y="4107944"/>
              <a:chExt cx="99577" cy="130933"/>
            </a:xfrm>
          </p:grpSpPr>
          <p:sp>
            <p:nvSpPr>
              <p:cNvPr id="494" name="Rektangel 493">
                <a:extLst>
                  <a:ext uri="{FF2B5EF4-FFF2-40B4-BE49-F238E27FC236}">
                    <a16:creationId xmlns:a16="http://schemas.microsoft.com/office/drawing/2014/main" id="{CC98DDDB-0316-4B30-A53B-C62C3FDF5C8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5" name="Rektangel 494">
                <a:extLst>
                  <a:ext uri="{FF2B5EF4-FFF2-40B4-BE49-F238E27FC236}">
                    <a16:creationId xmlns:a16="http://schemas.microsoft.com/office/drawing/2014/main" id="{F7D3FB00-1376-4BC6-8605-8F31640F5D8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6" name="Rektangel: øverste hjørner afrundet 495">
                <a:extLst>
                  <a:ext uri="{FF2B5EF4-FFF2-40B4-BE49-F238E27FC236}">
                    <a16:creationId xmlns:a16="http://schemas.microsoft.com/office/drawing/2014/main" id="{1BFA9BC0-1F11-41E0-9671-D1E06246A55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1" name="Gruppe 470">
              <a:extLst>
                <a:ext uri="{FF2B5EF4-FFF2-40B4-BE49-F238E27FC236}">
                  <a16:creationId xmlns:a16="http://schemas.microsoft.com/office/drawing/2014/main" id="{B403ADE5-6BCE-451B-BADC-08A8D537C67C}"/>
                </a:ext>
              </a:extLst>
            </p:cNvPr>
            <p:cNvGrpSpPr/>
            <p:nvPr userDrawn="1"/>
          </p:nvGrpSpPr>
          <p:grpSpPr>
            <a:xfrm>
              <a:off x="6586590" y="4706772"/>
              <a:ext cx="99577" cy="158629"/>
              <a:chOff x="6586590" y="4339419"/>
              <a:chExt cx="99577" cy="158629"/>
            </a:xfrm>
          </p:grpSpPr>
          <p:sp>
            <p:nvSpPr>
              <p:cNvPr id="490" name="Rektangel 489">
                <a:extLst>
                  <a:ext uri="{FF2B5EF4-FFF2-40B4-BE49-F238E27FC236}">
                    <a16:creationId xmlns:a16="http://schemas.microsoft.com/office/drawing/2014/main" id="{2AD8C0B5-EE14-42DA-947B-297C24031AB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1" name="Rektangel 490">
                <a:extLst>
                  <a:ext uri="{FF2B5EF4-FFF2-40B4-BE49-F238E27FC236}">
                    <a16:creationId xmlns:a16="http://schemas.microsoft.com/office/drawing/2014/main" id="{E2EC1570-2D64-49C7-A92A-F9E2A5156521}"/>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2" name="Rektangel 491">
                <a:extLst>
                  <a:ext uri="{FF2B5EF4-FFF2-40B4-BE49-F238E27FC236}">
                    <a16:creationId xmlns:a16="http://schemas.microsoft.com/office/drawing/2014/main" id="{E35CB2B0-01EC-4B3A-B8DF-D79F591FEE85}"/>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3" name="Rektangel 492">
                <a:extLst>
                  <a:ext uri="{FF2B5EF4-FFF2-40B4-BE49-F238E27FC236}">
                    <a16:creationId xmlns:a16="http://schemas.microsoft.com/office/drawing/2014/main" id="{83464E59-37B0-4BE6-B0AD-D809F376EEE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2" name="Gruppe 471">
              <a:extLst>
                <a:ext uri="{FF2B5EF4-FFF2-40B4-BE49-F238E27FC236}">
                  <a16:creationId xmlns:a16="http://schemas.microsoft.com/office/drawing/2014/main" id="{0561E4ED-BE3B-4043-AF02-8AF2EAE9C040}"/>
                </a:ext>
              </a:extLst>
            </p:cNvPr>
            <p:cNvGrpSpPr/>
            <p:nvPr userDrawn="1"/>
          </p:nvGrpSpPr>
          <p:grpSpPr>
            <a:xfrm>
              <a:off x="6586590" y="4945485"/>
              <a:ext cx="99577" cy="130933"/>
              <a:chOff x="6586590" y="4107944"/>
              <a:chExt cx="99577" cy="130933"/>
            </a:xfrm>
          </p:grpSpPr>
          <p:sp>
            <p:nvSpPr>
              <p:cNvPr id="487" name="Rektangel 486">
                <a:extLst>
                  <a:ext uri="{FF2B5EF4-FFF2-40B4-BE49-F238E27FC236}">
                    <a16:creationId xmlns:a16="http://schemas.microsoft.com/office/drawing/2014/main" id="{A00EAC9C-C2A2-4D17-97EC-ABEFF049C49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8" name="Rektangel 487">
                <a:extLst>
                  <a:ext uri="{FF2B5EF4-FFF2-40B4-BE49-F238E27FC236}">
                    <a16:creationId xmlns:a16="http://schemas.microsoft.com/office/drawing/2014/main" id="{53567470-B4AF-4E29-91A4-38B62CF772F6}"/>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9" name="Rektangel: øverste hjørner afrundet 488">
                <a:extLst>
                  <a:ext uri="{FF2B5EF4-FFF2-40B4-BE49-F238E27FC236}">
                    <a16:creationId xmlns:a16="http://schemas.microsoft.com/office/drawing/2014/main" id="{5F5C3476-DF13-444B-969B-E80758AF0747}"/>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3" name="Gruppe 472">
              <a:extLst>
                <a:ext uri="{FF2B5EF4-FFF2-40B4-BE49-F238E27FC236}">
                  <a16:creationId xmlns:a16="http://schemas.microsoft.com/office/drawing/2014/main" id="{9511BD74-01C0-47B8-95FC-A118D27DF4A0}"/>
                </a:ext>
              </a:extLst>
            </p:cNvPr>
            <p:cNvGrpSpPr/>
            <p:nvPr userDrawn="1"/>
          </p:nvGrpSpPr>
          <p:grpSpPr>
            <a:xfrm>
              <a:off x="6586590" y="5156502"/>
              <a:ext cx="99577" cy="158629"/>
              <a:chOff x="6586590" y="4339419"/>
              <a:chExt cx="99577" cy="158629"/>
            </a:xfrm>
          </p:grpSpPr>
          <p:sp>
            <p:nvSpPr>
              <p:cNvPr id="483" name="Rektangel 482">
                <a:extLst>
                  <a:ext uri="{FF2B5EF4-FFF2-40B4-BE49-F238E27FC236}">
                    <a16:creationId xmlns:a16="http://schemas.microsoft.com/office/drawing/2014/main" id="{71F24A88-43DF-4497-ABDB-145296E8099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4" name="Rektangel 483">
                <a:extLst>
                  <a:ext uri="{FF2B5EF4-FFF2-40B4-BE49-F238E27FC236}">
                    <a16:creationId xmlns:a16="http://schemas.microsoft.com/office/drawing/2014/main" id="{336DDE5E-2E0E-464F-A8E1-DAC0AFE41E47}"/>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5" name="Rektangel 484">
                <a:extLst>
                  <a:ext uri="{FF2B5EF4-FFF2-40B4-BE49-F238E27FC236}">
                    <a16:creationId xmlns:a16="http://schemas.microsoft.com/office/drawing/2014/main" id="{CBBEDBA4-1673-4B5C-BFD1-D2A6B88EFC7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6" name="Rektangel 485">
                <a:extLst>
                  <a:ext uri="{FF2B5EF4-FFF2-40B4-BE49-F238E27FC236}">
                    <a16:creationId xmlns:a16="http://schemas.microsoft.com/office/drawing/2014/main" id="{235D123D-7FE9-4521-A2EA-A928159B7D6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504" name="Gruppe 503">
            <a:extLst>
              <a:ext uri="{FF2B5EF4-FFF2-40B4-BE49-F238E27FC236}">
                <a16:creationId xmlns:a16="http://schemas.microsoft.com/office/drawing/2014/main" id="{487D81BB-7034-49BA-9F91-B615D9C2071B}"/>
              </a:ext>
            </a:extLst>
          </p:cNvPr>
          <p:cNvGrpSpPr/>
          <p:nvPr userDrawn="1"/>
        </p:nvGrpSpPr>
        <p:grpSpPr>
          <a:xfrm>
            <a:off x="7139147" y="4046025"/>
            <a:ext cx="99577" cy="1718833"/>
            <a:chOff x="6586590" y="4046025"/>
            <a:chExt cx="99577" cy="1718833"/>
          </a:xfrm>
        </p:grpSpPr>
        <p:grpSp>
          <p:nvGrpSpPr>
            <p:cNvPr id="505" name="Gruppe 504">
              <a:extLst>
                <a:ext uri="{FF2B5EF4-FFF2-40B4-BE49-F238E27FC236}">
                  <a16:creationId xmlns:a16="http://schemas.microsoft.com/office/drawing/2014/main" id="{EDAFB757-0B5F-4600-8C70-17F9A79EBF46}"/>
                </a:ext>
              </a:extLst>
            </p:cNvPr>
            <p:cNvGrpSpPr/>
            <p:nvPr userDrawn="1"/>
          </p:nvGrpSpPr>
          <p:grpSpPr>
            <a:xfrm>
              <a:off x="6586590" y="4046025"/>
              <a:ext cx="99577" cy="130933"/>
              <a:chOff x="6586590" y="4107944"/>
              <a:chExt cx="99577" cy="130933"/>
            </a:xfrm>
          </p:grpSpPr>
          <p:sp>
            <p:nvSpPr>
              <p:cNvPr id="538" name="Rektangel 537">
                <a:extLst>
                  <a:ext uri="{FF2B5EF4-FFF2-40B4-BE49-F238E27FC236}">
                    <a16:creationId xmlns:a16="http://schemas.microsoft.com/office/drawing/2014/main" id="{422844BD-3B4C-4954-8E86-2AB2E04927EF}"/>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9" name="Rektangel 538">
                <a:extLst>
                  <a:ext uri="{FF2B5EF4-FFF2-40B4-BE49-F238E27FC236}">
                    <a16:creationId xmlns:a16="http://schemas.microsoft.com/office/drawing/2014/main" id="{90D5ED91-7DE8-4AD4-B730-0A336C1BABA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0" name="Rektangel: øverste hjørner afrundet 539">
                <a:extLst>
                  <a:ext uri="{FF2B5EF4-FFF2-40B4-BE49-F238E27FC236}">
                    <a16:creationId xmlns:a16="http://schemas.microsoft.com/office/drawing/2014/main" id="{E5D434BC-4C28-41FE-99CC-22B421FEC9C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6" name="Gruppe 505">
              <a:extLst>
                <a:ext uri="{FF2B5EF4-FFF2-40B4-BE49-F238E27FC236}">
                  <a16:creationId xmlns:a16="http://schemas.microsoft.com/office/drawing/2014/main" id="{EAB9973D-7BB2-4A41-8E53-DD7A973A2F80}"/>
                </a:ext>
              </a:extLst>
            </p:cNvPr>
            <p:cNvGrpSpPr/>
            <p:nvPr userDrawn="1"/>
          </p:nvGrpSpPr>
          <p:grpSpPr>
            <a:xfrm>
              <a:off x="6586590" y="4257042"/>
              <a:ext cx="99577" cy="158629"/>
              <a:chOff x="6586590" y="4339419"/>
              <a:chExt cx="99577" cy="158629"/>
            </a:xfrm>
          </p:grpSpPr>
          <p:sp>
            <p:nvSpPr>
              <p:cNvPr id="534" name="Rektangel 533">
                <a:extLst>
                  <a:ext uri="{FF2B5EF4-FFF2-40B4-BE49-F238E27FC236}">
                    <a16:creationId xmlns:a16="http://schemas.microsoft.com/office/drawing/2014/main" id="{065A8711-C107-410E-AF0D-8ED899754200}"/>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5" name="Rektangel 534">
                <a:extLst>
                  <a:ext uri="{FF2B5EF4-FFF2-40B4-BE49-F238E27FC236}">
                    <a16:creationId xmlns:a16="http://schemas.microsoft.com/office/drawing/2014/main" id="{A85A67EE-8D0D-4682-8F38-32DE3155173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6" name="Rektangel 535">
                <a:extLst>
                  <a:ext uri="{FF2B5EF4-FFF2-40B4-BE49-F238E27FC236}">
                    <a16:creationId xmlns:a16="http://schemas.microsoft.com/office/drawing/2014/main" id="{06A56B14-173B-400B-B6D5-A04FF997C9F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7" name="Rektangel 536">
                <a:extLst>
                  <a:ext uri="{FF2B5EF4-FFF2-40B4-BE49-F238E27FC236}">
                    <a16:creationId xmlns:a16="http://schemas.microsoft.com/office/drawing/2014/main" id="{9BA1F6C7-9495-42D0-A081-C47A9BC485FC}"/>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7" name="Gruppe 506">
              <a:extLst>
                <a:ext uri="{FF2B5EF4-FFF2-40B4-BE49-F238E27FC236}">
                  <a16:creationId xmlns:a16="http://schemas.microsoft.com/office/drawing/2014/main" id="{5434D7DE-41C3-4090-9891-67A4B9560134}"/>
                </a:ext>
              </a:extLst>
            </p:cNvPr>
            <p:cNvGrpSpPr/>
            <p:nvPr userDrawn="1"/>
          </p:nvGrpSpPr>
          <p:grpSpPr>
            <a:xfrm>
              <a:off x="6586590" y="4495755"/>
              <a:ext cx="99577" cy="130933"/>
              <a:chOff x="6586590" y="4107944"/>
              <a:chExt cx="99577" cy="130933"/>
            </a:xfrm>
          </p:grpSpPr>
          <p:sp>
            <p:nvSpPr>
              <p:cNvPr id="531" name="Rektangel 530">
                <a:extLst>
                  <a:ext uri="{FF2B5EF4-FFF2-40B4-BE49-F238E27FC236}">
                    <a16:creationId xmlns:a16="http://schemas.microsoft.com/office/drawing/2014/main" id="{228B2903-14D7-4F40-B4B9-1FEBE163343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2" name="Rektangel 531">
                <a:extLst>
                  <a:ext uri="{FF2B5EF4-FFF2-40B4-BE49-F238E27FC236}">
                    <a16:creationId xmlns:a16="http://schemas.microsoft.com/office/drawing/2014/main" id="{7A608E58-6C12-46AB-A822-6A52537BD4C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3" name="Rektangel: øverste hjørner afrundet 532">
                <a:extLst>
                  <a:ext uri="{FF2B5EF4-FFF2-40B4-BE49-F238E27FC236}">
                    <a16:creationId xmlns:a16="http://schemas.microsoft.com/office/drawing/2014/main" id="{8B6B8521-025B-47AA-BD17-2D68DD00F5B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8" name="Gruppe 507">
              <a:extLst>
                <a:ext uri="{FF2B5EF4-FFF2-40B4-BE49-F238E27FC236}">
                  <a16:creationId xmlns:a16="http://schemas.microsoft.com/office/drawing/2014/main" id="{155F0DD3-557B-4D40-A98A-AC07475A8049}"/>
                </a:ext>
              </a:extLst>
            </p:cNvPr>
            <p:cNvGrpSpPr/>
            <p:nvPr userDrawn="1"/>
          </p:nvGrpSpPr>
          <p:grpSpPr>
            <a:xfrm>
              <a:off x="6586590" y="4706772"/>
              <a:ext cx="99577" cy="158629"/>
              <a:chOff x="6586590" y="4339419"/>
              <a:chExt cx="99577" cy="158629"/>
            </a:xfrm>
          </p:grpSpPr>
          <p:sp>
            <p:nvSpPr>
              <p:cNvPr id="527" name="Rektangel 526">
                <a:extLst>
                  <a:ext uri="{FF2B5EF4-FFF2-40B4-BE49-F238E27FC236}">
                    <a16:creationId xmlns:a16="http://schemas.microsoft.com/office/drawing/2014/main" id="{0E534F49-B78E-4F53-BE1F-16837AA450A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8" name="Rektangel 527">
                <a:extLst>
                  <a:ext uri="{FF2B5EF4-FFF2-40B4-BE49-F238E27FC236}">
                    <a16:creationId xmlns:a16="http://schemas.microsoft.com/office/drawing/2014/main" id="{45922AAA-0B26-4325-AC96-B660469F690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9" name="Rektangel 528">
                <a:extLst>
                  <a:ext uri="{FF2B5EF4-FFF2-40B4-BE49-F238E27FC236}">
                    <a16:creationId xmlns:a16="http://schemas.microsoft.com/office/drawing/2014/main" id="{C5F48C3B-57B5-400E-A79F-A1998357166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0" name="Rektangel 529">
                <a:extLst>
                  <a:ext uri="{FF2B5EF4-FFF2-40B4-BE49-F238E27FC236}">
                    <a16:creationId xmlns:a16="http://schemas.microsoft.com/office/drawing/2014/main" id="{58127A49-5404-47DB-8E2F-39912ED1F3F2}"/>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9" name="Gruppe 508">
              <a:extLst>
                <a:ext uri="{FF2B5EF4-FFF2-40B4-BE49-F238E27FC236}">
                  <a16:creationId xmlns:a16="http://schemas.microsoft.com/office/drawing/2014/main" id="{78976A30-D8D9-4AF1-A115-60CF85FB28A6}"/>
                </a:ext>
              </a:extLst>
            </p:cNvPr>
            <p:cNvGrpSpPr/>
            <p:nvPr userDrawn="1"/>
          </p:nvGrpSpPr>
          <p:grpSpPr>
            <a:xfrm>
              <a:off x="6586590" y="4945485"/>
              <a:ext cx="99577" cy="130933"/>
              <a:chOff x="6586590" y="4107944"/>
              <a:chExt cx="99577" cy="130933"/>
            </a:xfrm>
          </p:grpSpPr>
          <p:sp>
            <p:nvSpPr>
              <p:cNvPr id="524" name="Rektangel 523">
                <a:extLst>
                  <a:ext uri="{FF2B5EF4-FFF2-40B4-BE49-F238E27FC236}">
                    <a16:creationId xmlns:a16="http://schemas.microsoft.com/office/drawing/2014/main" id="{39D0AD58-8746-4240-BCC5-9C28F3D9759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5" name="Rektangel 524">
                <a:extLst>
                  <a:ext uri="{FF2B5EF4-FFF2-40B4-BE49-F238E27FC236}">
                    <a16:creationId xmlns:a16="http://schemas.microsoft.com/office/drawing/2014/main" id="{2D053CD5-1557-424C-81D8-9262BEA85DF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6" name="Rektangel: øverste hjørner afrundet 525">
                <a:extLst>
                  <a:ext uri="{FF2B5EF4-FFF2-40B4-BE49-F238E27FC236}">
                    <a16:creationId xmlns:a16="http://schemas.microsoft.com/office/drawing/2014/main" id="{DD90DAF1-17CF-4972-8835-F67EC6E3E211}"/>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0" name="Gruppe 509">
              <a:extLst>
                <a:ext uri="{FF2B5EF4-FFF2-40B4-BE49-F238E27FC236}">
                  <a16:creationId xmlns:a16="http://schemas.microsoft.com/office/drawing/2014/main" id="{AFFE7990-31D2-4B8C-AFED-301B17E73DBD}"/>
                </a:ext>
              </a:extLst>
            </p:cNvPr>
            <p:cNvGrpSpPr/>
            <p:nvPr userDrawn="1"/>
          </p:nvGrpSpPr>
          <p:grpSpPr>
            <a:xfrm>
              <a:off x="6586590" y="5156502"/>
              <a:ext cx="99577" cy="158629"/>
              <a:chOff x="6586590" y="4339419"/>
              <a:chExt cx="99577" cy="158629"/>
            </a:xfrm>
          </p:grpSpPr>
          <p:sp>
            <p:nvSpPr>
              <p:cNvPr id="520" name="Rektangel 519">
                <a:extLst>
                  <a:ext uri="{FF2B5EF4-FFF2-40B4-BE49-F238E27FC236}">
                    <a16:creationId xmlns:a16="http://schemas.microsoft.com/office/drawing/2014/main" id="{642FD02F-1614-4EF4-8251-56F94EA5E554}"/>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1" name="Rektangel 520">
                <a:extLst>
                  <a:ext uri="{FF2B5EF4-FFF2-40B4-BE49-F238E27FC236}">
                    <a16:creationId xmlns:a16="http://schemas.microsoft.com/office/drawing/2014/main" id="{5F6224AA-66D9-4F3C-AD2A-46B654B4AF94}"/>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2" name="Rektangel 521">
                <a:extLst>
                  <a:ext uri="{FF2B5EF4-FFF2-40B4-BE49-F238E27FC236}">
                    <a16:creationId xmlns:a16="http://schemas.microsoft.com/office/drawing/2014/main" id="{68ECDDE5-1739-4C6A-9E7A-CF68C094D7BA}"/>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3" name="Rektangel 522">
                <a:extLst>
                  <a:ext uri="{FF2B5EF4-FFF2-40B4-BE49-F238E27FC236}">
                    <a16:creationId xmlns:a16="http://schemas.microsoft.com/office/drawing/2014/main" id="{D2FA6F5B-9127-4C45-89D7-7935010F262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1" name="Gruppe 510">
              <a:extLst>
                <a:ext uri="{FF2B5EF4-FFF2-40B4-BE49-F238E27FC236}">
                  <a16:creationId xmlns:a16="http://schemas.microsoft.com/office/drawing/2014/main" id="{BD45FD44-F3BC-4849-9601-CA6AD8851D42}"/>
                </a:ext>
              </a:extLst>
            </p:cNvPr>
            <p:cNvGrpSpPr/>
            <p:nvPr userDrawn="1"/>
          </p:nvGrpSpPr>
          <p:grpSpPr>
            <a:xfrm>
              <a:off x="6586590" y="5395215"/>
              <a:ext cx="99577" cy="130933"/>
              <a:chOff x="6586590" y="4107944"/>
              <a:chExt cx="99577" cy="130933"/>
            </a:xfrm>
          </p:grpSpPr>
          <p:sp>
            <p:nvSpPr>
              <p:cNvPr id="517" name="Rektangel 516">
                <a:extLst>
                  <a:ext uri="{FF2B5EF4-FFF2-40B4-BE49-F238E27FC236}">
                    <a16:creationId xmlns:a16="http://schemas.microsoft.com/office/drawing/2014/main" id="{5F7E2960-7EDD-4022-9C40-B00A20A0631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8" name="Rektangel 517">
                <a:extLst>
                  <a:ext uri="{FF2B5EF4-FFF2-40B4-BE49-F238E27FC236}">
                    <a16:creationId xmlns:a16="http://schemas.microsoft.com/office/drawing/2014/main" id="{7CB73619-9A2D-4896-8C1F-4E97E04D39B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9" name="Rektangel: øverste hjørner afrundet 518">
                <a:extLst>
                  <a:ext uri="{FF2B5EF4-FFF2-40B4-BE49-F238E27FC236}">
                    <a16:creationId xmlns:a16="http://schemas.microsoft.com/office/drawing/2014/main" id="{12CDE575-588C-4CA6-8E71-0323DCA76438}"/>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2" name="Gruppe 511">
              <a:extLst>
                <a:ext uri="{FF2B5EF4-FFF2-40B4-BE49-F238E27FC236}">
                  <a16:creationId xmlns:a16="http://schemas.microsoft.com/office/drawing/2014/main" id="{391A61A0-D5DA-43BD-A7A3-44117A327FB6}"/>
                </a:ext>
              </a:extLst>
            </p:cNvPr>
            <p:cNvGrpSpPr/>
            <p:nvPr userDrawn="1"/>
          </p:nvGrpSpPr>
          <p:grpSpPr>
            <a:xfrm>
              <a:off x="6586590" y="5606229"/>
              <a:ext cx="99577" cy="158629"/>
              <a:chOff x="6586590" y="4339419"/>
              <a:chExt cx="99577" cy="158629"/>
            </a:xfrm>
          </p:grpSpPr>
          <p:sp>
            <p:nvSpPr>
              <p:cNvPr id="513" name="Rektangel 512">
                <a:extLst>
                  <a:ext uri="{FF2B5EF4-FFF2-40B4-BE49-F238E27FC236}">
                    <a16:creationId xmlns:a16="http://schemas.microsoft.com/office/drawing/2014/main" id="{7D7F0A32-770E-49F2-8729-84A90BA54A6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4" name="Rektangel 513">
                <a:extLst>
                  <a:ext uri="{FF2B5EF4-FFF2-40B4-BE49-F238E27FC236}">
                    <a16:creationId xmlns:a16="http://schemas.microsoft.com/office/drawing/2014/main" id="{7DB3BDBB-C92B-4747-B9A6-861B86DE1AE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5" name="Rektangel 514">
                <a:extLst>
                  <a:ext uri="{FF2B5EF4-FFF2-40B4-BE49-F238E27FC236}">
                    <a16:creationId xmlns:a16="http://schemas.microsoft.com/office/drawing/2014/main" id="{6121A64A-344E-4B6F-8A15-34168A0BA36C}"/>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6" name="Rektangel 515">
                <a:extLst>
                  <a:ext uri="{FF2B5EF4-FFF2-40B4-BE49-F238E27FC236}">
                    <a16:creationId xmlns:a16="http://schemas.microsoft.com/office/drawing/2014/main" id="{E0C515B9-60AD-4FD8-BCB7-65EEF52D9D18}"/>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186" name="Gruppe 185">
            <a:extLst>
              <a:ext uri="{FF2B5EF4-FFF2-40B4-BE49-F238E27FC236}">
                <a16:creationId xmlns:a16="http://schemas.microsoft.com/office/drawing/2014/main" id="{A3E3B51A-20D4-484D-826E-22A4AC81101D}"/>
              </a:ext>
            </a:extLst>
          </p:cNvPr>
          <p:cNvGrpSpPr/>
          <p:nvPr userDrawn="1"/>
        </p:nvGrpSpPr>
        <p:grpSpPr>
          <a:xfrm flipH="1">
            <a:off x="7019767" y="5466888"/>
            <a:ext cx="832613" cy="515242"/>
            <a:chOff x="5878302" y="5164076"/>
            <a:chExt cx="916095" cy="739089"/>
          </a:xfrm>
          <a:solidFill>
            <a:schemeClr val="accent4">
              <a:lumMod val="60000"/>
              <a:lumOff val="40000"/>
            </a:schemeClr>
          </a:solidFill>
        </p:grpSpPr>
        <p:grpSp>
          <p:nvGrpSpPr>
            <p:cNvPr id="187" name="Gruppe 186">
              <a:extLst>
                <a:ext uri="{FF2B5EF4-FFF2-40B4-BE49-F238E27FC236}">
                  <a16:creationId xmlns:a16="http://schemas.microsoft.com/office/drawing/2014/main" id="{97381A96-A053-4781-8B05-9EBA3310E0D9}"/>
                </a:ext>
              </a:extLst>
            </p:cNvPr>
            <p:cNvGrpSpPr/>
            <p:nvPr userDrawn="1"/>
          </p:nvGrpSpPr>
          <p:grpSpPr>
            <a:xfrm>
              <a:off x="5878302" y="5164076"/>
              <a:ext cx="916095" cy="739089"/>
              <a:chOff x="6443096" y="5105724"/>
              <a:chExt cx="916095" cy="739089"/>
            </a:xfrm>
            <a:grpFill/>
          </p:grpSpPr>
          <p:sp>
            <p:nvSpPr>
              <p:cNvPr id="189" name="Rektangel 188">
                <a:extLst>
                  <a:ext uri="{FF2B5EF4-FFF2-40B4-BE49-F238E27FC236}">
                    <a16:creationId xmlns:a16="http://schemas.microsoft.com/office/drawing/2014/main" id="{3EDE9D0A-39A8-4AB7-B2E9-6CCAD0CA6FC6}"/>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Ellipse 189">
                <a:extLst>
                  <a:ext uri="{FF2B5EF4-FFF2-40B4-BE49-F238E27FC236}">
                    <a16:creationId xmlns:a16="http://schemas.microsoft.com/office/drawing/2014/main" id="{51E5522C-96DD-4C4C-90C1-F8911D4B670A}"/>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1" name="Ellipse 190">
                <a:extLst>
                  <a:ext uri="{FF2B5EF4-FFF2-40B4-BE49-F238E27FC236}">
                    <a16:creationId xmlns:a16="http://schemas.microsoft.com/office/drawing/2014/main" id="{C4C62C7D-D8BE-4E75-9970-F24D2F1381B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2" name="Ellipse 191">
                <a:extLst>
                  <a:ext uri="{FF2B5EF4-FFF2-40B4-BE49-F238E27FC236}">
                    <a16:creationId xmlns:a16="http://schemas.microsoft.com/office/drawing/2014/main" id="{4B627D10-4EA6-4B4B-B2BE-5EFA099A140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3" name="Ellipse 192">
                <a:extLst>
                  <a:ext uri="{FF2B5EF4-FFF2-40B4-BE49-F238E27FC236}">
                    <a16:creationId xmlns:a16="http://schemas.microsoft.com/office/drawing/2014/main" id="{547372E9-0BB3-4768-AF90-0AAD85537C11}"/>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8" name="Ellipse 187">
              <a:extLst>
                <a:ext uri="{FF2B5EF4-FFF2-40B4-BE49-F238E27FC236}">
                  <a16:creationId xmlns:a16="http://schemas.microsoft.com/office/drawing/2014/main" id="{F34CE4EA-AAC0-4BA3-B954-1A606C3141B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541" name="Gruppe 540">
            <a:extLst>
              <a:ext uri="{FF2B5EF4-FFF2-40B4-BE49-F238E27FC236}">
                <a16:creationId xmlns:a16="http://schemas.microsoft.com/office/drawing/2014/main" id="{FC41F19C-BC9A-49F8-B982-60AD6A645885}"/>
              </a:ext>
            </a:extLst>
          </p:cNvPr>
          <p:cNvGrpSpPr/>
          <p:nvPr userDrawn="1"/>
        </p:nvGrpSpPr>
        <p:grpSpPr>
          <a:xfrm>
            <a:off x="5989017" y="5230207"/>
            <a:ext cx="916095" cy="739089"/>
            <a:chOff x="5878302" y="5164076"/>
            <a:chExt cx="916095" cy="739089"/>
          </a:xfrm>
        </p:grpSpPr>
        <p:grpSp>
          <p:nvGrpSpPr>
            <p:cNvPr id="542" name="Gruppe 541">
              <a:extLst>
                <a:ext uri="{FF2B5EF4-FFF2-40B4-BE49-F238E27FC236}">
                  <a16:creationId xmlns:a16="http://schemas.microsoft.com/office/drawing/2014/main" id="{DF86FE1F-EE9C-43EC-9516-A9FF819B9263}"/>
                </a:ext>
              </a:extLst>
            </p:cNvPr>
            <p:cNvGrpSpPr/>
            <p:nvPr userDrawn="1"/>
          </p:nvGrpSpPr>
          <p:grpSpPr>
            <a:xfrm>
              <a:off x="5878302" y="5164076"/>
              <a:ext cx="916095" cy="739089"/>
              <a:chOff x="6443096" y="5105724"/>
              <a:chExt cx="916095" cy="739089"/>
            </a:xfrm>
          </p:grpSpPr>
          <p:sp>
            <p:nvSpPr>
              <p:cNvPr id="544" name="Rektangel 543">
                <a:extLst>
                  <a:ext uri="{FF2B5EF4-FFF2-40B4-BE49-F238E27FC236}">
                    <a16:creationId xmlns:a16="http://schemas.microsoft.com/office/drawing/2014/main" id="{E898AF9A-B010-49F6-8D28-EF7914B30C1E}"/>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5" name="Ellipse 544">
                <a:extLst>
                  <a:ext uri="{FF2B5EF4-FFF2-40B4-BE49-F238E27FC236}">
                    <a16:creationId xmlns:a16="http://schemas.microsoft.com/office/drawing/2014/main" id="{A802A087-DAF1-4DF7-9264-2D37AB4973E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6" name="Ellipse 545">
                <a:extLst>
                  <a:ext uri="{FF2B5EF4-FFF2-40B4-BE49-F238E27FC236}">
                    <a16:creationId xmlns:a16="http://schemas.microsoft.com/office/drawing/2014/main" id="{37DEBFFC-1705-4305-A83C-0C4223E40B80}"/>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7" name="Ellipse 546">
                <a:extLst>
                  <a:ext uri="{FF2B5EF4-FFF2-40B4-BE49-F238E27FC236}">
                    <a16:creationId xmlns:a16="http://schemas.microsoft.com/office/drawing/2014/main" id="{214F247A-917A-4ADF-92E1-B15DB347252F}"/>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8" name="Ellipse 547">
                <a:extLst>
                  <a:ext uri="{FF2B5EF4-FFF2-40B4-BE49-F238E27FC236}">
                    <a16:creationId xmlns:a16="http://schemas.microsoft.com/office/drawing/2014/main" id="{8A70A2AB-9975-40CE-9DAA-8605F6A077CD}"/>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543" name="Ellipse 542">
              <a:extLst>
                <a:ext uri="{FF2B5EF4-FFF2-40B4-BE49-F238E27FC236}">
                  <a16:creationId xmlns:a16="http://schemas.microsoft.com/office/drawing/2014/main" id="{08F77261-16CD-4A76-AB6F-21D4A0775C46}"/>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42935962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rederiksberg 2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5" name="Rektangel 124">
            <a:extLst>
              <a:ext uri="{FF2B5EF4-FFF2-40B4-BE49-F238E27FC236}">
                <a16:creationId xmlns:a16="http://schemas.microsoft.com/office/drawing/2014/main" id="{7B398603-DD18-4A94-AC46-5C76B75BABC7}"/>
              </a:ext>
            </a:extLst>
          </p:cNvPr>
          <p:cNvSpPr/>
          <p:nvPr userDrawn="1"/>
        </p:nvSpPr>
        <p:spPr>
          <a:xfrm>
            <a:off x="8373626" y="4164070"/>
            <a:ext cx="945815" cy="133191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6" name="Rektangel 245">
            <a:extLst>
              <a:ext uri="{FF2B5EF4-FFF2-40B4-BE49-F238E27FC236}">
                <a16:creationId xmlns:a16="http://schemas.microsoft.com/office/drawing/2014/main" id="{3D351234-FBA0-44E8-83A7-3D596FC40969}"/>
              </a:ext>
            </a:extLst>
          </p:cNvPr>
          <p:cNvSpPr/>
          <p:nvPr userDrawn="1"/>
        </p:nvSpPr>
        <p:spPr>
          <a:xfrm>
            <a:off x="9042828" y="3836241"/>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8" name="Rektangel 387">
            <a:extLst>
              <a:ext uri="{FF2B5EF4-FFF2-40B4-BE49-F238E27FC236}">
                <a16:creationId xmlns:a16="http://schemas.microsoft.com/office/drawing/2014/main" id="{A6B44A22-3509-4442-9BB4-715149EE82F4}"/>
              </a:ext>
            </a:extLst>
          </p:cNvPr>
          <p:cNvSpPr/>
          <p:nvPr userDrawn="1"/>
        </p:nvSpPr>
        <p:spPr>
          <a:xfrm>
            <a:off x="9029517" y="3794530"/>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6" name="Ligebenet trapez 165">
            <a:extLst>
              <a:ext uri="{FF2B5EF4-FFF2-40B4-BE49-F238E27FC236}">
                <a16:creationId xmlns:a16="http://schemas.microsoft.com/office/drawing/2014/main" id="{54D76662-1916-47DA-8C37-39DA0E99BC31}"/>
              </a:ext>
            </a:extLst>
          </p:cNvPr>
          <p:cNvSpPr/>
          <p:nvPr userDrawn="1"/>
        </p:nvSpPr>
        <p:spPr>
          <a:xfrm>
            <a:off x="8190479" y="3924819"/>
            <a:ext cx="1312109"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0" name="Gruppe 29">
            <a:extLst>
              <a:ext uri="{FF2B5EF4-FFF2-40B4-BE49-F238E27FC236}">
                <a16:creationId xmlns:a16="http://schemas.microsoft.com/office/drawing/2014/main" id="{2CF35544-BECF-4CE1-B255-AF7DA3AAE046}"/>
              </a:ext>
            </a:extLst>
          </p:cNvPr>
          <p:cNvGrpSpPr/>
          <p:nvPr userDrawn="1"/>
        </p:nvGrpSpPr>
        <p:grpSpPr>
          <a:xfrm>
            <a:off x="8421584" y="4253710"/>
            <a:ext cx="99577" cy="158629"/>
            <a:chOff x="8421584" y="4256885"/>
            <a:chExt cx="99577" cy="158629"/>
          </a:xfrm>
        </p:grpSpPr>
        <p:sp>
          <p:nvSpPr>
            <p:cNvPr id="551" name="Rektangel 550">
              <a:extLst>
                <a:ext uri="{FF2B5EF4-FFF2-40B4-BE49-F238E27FC236}">
                  <a16:creationId xmlns:a16="http://schemas.microsoft.com/office/drawing/2014/main" id="{B9D2D379-C222-4F4C-A991-5283A8150378}"/>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2" name="Rektangel 551">
              <a:extLst>
                <a:ext uri="{FF2B5EF4-FFF2-40B4-BE49-F238E27FC236}">
                  <a16:creationId xmlns:a16="http://schemas.microsoft.com/office/drawing/2014/main" id="{45B4894F-8191-4768-8EED-14FDE0CA49F3}"/>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3" name="Rektangel 552">
              <a:extLst>
                <a:ext uri="{FF2B5EF4-FFF2-40B4-BE49-F238E27FC236}">
                  <a16:creationId xmlns:a16="http://schemas.microsoft.com/office/drawing/2014/main" id="{B0E13E2B-33E5-450D-8139-E61210A5C87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4" name="Rektangel 553">
              <a:extLst>
                <a:ext uri="{FF2B5EF4-FFF2-40B4-BE49-F238E27FC236}">
                  <a16:creationId xmlns:a16="http://schemas.microsoft.com/office/drawing/2014/main" id="{8A0E2588-FB73-4E64-A33D-F180E2A32BC6}"/>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67" name="Gruppe 566">
            <a:extLst>
              <a:ext uri="{FF2B5EF4-FFF2-40B4-BE49-F238E27FC236}">
                <a16:creationId xmlns:a16="http://schemas.microsoft.com/office/drawing/2014/main" id="{318E7142-9F15-4FCA-87C5-DDBA164C827B}"/>
              </a:ext>
            </a:extLst>
          </p:cNvPr>
          <p:cNvGrpSpPr/>
          <p:nvPr userDrawn="1"/>
        </p:nvGrpSpPr>
        <p:grpSpPr>
          <a:xfrm>
            <a:off x="8607598" y="4253710"/>
            <a:ext cx="99577" cy="158629"/>
            <a:chOff x="8421584" y="4256885"/>
            <a:chExt cx="99577" cy="158629"/>
          </a:xfrm>
        </p:grpSpPr>
        <p:sp>
          <p:nvSpPr>
            <p:cNvPr id="568" name="Rektangel 567">
              <a:extLst>
                <a:ext uri="{FF2B5EF4-FFF2-40B4-BE49-F238E27FC236}">
                  <a16:creationId xmlns:a16="http://schemas.microsoft.com/office/drawing/2014/main" id="{99C85C6C-435B-45D0-9CF4-D3387769052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9" name="Rektangel 568">
              <a:extLst>
                <a:ext uri="{FF2B5EF4-FFF2-40B4-BE49-F238E27FC236}">
                  <a16:creationId xmlns:a16="http://schemas.microsoft.com/office/drawing/2014/main" id="{5DE4E477-DDBA-45AD-A876-5D92DAA4CC4D}"/>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0" name="Rektangel 569">
              <a:extLst>
                <a:ext uri="{FF2B5EF4-FFF2-40B4-BE49-F238E27FC236}">
                  <a16:creationId xmlns:a16="http://schemas.microsoft.com/office/drawing/2014/main" id="{159E164D-15E6-4047-8A58-FCBCEB6A03C3}"/>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1" name="Rektangel 570">
              <a:extLst>
                <a:ext uri="{FF2B5EF4-FFF2-40B4-BE49-F238E27FC236}">
                  <a16:creationId xmlns:a16="http://schemas.microsoft.com/office/drawing/2014/main" id="{20215E03-DC00-4F2C-BF11-972DD3AEB339}"/>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2" name="Gruppe 571">
            <a:extLst>
              <a:ext uri="{FF2B5EF4-FFF2-40B4-BE49-F238E27FC236}">
                <a16:creationId xmlns:a16="http://schemas.microsoft.com/office/drawing/2014/main" id="{837E1CF0-5D08-4BA9-AB48-849B3A17A897}"/>
              </a:ext>
            </a:extLst>
          </p:cNvPr>
          <p:cNvGrpSpPr/>
          <p:nvPr userDrawn="1"/>
        </p:nvGrpSpPr>
        <p:grpSpPr>
          <a:xfrm>
            <a:off x="8793612" y="4253710"/>
            <a:ext cx="99577" cy="158629"/>
            <a:chOff x="8421584" y="4256885"/>
            <a:chExt cx="99577" cy="158629"/>
          </a:xfrm>
        </p:grpSpPr>
        <p:sp>
          <p:nvSpPr>
            <p:cNvPr id="573" name="Rektangel 572">
              <a:extLst>
                <a:ext uri="{FF2B5EF4-FFF2-40B4-BE49-F238E27FC236}">
                  <a16:creationId xmlns:a16="http://schemas.microsoft.com/office/drawing/2014/main" id="{2514C702-D732-4E5F-819F-B958301C961D}"/>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4" name="Rektangel 573">
              <a:extLst>
                <a:ext uri="{FF2B5EF4-FFF2-40B4-BE49-F238E27FC236}">
                  <a16:creationId xmlns:a16="http://schemas.microsoft.com/office/drawing/2014/main" id="{771C0CA7-CA83-4691-9065-F1AAB5B3AADB}"/>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5" name="Rektangel 574">
              <a:extLst>
                <a:ext uri="{FF2B5EF4-FFF2-40B4-BE49-F238E27FC236}">
                  <a16:creationId xmlns:a16="http://schemas.microsoft.com/office/drawing/2014/main" id="{36810F7D-E652-4EBA-B436-6FB74654618A}"/>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6" name="Rektangel 575">
              <a:extLst>
                <a:ext uri="{FF2B5EF4-FFF2-40B4-BE49-F238E27FC236}">
                  <a16:creationId xmlns:a16="http://schemas.microsoft.com/office/drawing/2014/main" id="{E8EDE6F3-3E8E-4DE4-9270-32B448C7F5E8}"/>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7" name="Gruppe 576">
            <a:extLst>
              <a:ext uri="{FF2B5EF4-FFF2-40B4-BE49-F238E27FC236}">
                <a16:creationId xmlns:a16="http://schemas.microsoft.com/office/drawing/2014/main" id="{930C2FD3-1BD8-43B0-8E9E-40CAD263678C}"/>
              </a:ext>
            </a:extLst>
          </p:cNvPr>
          <p:cNvGrpSpPr/>
          <p:nvPr userDrawn="1"/>
        </p:nvGrpSpPr>
        <p:grpSpPr>
          <a:xfrm>
            <a:off x="8979626" y="4253710"/>
            <a:ext cx="99577" cy="158629"/>
            <a:chOff x="8421584" y="4256885"/>
            <a:chExt cx="99577" cy="158629"/>
          </a:xfrm>
        </p:grpSpPr>
        <p:sp>
          <p:nvSpPr>
            <p:cNvPr id="578" name="Rektangel 577">
              <a:extLst>
                <a:ext uri="{FF2B5EF4-FFF2-40B4-BE49-F238E27FC236}">
                  <a16:creationId xmlns:a16="http://schemas.microsoft.com/office/drawing/2014/main" id="{EDA191C4-9EF9-4FE2-A0C1-7C2CC65681C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9" name="Rektangel 578">
              <a:extLst>
                <a:ext uri="{FF2B5EF4-FFF2-40B4-BE49-F238E27FC236}">
                  <a16:creationId xmlns:a16="http://schemas.microsoft.com/office/drawing/2014/main" id="{F973B453-6DAE-423F-8689-4EAB5996B427}"/>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0" name="Rektangel 579">
              <a:extLst>
                <a:ext uri="{FF2B5EF4-FFF2-40B4-BE49-F238E27FC236}">
                  <a16:creationId xmlns:a16="http://schemas.microsoft.com/office/drawing/2014/main" id="{5C46A54F-8C54-46CE-84B7-91158174C3E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1" name="Rektangel 580">
              <a:extLst>
                <a:ext uri="{FF2B5EF4-FFF2-40B4-BE49-F238E27FC236}">
                  <a16:creationId xmlns:a16="http://schemas.microsoft.com/office/drawing/2014/main" id="{266C41D2-BABE-44E4-A7C9-6EA50977A3FE}"/>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82" name="Gruppe 581">
            <a:extLst>
              <a:ext uri="{FF2B5EF4-FFF2-40B4-BE49-F238E27FC236}">
                <a16:creationId xmlns:a16="http://schemas.microsoft.com/office/drawing/2014/main" id="{8C5B1DA6-52A3-4F36-BA75-F58D7BED329F}"/>
              </a:ext>
            </a:extLst>
          </p:cNvPr>
          <p:cNvGrpSpPr/>
          <p:nvPr userDrawn="1"/>
        </p:nvGrpSpPr>
        <p:grpSpPr>
          <a:xfrm>
            <a:off x="9165640" y="4253710"/>
            <a:ext cx="99577" cy="158629"/>
            <a:chOff x="8421584" y="4256885"/>
            <a:chExt cx="99577" cy="158629"/>
          </a:xfrm>
        </p:grpSpPr>
        <p:sp>
          <p:nvSpPr>
            <p:cNvPr id="583" name="Rektangel 582">
              <a:extLst>
                <a:ext uri="{FF2B5EF4-FFF2-40B4-BE49-F238E27FC236}">
                  <a16:creationId xmlns:a16="http://schemas.microsoft.com/office/drawing/2014/main" id="{E030EBCD-2476-48E2-BD47-4552FFA3D4BB}"/>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4" name="Rektangel 583">
              <a:extLst>
                <a:ext uri="{FF2B5EF4-FFF2-40B4-BE49-F238E27FC236}">
                  <a16:creationId xmlns:a16="http://schemas.microsoft.com/office/drawing/2014/main" id="{2B380582-CC04-4854-8E1A-4868306A53CA}"/>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5" name="Rektangel 584">
              <a:extLst>
                <a:ext uri="{FF2B5EF4-FFF2-40B4-BE49-F238E27FC236}">
                  <a16:creationId xmlns:a16="http://schemas.microsoft.com/office/drawing/2014/main" id="{24B911B9-0622-4605-AD00-7EB898F789B7}"/>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6" name="Rektangel 585">
              <a:extLst>
                <a:ext uri="{FF2B5EF4-FFF2-40B4-BE49-F238E27FC236}">
                  <a16:creationId xmlns:a16="http://schemas.microsoft.com/office/drawing/2014/main" id="{67F42BBB-4522-41AE-B326-F56243CDFFFC}"/>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549" name="Rektangel 548">
            <a:extLst>
              <a:ext uri="{FF2B5EF4-FFF2-40B4-BE49-F238E27FC236}">
                <a16:creationId xmlns:a16="http://schemas.microsoft.com/office/drawing/2014/main" id="{A1C91856-739F-4D3C-8419-67FA1B424DDD}"/>
              </a:ext>
            </a:extLst>
          </p:cNvPr>
          <p:cNvSpPr/>
          <p:nvPr userDrawn="1"/>
        </p:nvSpPr>
        <p:spPr>
          <a:xfrm>
            <a:off x="6575499" y="3549037"/>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0" name="Rektangel 549">
            <a:extLst>
              <a:ext uri="{FF2B5EF4-FFF2-40B4-BE49-F238E27FC236}">
                <a16:creationId xmlns:a16="http://schemas.microsoft.com/office/drawing/2014/main" id="{2B9DACA1-77E1-4391-A0F3-D410B9BB6BB5}"/>
              </a:ext>
            </a:extLst>
          </p:cNvPr>
          <p:cNvSpPr/>
          <p:nvPr userDrawn="1"/>
        </p:nvSpPr>
        <p:spPr>
          <a:xfrm>
            <a:off x="6562188" y="3507326"/>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42" name="Gruppe 341">
            <a:extLst>
              <a:ext uri="{FF2B5EF4-FFF2-40B4-BE49-F238E27FC236}">
                <a16:creationId xmlns:a16="http://schemas.microsoft.com/office/drawing/2014/main" id="{06C8AF43-7A7A-462C-AFF8-6F5C0C0A74D3}"/>
              </a:ext>
            </a:extLst>
          </p:cNvPr>
          <p:cNvGrpSpPr>
            <a:grpSpLocks noChangeAspect="1"/>
          </p:cNvGrpSpPr>
          <p:nvPr userDrawn="1"/>
        </p:nvGrpSpPr>
        <p:grpSpPr>
          <a:xfrm flipH="1">
            <a:off x="9330607" y="2202877"/>
            <a:ext cx="1892210" cy="693435"/>
            <a:chOff x="7698172" y="1860827"/>
            <a:chExt cx="2046398" cy="794493"/>
          </a:xfrm>
        </p:grpSpPr>
        <p:sp>
          <p:nvSpPr>
            <p:cNvPr id="343" name="Ellipse 342">
              <a:extLst>
                <a:ext uri="{FF2B5EF4-FFF2-40B4-BE49-F238E27FC236}">
                  <a16:creationId xmlns:a16="http://schemas.microsoft.com/office/drawing/2014/main" id="{5D89502A-E2F7-47AC-BBD5-C671C38D3AF6}"/>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4" name="Ellipse 343">
              <a:extLst>
                <a:ext uri="{FF2B5EF4-FFF2-40B4-BE49-F238E27FC236}">
                  <a16:creationId xmlns:a16="http://schemas.microsoft.com/office/drawing/2014/main" id="{94B00F50-3ED5-4777-9B1C-C3A6A2783AC2}"/>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5" name="Ellipse 344">
              <a:extLst>
                <a:ext uri="{FF2B5EF4-FFF2-40B4-BE49-F238E27FC236}">
                  <a16:creationId xmlns:a16="http://schemas.microsoft.com/office/drawing/2014/main" id="{7C05C1BE-6D89-4988-A0EC-C89B3EC00B29}"/>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6" name="Ellipse 345">
              <a:extLst>
                <a:ext uri="{FF2B5EF4-FFF2-40B4-BE49-F238E27FC236}">
                  <a16:creationId xmlns:a16="http://schemas.microsoft.com/office/drawing/2014/main" id="{7F546B39-8E59-4029-BB56-5E4719C0595F}"/>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7" name="Ellipse 346">
              <a:extLst>
                <a:ext uri="{FF2B5EF4-FFF2-40B4-BE49-F238E27FC236}">
                  <a16:creationId xmlns:a16="http://schemas.microsoft.com/office/drawing/2014/main" id="{28074721-66C7-40F9-9BD1-EEB0285B1AFC}"/>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8" name="Ellipse 347">
              <a:extLst>
                <a:ext uri="{FF2B5EF4-FFF2-40B4-BE49-F238E27FC236}">
                  <a16:creationId xmlns:a16="http://schemas.microsoft.com/office/drawing/2014/main" id="{DD495963-4432-4EDC-9CFD-4F35F46D2ED8}"/>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49" name="Gruppe 348">
            <a:extLst>
              <a:ext uri="{FF2B5EF4-FFF2-40B4-BE49-F238E27FC236}">
                <a16:creationId xmlns:a16="http://schemas.microsoft.com/office/drawing/2014/main" id="{3D83FD06-EDA1-480C-93D6-C80612131DE7}"/>
              </a:ext>
            </a:extLst>
          </p:cNvPr>
          <p:cNvGrpSpPr/>
          <p:nvPr userDrawn="1"/>
        </p:nvGrpSpPr>
        <p:grpSpPr>
          <a:xfrm>
            <a:off x="6270980" y="1977069"/>
            <a:ext cx="2046398" cy="794493"/>
            <a:chOff x="6270980" y="1977069"/>
            <a:chExt cx="2046398" cy="794493"/>
          </a:xfrm>
        </p:grpSpPr>
        <p:sp>
          <p:nvSpPr>
            <p:cNvPr id="350" name="Ellipse 349">
              <a:extLst>
                <a:ext uri="{FF2B5EF4-FFF2-40B4-BE49-F238E27FC236}">
                  <a16:creationId xmlns:a16="http://schemas.microsoft.com/office/drawing/2014/main" id="{8DD86FD0-9F2C-4578-9EDB-7C57A76014F9}"/>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1" name="Ellipse 350">
              <a:extLst>
                <a:ext uri="{FF2B5EF4-FFF2-40B4-BE49-F238E27FC236}">
                  <a16:creationId xmlns:a16="http://schemas.microsoft.com/office/drawing/2014/main" id="{A514AB74-0AEE-4DDF-B9B6-84A67101C5AF}"/>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2" name="Ellipse 351">
              <a:extLst>
                <a:ext uri="{FF2B5EF4-FFF2-40B4-BE49-F238E27FC236}">
                  <a16:creationId xmlns:a16="http://schemas.microsoft.com/office/drawing/2014/main" id="{B07A2B44-C3B4-45DA-9A0D-3451DE8CDE29}"/>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3" name="Ellipse 352">
              <a:extLst>
                <a:ext uri="{FF2B5EF4-FFF2-40B4-BE49-F238E27FC236}">
                  <a16:creationId xmlns:a16="http://schemas.microsoft.com/office/drawing/2014/main" id="{2C22B975-E072-44BF-9848-70F15BFCFD72}"/>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4" name="Ellipse 353">
              <a:extLst>
                <a:ext uri="{FF2B5EF4-FFF2-40B4-BE49-F238E27FC236}">
                  <a16:creationId xmlns:a16="http://schemas.microsoft.com/office/drawing/2014/main" id="{59641F3D-D124-4631-91D5-BF418A153602}"/>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5" name="Ellipse 354">
              <a:extLst>
                <a:ext uri="{FF2B5EF4-FFF2-40B4-BE49-F238E27FC236}">
                  <a16:creationId xmlns:a16="http://schemas.microsoft.com/office/drawing/2014/main" id="{811B51A4-57AE-4E21-AAF4-9B83A340D6EB}"/>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1" name="Gruppe 20">
            <a:extLst>
              <a:ext uri="{FF2B5EF4-FFF2-40B4-BE49-F238E27FC236}">
                <a16:creationId xmlns:a16="http://schemas.microsoft.com/office/drawing/2014/main" id="{1774DC92-E294-49CB-9C90-2955E689F3F2}"/>
              </a:ext>
            </a:extLst>
          </p:cNvPr>
          <p:cNvGrpSpPr/>
          <p:nvPr userDrawn="1"/>
        </p:nvGrpSpPr>
        <p:grpSpPr>
          <a:xfrm>
            <a:off x="10306154" y="3089866"/>
            <a:ext cx="636481" cy="1224368"/>
            <a:chOff x="10306154" y="3089866"/>
            <a:chExt cx="636481" cy="1224368"/>
          </a:xfrm>
          <a:solidFill>
            <a:schemeClr val="accent4">
              <a:lumMod val="75000"/>
            </a:schemeClr>
          </a:solidFill>
        </p:grpSpPr>
        <p:sp>
          <p:nvSpPr>
            <p:cNvPr id="11" name="Rektangel 10">
              <a:extLst>
                <a:ext uri="{FF2B5EF4-FFF2-40B4-BE49-F238E27FC236}">
                  <a16:creationId xmlns:a16="http://schemas.microsoft.com/office/drawing/2014/main" id="{68AF03FF-461D-4A8F-8C1E-2028870C87F2}"/>
                </a:ext>
              </a:extLst>
            </p:cNvPr>
            <p:cNvSpPr/>
            <p:nvPr userDrawn="1"/>
          </p:nvSpPr>
          <p:spPr>
            <a:xfrm>
              <a:off x="10533563" y="3748643"/>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5" name="Rektangel 324">
              <a:extLst>
                <a:ext uri="{FF2B5EF4-FFF2-40B4-BE49-F238E27FC236}">
                  <a16:creationId xmlns:a16="http://schemas.microsoft.com/office/drawing/2014/main" id="{9811A366-2F57-4588-9F00-3555F05E313C}"/>
                </a:ext>
              </a:extLst>
            </p:cNvPr>
            <p:cNvSpPr/>
            <p:nvPr userDrawn="1"/>
          </p:nvSpPr>
          <p:spPr>
            <a:xfrm>
              <a:off x="10533563" y="3579667"/>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6" name="Rektangel 325">
              <a:extLst>
                <a:ext uri="{FF2B5EF4-FFF2-40B4-BE49-F238E27FC236}">
                  <a16:creationId xmlns:a16="http://schemas.microsoft.com/office/drawing/2014/main" id="{734AF6BD-B875-4028-968D-A4508625B25C}"/>
                </a:ext>
              </a:extLst>
            </p:cNvPr>
            <p:cNvSpPr/>
            <p:nvPr userDrawn="1"/>
          </p:nvSpPr>
          <p:spPr>
            <a:xfrm>
              <a:off x="10533563" y="3410690"/>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7" name="Ligebenet trapez 326">
              <a:extLst>
                <a:ext uri="{FF2B5EF4-FFF2-40B4-BE49-F238E27FC236}">
                  <a16:creationId xmlns:a16="http://schemas.microsoft.com/office/drawing/2014/main" id="{354B443D-4808-472A-8D7B-06267986C95D}"/>
                </a:ext>
              </a:extLst>
            </p:cNvPr>
            <p:cNvSpPr/>
            <p:nvPr userDrawn="1"/>
          </p:nvSpPr>
          <p:spPr>
            <a:xfrm>
              <a:off x="10406044" y="3089866"/>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8" name="Ligebenet trapez 327">
              <a:extLst>
                <a:ext uri="{FF2B5EF4-FFF2-40B4-BE49-F238E27FC236}">
                  <a16:creationId xmlns:a16="http://schemas.microsoft.com/office/drawing/2014/main" id="{5D0027D1-8814-485E-B62A-3599E0E7142B}"/>
                </a:ext>
              </a:extLst>
            </p:cNvPr>
            <p:cNvSpPr/>
            <p:nvPr userDrawn="1"/>
          </p:nvSpPr>
          <p:spPr>
            <a:xfrm flipV="1">
              <a:off x="10406044" y="3327567"/>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9" name="Rektangel 328">
              <a:extLst>
                <a:ext uri="{FF2B5EF4-FFF2-40B4-BE49-F238E27FC236}">
                  <a16:creationId xmlns:a16="http://schemas.microsoft.com/office/drawing/2014/main" id="{8C12977C-8109-444D-A099-F83DD3A8CFDB}"/>
                </a:ext>
              </a:extLst>
            </p:cNvPr>
            <p:cNvSpPr/>
            <p:nvPr userDrawn="1"/>
          </p:nvSpPr>
          <p:spPr>
            <a:xfrm>
              <a:off x="10533563" y="3172989"/>
              <a:ext cx="163283" cy="147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2" name="Rektangel: øverste hjørner afrundet 331">
              <a:extLst>
                <a:ext uri="{FF2B5EF4-FFF2-40B4-BE49-F238E27FC236}">
                  <a16:creationId xmlns:a16="http://schemas.microsoft.com/office/drawing/2014/main" id="{126E0E10-E46C-49E0-BF30-B4D78BD6A456}"/>
                </a:ext>
              </a:extLst>
            </p:cNvPr>
            <p:cNvSpPr/>
            <p:nvPr userDrawn="1"/>
          </p:nvSpPr>
          <p:spPr>
            <a:xfrm>
              <a:off x="10351717" y="4088582"/>
              <a:ext cx="531872"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16" name="Lige forbindelse 15">
              <a:extLst>
                <a:ext uri="{FF2B5EF4-FFF2-40B4-BE49-F238E27FC236}">
                  <a16:creationId xmlns:a16="http://schemas.microsoft.com/office/drawing/2014/main" id="{1F7472D5-31D2-40E4-943F-90722F9C13BB}"/>
                </a:ext>
              </a:extLst>
            </p:cNvPr>
            <p:cNvCxnSpPr>
              <a:cxnSpLocks/>
            </p:cNvCxnSpPr>
            <p:nvPr userDrawn="1"/>
          </p:nvCxnSpPr>
          <p:spPr>
            <a:xfrm>
              <a:off x="10418744"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3" name="Lige forbindelse 332">
              <a:extLst>
                <a:ext uri="{FF2B5EF4-FFF2-40B4-BE49-F238E27FC236}">
                  <a16:creationId xmlns:a16="http://schemas.microsoft.com/office/drawing/2014/main" id="{38B5409E-CE1B-4622-90C8-DCC7901FA862}"/>
                </a:ext>
              </a:extLst>
            </p:cNvPr>
            <p:cNvCxnSpPr>
              <a:cxnSpLocks/>
            </p:cNvCxnSpPr>
            <p:nvPr userDrawn="1"/>
          </p:nvCxnSpPr>
          <p:spPr>
            <a:xfrm>
              <a:off x="10809680"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4" name="Rektangel 333">
              <a:extLst>
                <a:ext uri="{FF2B5EF4-FFF2-40B4-BE49-F238E27FC236}">
                  <a16:creationId xmlns:a16="http://schemas.microsoft.com/office/drawing/2014/main" id="{EF1806F3-6E67-4960-915A-348E0ED0C7B6}"/>
                </a:ext>
              </a:extLst>
            </p:cNvPr>
            <p:cNvSpPr/>
            <p:nvPr userDrawn="1"/>
          </p:nvSpPr>
          <p:spPr>
            <a:xfrm>
              <a:off x="10533563" y="3919146"/>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335" name="Lige forbindelse 334">
              <a:extLst>
                <a:ext uri="{FF2B5EF4-FFF2-40B4-BE49-F238E27FC236}">
                  <a16:creationId xmlns:a16="http://schemas.microsoft.com/office/drawing/2014/main" id="{1AB054AB-07D5-4754-B87D-3B6391EBDA5A}"/>
                </a:ext>
              </a:extLst>
            </p:cNvPr>
            <p:cNvCxnSpPr>
              <a:cxnSpLocks/>
            </p:cNvCxnSpPr>
            <p:nvPr userDrawn="1"/>
          </p:nvCxnSpPr>
          <p:spPr>
            <a:xfrm rot="2100000">
              <a:off x="10451672" y="3832002"/>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FCAA2DB7-9589-4F6C-A122-791DF411963E}"/>
                </a:ext>
              </a:extLst>
            </p:cNvPr>
            <p:cNvCxnSpPr>
              <a:cxnSpLocks/>
            </p:cNvCxnSpPr>
            <p:nvPr userDrawn="1"/>
          </p:nvCxnSpPr>
          <p:spPr>
            <a:xfrm rot="19500000" flipH="1">
              <a:off x="10783678" y="3832000"/>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8" name="Rektangel: øverste hjørner afrundet 337">
              <a:extLst>
                <a:ext uri="{FF2B5EF4-FFF2-40B4-BE49-F238E27FC236}">
                  <a16:creationId xmlns:a16="http://schemas.microsoft.com/office/drawing/2014/main" id="{56FFCA39-BFA9-4F46-9C30-AFFED85AC7E0}"/>
                </a:ext>
              </a:extLst>
            </p:cNvPr>
            <p:cNvSpPr/>
            <p:nvPr userDrawn="1"/>
          </p:nvSpPr>
          <p:spPr>
            <a:xfrm>
              <a:off x="10306154" y="4205546"/>
              <a:ext cx="636481"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9" name="Rektangel 338">
              <a:extLst>
                <a:ext uri="{FF2B5EF4-FFF2-40B4-BE49-F238E27FC236}">
                  <a16:creationId xmlns:a16="http://schemas.microsoft.com/office/drawing/2014/main" id="{7894008A-7823-4AB5-AD53-36F5082E8272}"/>
                </a:ext>
              </a:extLst>
            </p:cNvPr>
            <p:cNvSpPr/>
            <p:nvPr userDrawn="1"/>
          </p:nvSpPr>
          <p:spPr>
            <a:xfrm>
              <a:off x="10533563" y="4112431"/>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12" name="Gruppe 311">
            <a:extLst>
              <a:ext uri="{FF2B5EF4-FFF2-40B4-BE49-F238E27FC236}">
                <a16:creationId xmlns:a16="http://schemas.microsoft.com/office/drawing/2014/main" id="{A1487348-C29D-4D67-9AF0-8CC5A000AD0F}"/>
              </a:ext>
            </a:extLst>
          </p:cNvPr>
          <p:cNvGrpSpPr/>
          <p:nvPr userDrawn="1"/>
        </p:nvGrpSpPr>
        <p:grpSpPr>
          <a:xfrm flipH="1">
            <a:off x="10675190" y="3653750"/>
            <a:ext cx="754844" cy="756518"/>
            <a:chOff x="5963869" y="5072627"/>
            <a:chExt cx="830528" cy="1085187"/>
          </a:xfrm>
          <a:solidFill>
            <a:schemeClr val="accent4"/>
          </a:solidFill>
        </p:grpSpPr>
        <p:grpSp>
          <p:nvGrpSpPr>
            <p:cNvPr id="313" name="Gruppe 312">
              <a:extLst>
                <a:ext uri="{FF2B5EF4-FFF2-40B4-BE49-F238E27FC236}">
                  <a16:creationId xmlns:a16="http://schemas.microsoft.com/office/drawing/2014/main" id="{601A005A-2546-40CD-911A-5AE284C09620}"/>
                </a:ext>
              </a:extLst>
            </p:cNvPr>
            <p:cNvGrpSpPr/>
            <p:nvPr userDrawn="1"/>
          </p:nvGrpSpPr>
          <p:grpSpPr>
            <a:xfrm>
              <a:off x="5963869" y="5072627"/>
              <a:ext cx="830528" cy="1085187"/>
              <a:chOff x="6528663" y="5014275"/>
              <a:chExt cx="830528" cy="1085187"/>
            </a:xfrm>
            <a:grpFill/>
          </p:grpSpPr>
          <p:sp>
            <p:nvSpPr>
              <p:cNvPr id="315" name="Rektangel 314">
                <a:extLst>
                  <a:ext uri="{FF2B5EF4-FFF2-40B4-BE49-F238E27FC236}">
                    <a16:creationId xmlns:a16="http://schemas.microsoft.com/office/drawing/2014/main" id="{E124597B-97EE-47A2-ACA8-6AA70DFA43B2}"/>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6" name="Ellipse 315">
                <a:extLst>
                  <a:ext uri="{FF2B5EF4-FFF2-40B4-BE49-F238E27FC236}">
                    <a16:creationId xmlns:a16="http://schemas.microsoft.com/office/drawing/2014/main" id="{2F66B8C1-9A2E-4D3D-9B72-62D12CAFF81C}"/>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7" name="Ellipse 316">
                <a:extLst>
                  <a:ext uri="{FF2B5EF4-FFF2-40B4-BE49-F238E27FC236}">
                    <a16:creationId xmlns:a16="http://schemas.microsoft.com/office/drawing/2014/main" id="{DEFDEC4E-9F4D-48F7-B236-6F2857AC546B}"/>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8" name="Ellipse 317">
                <a:extLst>
                  <a:ext uri="{FF2B5EF4-FFF2-40B4-BE49-F238E27FC236}">
                    <a16:creationId xmlns:a16="http://schemas.microsoft.com/office/drawing/2014/main" id="{493C6A63-0D81-4C9C-88AD-5FE2556D232E}"/>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9" name="Ellipse 318">
                <a:extLst>
                  <a:ext uri="{FF2B5EF4-FFF2-40B4-BE49-F238E27FC236}">
                    <a16:creationId xmlns:a16="http://schemas.microsoft.com/office/drawing/2014/main" id="{128730B1-F452-4701-989B-DA555498F5A8}"/>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14" name="Ellipse 313">
              <a:extLst>
                <a:ext uri="{FF2B5EF4-FFF2-40B4-BE49-F238E27FC236}">
                  <a16:creationId xmlns:a16="http://schemas.microsoft.com/office/drawing/2014/main" id="{EA67F01F-86A9-4A22-B617-BFE4607C69A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9" name="Rektangel: øverste hjørner afrundet 248">
            <a:extLst>
              <a:ext uri="{FF2B5EF4-FFF2-40B4-BE49-F238E27FC236}">
                <a16:creationId xmlns:a16="http://schemas.microsoft.com/office/drawing/2014/main" id="{B12238DF-AD03-499E-BA4D-AE5628DB862B}"/>
              </a:ext>
            </a:extLst>
          </p:cNvPr>
          <p:cNvSpPr/>
          <p:nvPr userDrawn="1"/>
        </p:nvSpPr>
        <p:spPr>
          <a:xfrm>
            <a:off x="9988425" y="4238877"/>
            <a:ext cx="1481651" cy="117423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8" name="Rektangel: øverste hjørner afrundet 247">
            <a:extLst>
              <a:ext uri="{FF2B5EF4-FFF2-40B4-BE49-F238E27FC236}">
                <a16:creationId xmlns:a16="http://schemas.microsoft.com/office/drawing/2014/main" id="{4AF23D9C-5ECB-4BC6-AB0A-75802F844AE9}"/>
              </a:ext>
            </a:extLst>
          </p:cNvPr>
          <p:cNvSpPr/>
          <p:nvPr userDrawn="1"/>
        </p:nvSpPr>
        <p:spPr>
          <a:xfrm>
            <a:off x="9712580" y="4345398"/>
            <a:ext cx="1514894" cy="1209822"/>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7" name="Rektangel: øverste hjørner afrundet 246">
            <a:extLst>
              <a:ext uri="{FF2B5EF4-FFF2-40B4-BE49-F238E27FC236}">
                <a16:creationId xmlns:a16="http://schemas.microsoft.com/office/drawing/2014/main" id="{B56485DD-8DFF-420A-82B8-FC2933694F23}"/>
              </a:ext>
            </a:extLst>
          </p:cNvPr>
          <p:cNvSpPr/>
          <p:nvPr userDrawn="1"/>
        </p:nvSpPr>
        <p:spPr>
          <a:xfrm>
            <a:off x="10155636" y="4502461"/>
            <a:ext cx="1314439" cy="120982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38" name="Gruppe 237">
            <a:extLst>
              <a:ext uri="{FF2B5EF4-FFF2-40B4-BE49-F238E27FC236}">
                <a16:creationId xmlns:a16="http://schemas.microsoft.com/office/drawing/2014/main" id="{4C8AAC0F-BE5F-41A3-AD47-8FA0DE6F81E4}"/>
              </a:ext>
            </a:extLst>
          </p:cNvPr>
          <p:cNvGrpSpPr/>
          <p:nvPr userDrawn="1"/>
        </p:nvGrpSpPr>
        <p:grpSpPr>
          <a:xfrm flipH="1">
            <a:off x="8880539" y="4570857"/>
            <a:ext cx="1068119" cy="746150"/>
            <a:chOff x="5878302" y="5164076"/>
            <a:chExt cx="916095" cy="739089"/>
          </a:xfrm>
          <a:solidFill>
            <a:schemeClr val="accent4">
              <a:lumMod val="60000"/>
              <a:lumOff val="40000"/>
            </a:schemeClr>
          </a:solidFill>
        </p:grpSpPr>
        <p:grpSp>
          <p:nvGrpSpPr>
            <p:cNvPr id="239" name="Gruppe 238">
              <a:extLst>
                <a:ext uri="{FF2B5EF4-FFF2-40B4-BE49-F238E27FC236}">
                  <a16:creationId xmlns:a16="http://schemas.microsoft.com/office/drawing/2014/main" id="{1701C1A9-EE5A-4FEB-8921-D7F20B21DF8F}"/>
                </a:ext>
              </a:extLst>
            </p:cNvPr>
            <p:cNvGrpSpPr/>
            <p:nvPr userDrawn="1"/>
          </p:nvGrpSpPr>
          <p:grpSpPr>
            <a:xfrm>
              <a:off x="5878302" y="5164076"/>
              <a:ext cx="916095" cy="739089"/>
              <a:chOff x="6443096" y="5105724"/>
              <a:chExt cx="916095" cy="739089"/>
            </a:xfrm>
            <a:grpFill/>
          </p:grpSpPr>
          <p:sp>
            <p:nvSpPr>
              <p:cNvPr id="241" name="Rektangel 240">
                <a:extLst>
                  <a:ext uri="{FF2B5EF4-FFF2-40B4-BE49-F238E27FC236}">
                    <a16:creationId xmlns:a16="http://schemas.microsoft.com/office/drawing/2014/main" id="{B4ED253A-A77B-4D08-A8E4-8F771FF44EC3}"/>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2" name="Ellipse 241">
                <a:extLst>
                  <a:ext uri="{FF2B5EF4-FFF2-40B4-BE49-F238E27FC236}">
                    <a16:creationId xmlns:a16="http://schemas.microsoft.com/office/drawing/2014/main" id="{E287B098-4F07-433E-A902-039C73AE81A5}"/>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3" name="Ellipse 242">
                <a:extLst>
                  <a:ext uri="{FF2B5EF4-FFF2-40B4-BE49-F238E27FC236}">
                    <a16:creationId xmlns:a16="http://schemas.microsoft.com/office/drawing/2014/main" id="{76DA8D89-1D7A-4C15-A96E-D03493C1BC2E}"/>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4" name="Ellipse 243">
                <a:extLst>
                  <a:ext uri="{FF2B5EF4-FFF2-40B4-BE49-F238E27FC236}">
                    <a16:creationId xmlns:a16="http://schemas.microsoft.com/office/drawing/2014/main" id="{6EB859CE-A314-486A-B09E-2BF81956004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5" name="Ellipse 244">
                <a:extLst>
                  <a:ext uri="{FF2B5EF4-FFF2-40B4-BE49-F238E27FC236}">
                    <a16:creationId xmlns:a16="http://schemas.microsoft.com/office/drawing/2014/main" id="{116711E7-2606-48E1-B5F6-EA3F773C010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0" name="Ellipse 239">
              <a:extLst>
                <a:ext uri="{FF2B5EF4-FFF2-40B4-BE49-F238E27FC236}">
                  <a16:creationId xmlns:a16="http://schemas.microsoft.com/office/drawing/2014/main" id="{D1ED5E9C-A56A-4CFA-B569-63280F7F986C}"/>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9" name="Gruppe 228">
            <a:extLst>
              <a:ext uri="{FF2B5EF4-FFF2-40B4-BE49-F238E27FC236}">
                <a16:creationId xmlns:a16="http://schemas.microsoft.com/office/drawing/2014/main" id="{CB021EA0-F583-42F4-BC85-A983CC405D08}"/>
              </a:ext>
            </a:extLst>
          </p:cNvPr>
          <p:cNvGrpSpPr/>
          <p:nvPr userDrawn="1"/>
        </p:nvGrpSpPr>
        <p:grpSpPr>
          <a:xfrm>
            <a:off x="9295933" y="4687651"/>
            <a:ext cx="980779" cy="1057255"/>
            <a:chOff x="9806171" y="4688837"/>
            <a:chExt cx="980779" cy="1057255"/>
          </a:xfrm>
        </p:grpSpPr>
        <p:sp>
          <p:nvSpPr>
            <p:cNvPr id="196" name="Rektangel 195">
              <a:extLst>
                <a:ext uri="{FF2B5EF4-FFF2-40B4-BE49-F238E27FC236}">
                  <a16:creationId xmlns:a16="http://schemas.microsoft.com/office/drawing/2014/main" id="{0FB38109-4347-4B33-8138-48FD955606CF}"/>
                </a:ext>
              </a:extLst>
            </p:cNvPr>
            <p:cNvSpPr/>
            <p:nvPr userDrawn="1"/>
          </p:nvSpPr>
          <p:spPr>
            <a:xfrm>
              <a:off x="9917174" y="5108558"/>
              <a:ext cx="776191" cy="637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7" name="Ligebenet trekant 196">
              <a:extLst>
                <a:ext uri="{FF2B5EF4-FFF2-40B4-BE49-F238E27FC236}">
                  <a16:creationId xmlns:a16="http://schemas.microsoft.com/office/drawing/2014/main" id="{F52F3B6F-E93E-4FFB-93CC-FE2B8D84F38C}"/>
                </a:ext>
              </a:extLst>
            </p:cNvPr>
            <p:cNvSpPr/>
            <p:nvPr userDrawn="1"/>
          </p:nvSpPr>
          <p:spPr>
            <a:xfrm>
              <a:off x="9806171" y="4688837"/>
              <a:ext cx="980779" cy="425454"/>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2" name="Rektangel 181">
            <a:extLst>
              <a:ext uri="{FF2B5EF4-FFF2-40B4-BE49-F238E27FC236}">
                <a16:creationId xmlns:a16="http://schemas.microsoft.com/office/drawing/2014/main" id="{26761E30-769A-4EC6-ACFE-BD8E1740804F}"/>
              </a:ext>
            </a:extLst>
          </p:cNvPr>
          <p:cNvSpPr/>
          <p:nvPr userDrawn="1"/>
        </p:nvSpPr>
        <p:spPr>
          <a:xfrm flipH="1">
            <a:off x="8007054" y="3666438"/>
            <a:ext cx="45719" cy="293271"/>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4" name="Gruppe 173">
            <a:extLst>
              <a:ext uri="{FF2B5EF4-FFF2-40B4-BE49-F238E27FC236}">
                <a16:creationId xmlns:a16="http://schemas.microsoft.com/office/drawing/2014/main" id="{D98E48ED-1547-40B9-BB47-3E4D8A20CBCA}"/>
              </a:ext>
            </a:extLst>
          </p:cNvPr>
          <p:cNvGrpSpPr/>
          <p:nvPr userDrawn="1"/>
        </p:nvGrpSpPr>
        <p:grpSpPr>
          <a:xfrm flipH="1">
            <a:off x="6019155" y="4808008"/>
            <a:ext cx="1105266" cy="891489"/>
            <a:chOff x="5878302" y="5164076"/>
            <a:chExt cx="916095" cy="739089"/>
          </a:xfrm>
          <a:solidFill>
            <a:schemeClr val="accent4">
              <a:lumMod val="60000"/>
              <a:lumOff val="40000"/>
            </a:schemeClr>
          </a:solidFill>
        </p:grpSpPr>
        <p:grpSp>
          <p:nvGrpSpPr>
            <p:cNvPr id="175" name="Gruppe 174">
              <a:extLst>
                <a:ext uri="{FF2B5EF4-FFF2-40B4-BE49-F238E27FC236}">
                  <a16:creationId xmlns:a16="http://schemas.microsoft.com/office/drawing/2014/main" id="{DBC250E5-74C1-44EE-97BC-E3E1D1A3E5B9}"/>
                </a:ext>
              </a:extLst>
            </p:cNvPr>
            <p:cNvGrpSpPr/>
            <p:nvPr userDrawn="1"/>
          </p:nvGrpSpPr>
          <p:grpSpPr>
            <a:xfrm>
              <a:off x="5878302" y="5164076"/>
              <a:ext cx="916095" cy="739089"/>
              <a:chOff x="6443096" y="5105724"/>
              <a:chExt cx="916095" cy="739089"/>
            </a:xfrm>
            <a:grpFill/>
          </p:grpSpPr>
          <p:sp>
            <p:nvSpPr>
              <p:cNvPr id="177" name="Rektangel 176">
                <a:extLst>
                  <a:ext uri="{FF2B5EF4-FFF2-40B4-BE49-F238E27FC236}">
                    <a16:creationId xmlns:a16="http://schemas.microsoft.com/office/drawing/2014/main" id="{A1F92383-EFA1-407E-90B9-7E258202CA4B}"/>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8" name="Ellipse 177">
                <a:extLst>
                  <a:ext uri="{FF2B5EF4-FFF2-40B4-BE49-F238E27FC236}">
                    <a16:creationId xmlns:a16="http://schemas.microsoft.com/office/drawing/2014/main" id="{E45D9125-EAB5-4A81-824B-E996AD688DD4}"/>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Ellipse 178">
                <a:extLst>
                  <a:ext uri="{FF2B5EF4-FFF2-40B4-BE49-F238E27FC236}">
                    <a16:creationId xmlns:a16="http://schemas.microsoft.com/office/drawing/2014/main" id="{60E6D7F7-FBDE-40F9-97E7-D8131E7EF1A5}"/>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Ellipse 179">
                <a:extLst>
                  <a:ext uri="{FF2B5EF4-FFF2-40B4-BE49-F238E27FC236}">
                    <a16:creationId xmlns:a16="http://schemas.microsoft.com/office/drawing/2014/main" id="{19030737-0033-4B30-A1CE-D4D3888B7D39}"/>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1" name="Ellipse 180">
                <a:extLst>
                  <a:ext uri="{FF2B5EF4-FFF2-40B4-BE49-F238E27FC236}">
                    <a16:creationId xmlns:a16="http://schemas.microsoft.com/office/drawing/2014/main" id="{6FBEFE93-57CD-42F9-9C13-36ED16BA3894}"/>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6" name="Ellipse 175">
              <a:extLst>
                <a:ext uri="{FF2B5EF4-FFF2-40B4-BE49-F238E27FC236}">
                  <a16:creationId xmlns:a16="http://schemas.microsoft.com/office/drawing/2014/main" id="{0F6DF34C-4E4C-4161-B4F3-DF39A0826652}"/>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Rektangel 164">
            <a:extLst>
              <a:ext uri="{FF2B5EF4-FFF2-40B4-BE49-F238E27FC236}">
                <a16:creationId xmlns:a16="http://schemas.microsoft.com/office/drawing/2014/main" id="{2049A3C2-DE3C-4B33-85D9-17D2C60838D7}"/>
              </a:ext>
            </a:extLst>
          </p:cNvPr>
          <p:cNvSpPr/>
          <p:nvPr userDrawn="1"/>
        </p:nvSpPr>
        <p:spPr>
          <a:xfrm>
            <a:off x="7438153" y="3916883"/>
            <a:ext cx="678767" cy="133705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24BEA58D-57BB-4B41-9827-5F5CEBC6E142}"/>
              </a:ext>
            </a:extLst>
          </p:cNvPr>
          <p:cNvSpPr/>
          <p:nvPr userDrawn="1"/>
        </p:nvSpPr>
        <p:spPr>
          <a:xfrm>
            <a:off x="7345863" y="4346822"/>
            <a:ext cx="2087324" cy="1331912"/>
          </a:xfrm>
          <a:prstGeom prst="rect">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63" name="Gruppe 62">
            <a:extLst>
              <a:ext uri="{FF2B5EF4-FFF2-40B4-BE49-F238E27FC236}">
                <a16:creationId xmlns:a16="http://schemas.microsoft.com/office/drawing/2014/main" id="{78D7199C-DD4A-4C07-95CE-46562C07E617}"/>
              </a:ext>
            </a:extLst>
          </p:cNvPr>
          <p:cNvGrpSpPr/>
          <p:nvPr userDrawn="1"/>
        </p:nvGrpSpPr>
        <p:grpSpPr>
          <a:xfrm>
            <a:off x="7398339" y="4407386"/>
            <a:ext cx="1961668" cy="153547"/>
            <a:chOff x="5121590" y="6344869"/>
            <a:chExt cx="1961668" cy="153547"/>
          </a:xfrm>
        </p:grpSpPr>
        <p:sp>
          <p:nvSpPr>
            <p:cNvPr id="128" name="Rektangel 127">
              <a:extLst>
                <a:ext uri="{FF2B5EF4-FFF2-40B4-BE49-F238E27FC236}">
                  <a16:creationId xmlns:a16="http://schemas.microsoft.com/office/drawing/2014/main" id="{BB1B126C-27FD-422A-A6FE-6EB659E85718}"/>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050DA149-5038-4647-B5E8-8BE1ED469CD2}"/>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0" name="Rektangel 129">
              <a:extLst>
                <a:ext uri="{FF2B5EF4-FFF2-40B4-BE49-F238E27FC236}">
                  <a16:creationId xmlns:a16="http://schemas.microsoft.com/office/drawing/2014/main" id="{1BDF2AE1-FFEC-495A-A7FA-BF4E31E44C5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1" name="Rektangel 130">
              <a:extLst>
                <a:ext uri="{FF2B5EF4-FFF2-40B4-BE49-F238E27FC236}">
                  <a16:creationId xmlns:a16="http://schemas.microsoft.com/office/drawing/2014/main" id="{4FB1DDD0-796D-486B-95F7-A948E2737607}"/>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F39D44FE-4E28-4604-BAC3-49449992963D}"/>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FCD03105-EBED-49E1-AF78-E3C56EEA5A9C}"/>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47DEFC7D-723E-4494-823F-5A2ACD6B4C14}"/>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4C325CDF-F2FF-4A88-BF86-7A8FCDD8D8F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6" name="Rektangel 135">
              <a:extLst>
                <a:ext uri="{FF2B5EF4-FFF2-40B4-BE49-F238E27FC236}">
                  <a16:creationId xmlns:a16="http://schemas.microsoft.com/office/drawing/2014/main" id="{1D0073B0-8EDC-45F7-900B-8B31E6D1CB99}"/>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7" name="Rektangel 136">
              <a:extLst>
                <a:ext uri="{FF2B5EF4-FFF2-40B4-BE49-F238E27FC236}">
                  <a16:creationId xmlns:a16="http://schemas.microsoft.com/office/drawing/2014/main" id="{E6A5752F-507B-41C4-8A00-4A6CF5D6BA63}"/>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0" name="Rektangel 139">
              <a:extLst>
                <a:ext uri="{FF2B5EF4-FFF2-40B4-BE49-F238E27FC236}">
                  <a16:creationId xmlns:a16="http://schemas.microsoft.com/office/drawing/2014/main" id="{DD3B22E6-1069-4B2B-BCE6-62BE60C3CDD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1" name="Gruppe 140">
            <a:extLst>
              <a:ext uri="{FF2B5EF4-FFF2-40B4-BE49-F238E27FC236}">
                <a16:creationId xmlns:a16="http://schemas.microsoft.com/office/drawing/2014/main" id="{3D51C6E2-F27E-409A-9DB9-7552F1D19BD9}"/>
              </a:ext>
            </a:extLst>
          </p:cNvPr>
          <p:cNvGrpSpPr/>
          <p:nvPr userDrawn="1"/>
        </p:nvGrpSpPr>
        <p:grpSpPr>
          <a:xfrm>
            <a:off x="7398339" y="4614506"/>
            <a:ext cx="1961668" cy="153547"/>
            <a:chOff x="5121590" y="6344869"/>
            <a:chExt cx="1961668" cy="153547"/>
          </a:xfrm>
        </p:grpSpPr>
        <p:sp>
          <p:nvSpPr>
            <p:cNvPr id="142" name="Rektangel 141">
              <a:extLst>
                <a:ext uri="{FF2B5EF4-FFF2-40B4-BE49-F238E27FC236}">
                  <a16:creationId xmlns:a16="http://schemas.microsoft.com/office/drawing/2014/main" id="{2F27D65F-62B4-4DD9-8492-5616CA72446A}"/>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3" name="Rektangel 142">
              <a:extLst>
                <a:ext uri="{FF2B5EF4-FFF2-40B4-BE49-F238E27FC236}">
                  <a16:creationId xmlns:a16="http://schemas.microsoft.com/office/drawing/2014/main" id="{69DB77B6-C578-4E91-977E-82E263DEAC79}"/>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4" name="Rektangel 143">
              <a:extLst>
                <a:ext uri="{FF2B5EF4-FFF2-40B4-BE49-F238E27FC236}">
                  <a16:creationId xmlns:a16="http://schemas.microsoft.com/office/drawing/2014/main" id="{32294095-0743-47AF-A9E4-604E6E986D19}"/>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5" name="Rektangel 144">
              <a:extLst>
                <a:ext uri="{FF2B5EF4-FFF2-40B4-BE49-F238E27FC236}">
                  <a16:creationId xmlns:a16="http://schemas.microsoft.com/office/drawing/2014/main" id="{68BE3D2B-FDE8-48FD-B4A4-8A504FF44955}"/>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6" name="Rektangel 145">
              <a:extLst>
                <a:ext uri="{FF2B5EF4-FFF2-40B4-BE49-F238E27FC236}">
                  <a16:creationId xmlns:a16="http://schemas.microsoft.com/office/drawing/2014/main" id="{D5A493A3-B059-49CB-88DD-C19E53310532}"/>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7" name="Rektangel 146">
              <a:extLst>
                <a:ext uri="{FF2B5EF4-FFF2-40B4-BE49-F238E27FC236}">
                  <a16:creationId xmlns:a16="http://schemas.microsoft.com/office/drawing/2014/main" id="{5480F4E6-29CB-4D09-B52A-B5A6FF88CB46}"/>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8" name="Rektangel 147">
              <a:extLst>
                <a:ext uri="{FF2B5EF4-FFF2-40B4-BE49-F238E27FC236}">
                  <a16:creationId xmlns:a16="http://schemas.microsoft.com/office/drawing/2014/main" id="{3DA77E43-2935-4C6F-8470-4A51AD41BAE8}"/>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9" name="Rektangel 148">
              <a:extLst>
                <a:ext uri="{FF2B5EF4-FFF2-40B4-BE49-F238E27FC236}">
                  <a16:creationId xmlns:a16="http://schemas.microsoft.com/office/drawing/2014/main" id="{7FD18631-F6B3-4E0D-A9F7-065313226D9D}"/>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2" name="Rektangel 151">
              <a:extLst>
                <a:ext uri="{FF2B5EF4-FFF2-40B4-BE49-F238E27FC236}">
                  <a16:creationId xmlns:a16="http://schemas.microsoft.com/office/drawing/2014/main" id="{66FF0E02-0A0E-4B6C-9170-0035C1187DE5}"/>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53" name="Gruppe 152">
            <a:extLst>
              <a:ext uri="{FF2B5EF4-FFF2-40B4-BE49-F238E27FC236}">
                <a16:creationId xmlns:a16="http://schemas.microsoft.com/office/drawing/2014/main" id="{31B68935-BCB6-4AED-934E-F773D7FD2199}"/>
              </a:ext>
            </a:extLst>
          </p:cNvPr>
          <p:cNvGrpSpPr/>
          <p:nvPr userDrawn="1"/>
        </p:nvGrpSpPr>
        <p:grpSpPr>
          <a:xfrm>
            <a:off x="7398339" y="4821626"/>
            <a:ext cx="1961668" cy="153547"/>
            <a:chOff x="5121590" y="6344869"/>
            <a:chExt cx="1961668" cy="153547"/>
          </a:xfrm>
        </p:grpSpPr>
        <p:sp>
          <p:nvSpPr>
            <p:cNvPr id="154" name="Rektangel 153">
              <a:extLst>
                <a:ext uri="{FF2B5EF4-FFF2-40B4-BE49-F238E27FC236}">
                  <a16:creationId xmlns:a16="http://schemas.microsoft.com/office/drawing/2014/main" id="{91B4A65F-C6E9-40AD-B8EE-6F7435E457DB}"/>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5" name="Rektangel 154">
              <a:extLst>
                <a:ext uri="{FF2B5EF4-FFF2-40B4-BE49-F238E27FC236}">
                  <a16:creationId xmlns:a16="http://schemas.microsoft.com/office/drawing/2014/main" id="{51BF6181-00F7-4E13-BCD9-C4218781A49F}"/>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6" name="Rektangel 155">
              <a:extLst>
                <a:ext uri="{FF2B5EF4-FFF2-40B4-BE49-F238E27FC236}">
                  <a16:creationId xmlns:a16="http://schemas.microsoft.com/office/drawing/2014/main" id="{BE6D0DFB-0470-499B-A2F8-3269CB34D93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7" name="Rektangel 156">
              <a:extLst>
                <a:ext uri="{FF2B5EF4-FFF2-40B4-BE49-F238E27FC236}">
                  <a16:creationId xmlns:a16="http://schemas.microsoft.com/office/drawing/2014/main" id="{7C32B980-6F21-4FC2-BEC2-508540784853}"/>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8" name="Rektangel 157">
              <a:extLst>
                <a:ext uri="{FF2B5EF4-FFF2-40B4-BE49-F238E27FC236}">
                  <a16:creationId xmlns:a16="http://schemas.microsoft.com/office/drawing/2014/main" id="{30FB9782-F163-4730-B4FF-C8524A1032F4}"/>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9" name="Rektangel 158">
              <a:extLst>
                <a:ext uri="{FF2B5EF4-FFF2-40B4-BE49-F238E27FC236}">
                  <a16:creationId xmlns:a16="http://schemas.microsoft.com/office/drawing/2014/main" id="{3AAE54F6-99E0-4DB7-8AC7-F8DFCE72D5F2}"/>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0" name="Rektangel 159">
              <a:extLst>
                <a:ext uri="{FF2B5EF4-FFF2-40B4-BE49-F238E27FC236}">
                  <a16:creationId xmlns:a16="http://schemas.microsoft.com/office/drawing/2014/main" id="{B4CB179E-54E2-4491-9706-B89C0B245B69}"/>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1" name="Rektangel 160">
              <a:extLst>
                <a:ext uri="{FF2B5EF4-FFF2-40B4-BE49-F238E27FC236}">
                  <a16:creationId xmlns:a16="http://schemas.microsoft.com/office/drawing/2014/main" id="{84F7FB2C-8FBD-4827-99A7-1212BE69747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2" name="Rektangel 161">
              <a:extLst>
                <a:ext uri="{FF2B5EF4-FFF2-40B4-BE49-F238E27FC236}">
                  <a16:creationId xmlns:a16="http://schemas.microsoft.com/office/drawing/2014/main" id="{1ACE2253-64D5-4A2B-A0A6-AFEB9F7F97C8}"/>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3" name="Rektangel 162">
              <a:extLst>
                <a:ext uri="{FF2B5EF4-FFF2-40B4-BE49-F238E27FC236}">
                  <a16:creationId xmlns:a16="http://schemas.microsoft.com/office/drawing/2014/main" id="{5B41A0A4-DFE0-476E-B61C-9464420B90EE}"/>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4" name="Rektangel 163">
              <a:extLst>
                <a:ext uri="{FF2B5EF4-FFF2-40B4-BE49-F238E27FC236}">
                  <a16:creationId xmlns:a16="http://schemas.microsoft.com/office/drawing/2014/main" id="{C28FDBFB-6599-41AE-BC71-1CAC4BA75CA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3" name="Rektangel 182">
            <a:extLst>
              <a:ext uri="{FF2B5EF4-FFF2-40B4-BE49-F238E27FC236}">
                <a16:creationId xmlns:a16="http://schemas.microsoft.com/office/drawing/2014/main" id="{BA886A3F-BAD0-41F5-9FB7-9AFA4CACD0C2}"/>
              </a:ext>
            </a:extLst>
          </p:cNvPr>
          <p:cNvSpPr/>
          <p:nvPr userDrawn="1"/>
        </p:nvSpPr>
        <p:spPr>
          <a:xfrm>
            <a:off x="7492158" y="3988647"/>
            <a:ext cx="587598" cy="700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4" name="Rektangel 183">
            <a:extLst>
              <a:ext uri="{FF2B5EF4-FFF2-40B4-BE49-F238E27FC236}">
                <a16:creationId xmlns:a16="http://schemas.microsoft.com/office/drawing/2014/main" id="{A5607A02-CF06-4DAD-A6B8-D31DE984E768}"/>
              </a:ext>
            </a:extLst>
          </p:cNvPr>
          <p:cNvSpPr/>
          <p:nvPr userDrawn="1"/>
        </p:nvSpPr>
        <p:spPr>
          <a:xfrm>
            <a:off x="7492158"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5" name="Rektangel 184">
            <a:extLst>
              <a:ext uri="{FF2B5EF4-FFF2-40B4-BE49-F238E27FC236}">
                <a16:creationId xmlns:a16="http://schemas.microsoft.com/office/drawing/2014/main" id="{7AB290F5-5332-4389-B50C-923E48264D35}"/>
              </a:ext>
            </a:extLst>
          </p:cNvPr>
          <p:cNvSpPr/>
          <p:nvPr userDrawn="1"/>
        </p:nvSpPr>
        <p:spPr>
          <a:xfrm>
            <a:off x="7863756"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5" name="Ellipse 194">
            <a:extLst>
              <a:ext uri="{FF2B5EF4-FFF2-40B4-BE49-F238E27FC236}">
                <a16:creationId xmlns:a16="http://schemas.microsoft.com/office/drawing/2014/main" id="{B7E3216E-5BFB-40BA-A2A0-1F393CF1E433}"/>
              </a:ext>
            </a:extLst>
          </p:cNvPr>
          <p:cNvSpPr/>
          <p:nvPr userDrawn="1"/>
        </p:nvSpPr>
        <p:spPr>
          <a:xfrm>
            <a:off x="9796841" y="3565656"/>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54" name="Gruppe 253">
            <a:extLst>
              <a:ext uri="{FF2B5EF4-FFF2-40B4-BE49-F238E27FC236}">
                <a16:creationId xmlns:a16="http://schemas.microsoft.com/office/drawing/2014/main" id="{F2AA640B-6C64-4212-A1B9-31F2CD6937B0}"/>
              </a:ext>
            </a:extLst>
          </p:cNvPr>
          <p:cNvGrpSpPr/>
          <p:nvPr userDrawn="1"/>
        </p:nvGrpSpPr>
        <p:grpSpPr>
          <a:xfrm>
            <a:off x="9481916" y="5193892"/>
            <a:ext cx="104645" cy="200718"/>
            <a:chOff x="9541473" y="5278660"/>
            <a:chExt cx="104645" cy="200718"/>
          </a:xfrm>
        </p:grpSpPr>
        <p:sp>
          <p:nvSpPr>
            <p:cNvPr id="250" name="Rektangel 249">
              <a:extLst>
                <a:ext uri="{FF2B5EF4-FFF2-40B4-BE49-F238E27FC236}">
                  <a16:creationId xmlns:a16="http://schemas.microsoft.com/office/drawing/2014/main" id="{CE573129-DA94-43A4-B5DE-9A0B095CC24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1" name="Rektangel 250">
              <a:extLst>
                <a:ext uri="{FF2B5EF4-FFF2-40B4-BE49-F238E27FC236}">
                  <a16:creationId xmlns:a16="http://schemas.microsoft.com/office/drawing/2014/main" id="{885AB7B4-5197-4CC5-A15C-7DDA2EE96CD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2" name="Rektangel 251">
              <a:extLst>
                <a:ext uri="{FF2B5EF4-FFF2-40B4-BE49-F238E27FC236}">
                  <a16:creationId xmlns:a16="http://schemas.microsoft.com/office/drawing/2014/main" id="{C40A4D5B-82D4-43D5-8632-58F65A5361D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3" name="Rektangel 252">
              <a:extLst>
                <a:ext uri="{FF2B5EF4-FFF2-40B4-BE49-F238E27FC236}">
                  <a16:creationId xmlns:a16="http://schemas.microsoft.com/office/drawing/2014/main" id="{966DF86B-5B2E-42D6-9810-A00EA2BB79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58" name="Gruppe 257">
            <a:extLst>
              <a:ext uri="{FF2B5EF4-FFF2-40B4-BE49-F238E27FC236}">
                <a16:creationId xmlns:a16="http://schemas.microsoft.com/office/drawing/2014/main" id="{E920C5D8-C8C6-403A-94E4-3D1D22A54E9E}"/>
              </a:ext>
            </a:extLst>
          </p:cNvPr>
          <p:cNvGrpSpPr/>
          <p:nvPr userDrawn="1"/>
        </p:nvGrpSpPr>
        <p:grpSpPr>
          <a:xfrm>
            <a:off x="9655598" y="5193892"/>
            <a:ext cx="104645" cy="200718"/>
            <a:chOff x="9541473" y="5278660"/>
            <a:chExt cx="104645" cy="200718"/>
          </a:xfrm>
        </p:grpSpPr>
        <p:sp>
          <p:nvSpPr>
            <p:cNvPr id="259" name="Rektangel 258">
              <a:extLst>
                <a:ext uri="{FF2B5EF4-FFF2-40B4-BE49-F238E27FC236}">
                  <a16:creationId xmlns:a16="http://schemas.microsoft.com/office/drawing/2014/main" id="{638C31EB-3411-4FB8-84F1-F5B5800DDF1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0" name="Rektangel 259">
              <a:extLst>
                <a:ext uri="{FF2B5EF4-FFF2-40B4-BE49-F238E27FC236}">
                  <a16:creationId xmlns:a16="http://schemas.microsoft.com/office/drawing/2014/main" id="{0B232491-DFFA-4CA8-9666-4B3F0F98EF0A}"/>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1" name="Rektangel 260">
              <a:extLst>
                <a:ext uri="{FF2B5EF4-FFF2-40B4-BE49-F238E27FC236}">
                  <a16:creationId xmlns:a16="http://schemas.microsoft.com/office/drawing/2014/main" id="{54411354-ED2A-4ABE-9364-91ECBA52F32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2" name="Rektangel 261">
              <a:extLst>
                <a:ext uri="{FF2B5EF4-FFF2-40B4-BE49-F238E27FC236}">
                  <a16:creationId xmlns:a16="http://schemas.microsoft.com/office/drawing/2014/main" id="{54D3F74D-7CCE-4078-AFD4-66BF9AF15FC2}"/>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3" name="Gruppe 262">
            <a:extLst>
              <a:ext uri="{FF2B5EF4-FFF2-40B4-BE49-F238E27FC236}">
                <a16:creationId xmlns:a16="http://schemas.microsoft.com/office/drawing/2014/main" id="{2586723E-D57C-4716-AA32-0133FA698FE5}"/>
              </a:ext>
            </a:extLst>
          </p:cNvPr>
          <p:cNvGrpSpPr/>
          <p:nvPr userDrawn="1"/>
        </p:nvGrpSpPr>
        <p:grpSpPr>
          <a:xfrm>
            <a:off x="9822042" y="5193892"/>
            <a:ext cx="104645" cy="200718"/>
            <a:chOff x="9541473" y="5278660"/>
            <a:chExt cx="104645" cy="200718"/>
          </a:xfrm>
        </p:grpSpPr>
        <p:sp>
          <p:nvSpPr>
            <p:cNvPr id="264" name="Rektangel 263">
              <a:extLst>
                <a:ext uri="{FF2B5EF4-FFF2-40B4-BE49-F238E27FC236}">
                  <a16:creationId xmlns:a16="http://schemas.microsoft.com/office/drawing/2014/main" id="{F14D843F-ED44-4DE0-9B06-5159D1A8D3BC}"/>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5" name="Rektangel 264">
              <a:extLst>
                <a:ext uri="{FF2B5EF4-FFF2-40B4-BE49-F238E27FC236}">
                  <a16:creationId xmlns:a16="http://schemas.microsoft.com/office/drawing/2014/main" id="{CCFFD28F-DC82-4CFD-BEE2-5309AF63D52F}"/>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6" name="Rektangel 265">
              <a:extLst>
                <a:ext uri="{FF2B5EF4-FFF2-40B4-BE49-F238E27FC236}">
                  <a16:creationId xmlns:a16="http://schemas.microsoft.com/office/drawing/2014/main" id="{34C16787-DE51-49B5-B50E-75B95E9570DE}"/>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7" name="Rektangel 266">
              <a:extLst>
                <a:ext uri="{FF2B5EF4-FFF2-40B4-BE49-F238E27FC236}">
                  <a16:creationId xmlns:a16="http://schemas.microsoft.com/office/drawing/2014/main" id="{5C620567-992B-49D9-AE02-8B83B22AAAC6}"/>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8" name="Gruppe 267">
            <a:extLst>
              <a:ext uri="{FF2B5EF4-FFF2-40B4-BE49-F238E27FC236}">
                <a16:creationId xmlns:a16="http://schemas.microsoft.com/office/drawing/2014/main" id="{BD767397-0268-443C-B8F8-5D51B22930AF}"/>
              </a:ext>
            </a:extLst>
          </p:cNvPr>
          <p:cNvGrpSpPr/>
          <p:nvPr userDrawn="1"/>
        </p:nvGrpSpPr>
        <p:grpSpPr>
          <a:xfrm>
            <a:off x="10022426" y="5193892"/>
            <a:ext cx="104645" cy="200718"/>
            <a:chOff x="9541473" y="5278660"/>
            <a:chExt cx="104645" cy="200718"/>
          </a:xfrm>
        </p:grpSpPr>
        <p:sp>
          <p:nvSpPr>
            <p:cNvPr id="269" name="Rektangel 268">
              <a:extLst>
                <a:ext uri="{FF2B5EF4-FFF2-40B4-BE49-F238E27FC236}">
                  <a16:creationId xmlns:a16="http://schemas.microsoft.com/office/drawing/2014/main" id="{05F8679F-DB91-4A6F-8223-B09F15D6E67D}"/>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0" name="Rektangel 269">
              <a:extLst>
                <a:ext uri="{FF2B5EF4-FFF2-40B4-BE49-F238E27FC236}">
                  <a16:creationId xmlns:a16="http://schemas.microsoft.com/office/drawing/2014/main" id="{E656F0B5-2D35-45EA-BE8F-D3BBE4201007}"/>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1" name="Rektangel 270">
              <a:extLst>
                <a:ext uri="{FF2B5EF4-FFF2-40B4-BE49-F238E27FC236}">
                  <a16:creationId xmlns:a16="http://schemas.microsoft.com/office/drawing/2014/main" id="{FD4C19DC-75A3-422E-99F7-736B3B1B4D6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2" name="Rektangel 271">
              <a:extLst>
                <a:ext uri="{FF2B5EF4-FFF2-40B4-BE49-F238E27FC236}">
                  <a16:creationId xmlns:a16="http://schemas.microsoft.com/office/drawing/2014/main" id="{5184E3C5-8F36-4370-ADCE-64DFCDF8141B}"/>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73" name="Gruppe 272">
            <a:extLst>
              <a:ext uri="{FF2B5EF4-FFF2-40B4-BE49-F238E27FC236}">
                <a16:creationId xmlns:a16="http://schemas.microsoft.com/office/drawing/2014/main" id="{09636528-E9EB-426A-A772-13FA769DE435}"/>
              </a:ext>
            </a:extLst>
          </p:cNvPr>
          <p:cNvGrpSpPr/>
          <p:nvPr userDrawn="1"/>
        </p:nvGrpSpPr>
        <p:grpSpPr>
          <a:xfrm>
            <a:off x="9481916" y="5439401"/>
            <a:ext cx="104645" cy="200718"/>
            <a:chOff x="9541473" y="5278660"/>
            <a:chExt cx="104645" cy="200718"/>
          </a:xfrm>
        </p:grpSpPr>
        <p:sp>
          <p:nvSpPr>
            <p:cNvPr id="274" name="Rektangel 273">
              <a:extLst>
                <a:ext uri="{FF2B5EF4-FFF2-40B4-BE49-F238E27FC236}">
                  <a16:creationId xmlns:a16="http://schemas.microsoft.com/office/drawing/2014/main" id="{AC83F930-9972-4BF8-881C-114DA79D8E18}"/>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5" name="Rektangel 274">
              <a:extLst>
                <a:ext uri="{FF2B5EF4-FFF2-40B4-BE49-F238E27FC236}">
                  <a16:creationId xmlns:a16="http://schemas.microsoft.com/office/drawing/2014/main" id="{8385C037-C828-468E-85B7-5785B68CBC9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6" name="Rektangel 275">
              <a:extLst>
                <a:ext uri="{FF2B5EF4-FFF2-40B4-BE49-F238E27FC236}">
                  <a16:creationId xmlns:a16="http://schemas.microsoft.com/office/drawing/2014/main" id="{4169F4EB-59AF-4778-AAAE-F41D9F5421A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7" name="Rektangel 276">
              <a:extLst>
                <a:ext uri="{FF2B5EF4-FFF2-40B4-BE49-F238E27FC236}">
                  <a16:creationId xmlns:a16="http://schemas.microsoft.com/office/drawing/2014/main" id="{CABE93DD-8E37-442D-8019-ABB6158FCA48}"/>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88" name="Gruppe 287">
            <a:extLst>
              <a:ext uri="{FF2B5EF4-FFF2-40B4-BE49-F238E27FC236}">
                <a16:creationId xmlns:a16="http://schemas.microsoft.com/office/drawing/2014/main" id="{300AFC6A-55E1-4BB9-99E4-5DBBFAF124FF}"/>
              </a:ext>
            </a:extLst>
          </p:cNvPr>
          <p:cNvGrpSpPr/>
          <p:nvPr userDrawn="1"/>
        </p:nvGrpSpPr>
        <p:grpSpPr>
          <a:xfrm>
            <a:off x="10022426" y="5439401"/>
            <a:ext cx="104645" cy="200718"/>
            <a:chOff x="9541473" y="5278660"/>
            <a:chExt cx="104645" cy="200718"/>
          </a:xfrm>
        </p:grpSpPr>
        <p:sp>
          <p:nvSpPr>
            <p:cNvPr id="289" name="Rektangel 288">
              <a:extLst>
                <a:ext uri="{FF2B5EF4-FFF2-40B4-BE49-F238E27FC236}">
                  <a16:creationId xmlns:a16="http://schemas.microsoft.com/office/drawing/2014/main" id="{799C5F80-C37D-4EB4-B2CB-CFD34A5CF2A0}"/>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0" name="Rektangel 289">
              <a:extLst>
                <a:ext uri="{FF2B5EF4-FFF2-40B4-BE49-F238E27FC236}">
                  <a16:creationId xmlns:a16="http://schemas.microsoft.com/office/drawing/2014/main" id="{2A79EB17-FF69-4793-9808-67897CA17FD3}"/>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1" name="Rektangel 290">
              <a:extLst>
                <a:ext uri="{FF2B5EF4-FFF2-40B4-BE49-F238E27FC236}">
                  <a16:creationId xmlns:a16="http://schemas.microsoft.com/office/drawing/2014/main" id="{BD0453C6-8264-4F65-8637-856411AE468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2" name="Rektangel 291">
              <a:extLst>
                <a:ext uri="{FF2B5EF4-FFF2-40B4-BE49-F238E27FC236}">
                  <a16:creationId xmlns:a16="http://schemas.microsoft.com/office/drawing/2014/main" id="{48C2A977-D584-4169-8E53-4DBF8E8EED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4" name="Ligebenet trapez 23">
            <a:extLst>
              <a:ext uri="{FF2B5EF4-FFF2-40B4-BE49-F238E27FC236}">
                <a16:creationId xmlns:a16="http://schemas.microsoft.com/office/drawing/2014/main" id="{C0DEC328-DE99-40AE-90A9-516DDFA0F043}"/>
              </a:ext>
            </a:extLst>
          </p:cNvPr>
          <p:cNvSpPr/>
          <p:nvPr userDrawn="1"/>
        </p:nvSpPr>
        <p:spPr>
          <a:xfrm>
            <a:off x="6948240" y="4909626"/>
            <a:ext cx="2724678"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Rektangel 14">
            <a:extLst>
              <a:ext uri="{FF2B5EF4-FFF2-40B4-BE49-F238E27FC236}">
                <a16:creationId xmlns:a16="http://schemas.microsoft.com/office/drawing/2014/main" id="{513EB950-7611-455D-8520-A74DA8769C9F}"/>
              </a:ext>
            </a:extLst>
          </p:cNvPr>
          <p:cNvSpPr/>
          <p:nvPr userDrawn="1"/>
        </p:nvSpPr>
        <p:spPr>
          <a:xfrm>
            <a:off x="7094347" y="5150746"/>
            <a:ext cx="2414401" cy="695519"/>
          </a:xfrm>
          <a:prstGeom prst="rect">
            <a:avLst/>
          </a:prstGeom>
          <a:gradFill>
            <a:gsLst>
              <a:gs pos="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7" name="Gruppe 36">
            <a:extLst>
              <a:ext uri="{FF2B5EF4-FFF2-40B4-BE49-F238E27FC236}">
                <a16:creationId xmlns:a16="http://schemas.microsoft.com/office/drawing/2014/main" id="{67DDBDE6-5204-446B-B1F5-4613123479CD}"/>
              </a:ext>
            </a:extLst>
          </p:cNvPr>
          <p:cNvGrpSpPr/>
          <p:nvPr userDrawn="1"/>
        </p:nvGrpSpPr>
        <p:grpSpPr>
          <a:xfrm>
            <a:off x="7390835" y="5231949"/>
            <a:ext cx="2042352" cy="153547"/>
            <a:chOff x="7390835" y="5231949"/>
            <a:chExt cx="2042352" cy="153547"/>
          </a:xfrm>
        </p:grpSpPr>
        <p:sp>
          <p:nvSpPr>
            <p:cNvPr id="66" name="Rektangel 65">
              <a:extLst>
                <a:ext uri="{FF2B5EF4-FFF2-40B4-BE49-F238E27FC236}">
                  <a16:creationId xmlns:a16="http://schemas.microsoft.com/office/drawing/2014/main" id="{8F2DD363-128E-47A3-91BE-8139849FB54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7" name="Rektangel 66">
              <a:extLst>
                <a:ext uri="{FF2B5EF4-FFF2-40B4-BE49-F238E27FC236}">
                  <a16:creationId xmlns:a16="http://schemas.microsoft.com/office/drawing/2014/main" id="{F29633AC-E6D4-4B67-957A-2E1FC223580E}"/>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Rektangel 67">
              <a:extLst>
                <a:ext uri="{FF2B5EF4-FFF2-40B4-BE49-F238E27FC236}">
                  <a16:creationId xmlns:a16="http://schemas.microsoft.com/office/drawing/2014/main" id="{859EB0B9-9A7C-4F52-A011-F363AC430751}"/>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Rektangel 68">
              <a:extLst>
                <a:ext uri="{FF2B5EF4-FFF2-40B4-BE49-F238E27FC236}">
                  <a16:creationId xmlns:a16="http://schemas.microsoft.com/office/drawing/2014/main" id="{C9E48CD7-C717-4CBD-AFE0-52C36FFC0F30}"/>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Rektangel 69">
              <a:extLst>
                <a:ext uri="{FF2B5EF4-FFF2-40B4-BE49-F238E27FC236}">
                  <a16:creationId xmlns:a16="http://schemas.microsoft.com/office/drawing/2014/main" id="{B4454ED5-914F-4616-AF37-B97BA56C034C}"/>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Rektangel 70">
              <a:extLst>
                <a:ext uri="{FF2B5EF4-FFF2-40B4-BE49-F238E27FC236}">
                  <a16:creationId xmlns:a16="http://schemas.microsoft.com/office/drawing/2014/main" id="{B49EF3FA-EAEE-4A77-8640-9D5CE9E15EF1}"/>
                </a:ext>
              </a:extLst>
            </p:cNvPr>
            <p:cNvSpPr/>
            <p:nvPr userDrawn="1"/>
          </p:nvSpPr>
          <p:spPr>
            <a:xfrm>
              <a:off x="8214450"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Rektangel 71">
              <a:extLst>
                <a:ext uri="{FF2B5EF4-FFF2-40B4-BE49-F238E27FC236}">
                  <a16:creationId xmlns:a16="http://schemas.microsoft.com/office/drawing/2014/main" id="{FC7A0617-F618-40B8-9668-616E59666E47}"/>
                </a:ext>
              </a:extLst>
            </p:cNvPr>
            <p:cNvSpPr/>
            <p:nvPr userDrawn="1"/>
          </p:nvSpPr>
          <p:spPr>
            <a:xfrm>
              <a:off x="8379173"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3" name="Rektangel 72">
              <a:extLst>
                <a:ext uri="{FF2B5EF4-FFF2-40B4-BE49-F238E27FC236}">
                  <a16:creationId xmlns:a16="http://schemas.microsoft.com/office/drawing/2014/main" id="{FCE41074-A209-41E2-BBF0-C189E7504C3E}"/>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4" name="Rektangel 73">
              <a:extLst>
                <a:ext uri="{FF2B5EF4-FFF2-40B4-BE49-F238E27FC236}">
                  <a16:creationId xmlns:a16="http://schemas.microsoft.com/office/drawing/2014/main" id="{07803B7D-8DA0-495D-BD64-E957ADF34C0B}"/>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5" name="Rektangel 74">
              <a:extLst>
                <a:ext uri="{FF2B5EF4-FFF2-40B4-BE49-F238E27FC236}">
                  <a16:creationId xmlns:a16="http://schemas.microsoft.com/office/drawing/2014/main" id="{ECD2AB45-4FD3-4F53-80E2-B1138C1AEDE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Rektangel 75">
              <a:extLst>
                <a:ext uri="{FF2B5EF4-FFF2-40B4-BE49-F238E27FC236}">
                  <a16:creationId xmlns:a16="http://schemas.microsoft.com/office/drawing/2014/main" id="{AB1E29CD-423B-4EAB-81A1-1278E6098072}"/>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7" name="Rektangel 76">
              <a:extLst>
                <a:ext uri="{FF2B5EF4-FFF2-40B4-BE49-F238E27FC236}">
                  <a16:creationId xmlns:a16="http://schemas.microsoft.com/office/drawing/2014/main" id="{7A575850-504D-46E0-B357-8C82FB4BB0D5}"/>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0" name="Rektangel 79">
              <a:extLst>
                <a:ext uri="{FF2B5EF4-FFF2-40B4-BE49-F238E27FC236}">
                  <a16:creationId xmlns:a16="http://schemas.microsoft.com/office/drawing/2014/main" id="{7ACF43F9-95E3-44A6-B62C-28BFEE3DD327}"/>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81" name="Gruppe 80">
            <a:extLst>
              <a:ext uri="{FF2B5EF4-FFF2-40B4-BE49-F238E27FC236}">
                <a16:creationId xmlns:a16="http://schemas.microsoft.com/office/drawing/2014/main" id="{9650C57B-7F95-4256-AD9F-490B0C9A07CF}"/>
              </a:ext>
            </a:extLst>
          </p:cNvPr>
          <p:cNvGrpSpPr/>
          <p:nvPr userDrawn="1"/>
        </p:nvGrpSpPr>
        <p:grpSpPr>
          <a:xfrm>
            <a:off x="7390835" y="5429282"/>
            <a:ext cx="2042352" cy="153547"/>
            <a:chOff x="7390835" y="5231949"/>
            <a:chExt cx="2042352" cy="153547"/>
          </a:xfrm>
        </p:grpSpPr>
        <p:sp>
          <p:nvSpPr>
            <p:cNvPr id="82" name="Rektangel 81">
              <a:extLst>
                <a:ext uri="{FF2B5EF4-FFF2-40B4-BE49-F238E27FC236}">
                  <a16:creationId xmlns:a16="http://schemas.microsoft.com/office/drawing/2014/main" id="{9B4C5F00-D900-4500-861C-EEA8C4FF5E9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3" name="Rektangel 82">
              <a:extLst>
                <a:ext uri="{FF2B5EF4-FFF2-40B4-BE49-F238E27FC236}">
                  <a16:creationId xmlns:a16="http://schemas.microsoft.com/office/drawing/2014/main" id="{47F4D720-F509-44BE-BC7C-40AC6905DE64}"/>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4" name="Rektangel 83">
              <a:extLst>
                <a:ext uri="{FF2B5EF4-FFF2-40B4-BE49-F238E27FC236}">
                  <a16:creationId xmlns:a16="http://schemas.microsoft.com/office/drawing/2014/main" id="{31C0D845-0D4D-4997-8BCE-A0FC0FBAB068}"/>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5" name="Rektangel 84">
              <a:extLst>
                <a:ext uri="{FF2B5EF4-FFF2-40B4-BE49-F238E27FC236}">
                  <a16:creationId xmlns:a16="http://schemas.microsoft.com/office/drawing/2014/main" id="{03F8BFC0-1B46-45BE-9D0A-C5FB6C67F156}"/>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6" name="Rektangel 85">
              <a:extLst>
                <a:ext uri="{FF2B5EF4-FFF2-40B4-BE49-F238E27FC236}">
                  <a16:creationId xmlns:a16="http://schemas.microsoft.com/office/drawing/2014/main" id="{8D6FF817-2E92-436E-BC11-412593309276}"/>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9" name="Rektangel 88">
              <a:extLst>
                <a:ext uri="{FF2B5EF4-FFF2-40B4-BE49-F238E27FC236}">
                  <a16:creationId xmlns:a16="http://schemas.microsoft.com/office/drawing/2014/main" id="{E41BAE92-7EA7-4252-B038-9F33BC68FAE1}"/>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0" name="Rektangel 89">
              <a:extLst>
                <a:ext uri="{FF2B5EF4-FFF2-40B4-BE49-F238E27FC236}">
                  <a16:creationId xmlns:a16="http://schemas.microsoft.com/office/drawing/2014/main" id="{6920FA45-5191-4787-8FBA-161327798BF2}"/>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1" name="Rektangel 90">
              <a:extLst>
                <a:ext uri="{FF2B5EF4-FFF2-40B4-BE49-F238E27FC236}">
                  <a16:creationId xmlns:a16="http://schemas.microsoft.com/office/drawing/2014/main" id="{15888661-8150-4706-9F30-4B5BEC61700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2" name="Rektangel 91">
              <a:extLst>
                <a:ext uri="{FF2B5EF4-FFF2-40B4-BE49-F238E27FC236}">
                  <a16:creationId xmlns:a16="http://schemas.microsoft.com/office/drawing/2014/main" id="{F60E68B8-E74C-40D4-88B2-C82062044967}"/>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3" name="Rektangel 92">
              <a:extLst>
                <a:ext uri="{FF2B5EF4-FFF2-40B4-BE49-F238E27FC236}">
                  <a16:creationId xmlns:a16="http://schemas.microsoft.com/office/drawing/2014/main" id="{F944E10D-CFA9-4C17-A58A-5F942952F9F1}"/>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4" name="Rektangel 93">
              <a:extLst>
                <a:ext uri="{FF2B5EF4-FFF2-40B4-BE49-F238E27FC236}">
                  <a16:creationId xmlns:a16="http://schemas.microsoft.com/office/drawing/2014/main" id="{1AAB8FA9-E617-474A-B65D-E11EBAE6B74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10" name="Gruppe 109">
            <a:extLst>
              <a:ext uri="{FF2B5EF4-FFF2-40B4-BE49-F238E27FC236}">
                <a16:creationId xmlns:a16="http://schemas.microsoft.com/office/drawing/2014/main" id="{FFE9092D-A852-4B0C-BA6E-60385E68C57C}"/>
              </a:ext>
            </a:extLst>
          </p:cNvPr>
          <p:cNvGrpSpPr/>
          <p:nvPr userDrawn="1"/>
        </p:nvGrpSpPr>
        <p:grpSpPr>
          <a:xfrm>
            <a:off x="7390835" y="5626616"/>
            <a:ext cx="2042352" cy="153547"/>
            <a:chOff x="7390835" y="5231949"/>
            <a:chExt cx="2042352" cy="153547"/>
          </a:xfrm>
        </p:grpSpPr>
        <p:sp>
          <p:nvSpPr>
            <p:cNvPr id="111" name="Rektangel 110">
              <a:extLst>
                <a:ext uri="{FF2B5EF4-FFF2-40B4-BE49-F238E27FC236}">
                  <a16:creationId xmlns:a16="http://schemas.microsoft.com/office/drawing/2014/main" id="{DFFAEDFD-FA83-479F-A39D-9E1C73BE0A38}"/>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2" name="Rektangel 111">
              <a:extLst>
                <a:ext uri="{FF2B5EF4-FFF2-40B4-BE49-F238E27FC236}">
                  <a16:creationId xmlns:a16="http://schemas.microsoft.com/office/drawing/2014/main" id="{41E6142C-0500-4FB9-921A-9F56F03C4BE8}"/>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3" name="Rektangel 112">
              <a:extLst>
                <a:ext uri="{FF2B5EF4-FFF2-40B4-BE49-F238E27FC236}">
                  <a16:creationId xmlns:a16="http://schemas.microsoft.com/office/drawing/2014/main" id="{DCA632B4-052B-4CFA-9F8C-D8E437FB9445}"/>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4" name="Rektangel 113">
              <a:extLst>
                <a:ext uri="{FF2B5EF4-FFF2-40B4-BE49-F238E27FC236}">
                  <a16:creationId xmlns:a16="http://schemas.microsoft.com/office/drawing/2014/main" id="{DC1902F0-8604-45D3-B214-12D4793288DF}"/>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5" name="Rektangel 114">
              <a:extLst>
                <a:ext uri="{FF2B5EF4-FFF2-40B4-BE49-F238E27FC236}">
                  <a16:creationId xmlns:a16="http://schemas.microsoft.com/office/drawing/2014/main" id="{91154A3C-B87A-45DD-9020-F45F5546182D}"/>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8" name="Rektangel 117">
              <a:extLst>
                <a:ext uri="{FF2B5EF4-FFF2-40B4-BE49-F238E27FC236}">
                  <a16:creationId xmlns:a16="http://schemas.microsoft.com/office/drawing/2014/main" id="{D72C0EEB-278D-4BD6-A194-2585A11C65D8}"/>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9" name="Rektangel 118">
              <a:extLst>
                <a:ext uri="{FF2B5EF4-FFF2-40B4-BE49-F238E27FC236}">
                  <a16:creationId xmlns:a16="http://schemas.microsoft.com/office/drawing/2014/main" id="{1A64214E-2923-4BDA-9426-CA9F3428F128}"/>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0" name="Rektangel 119">
              <a:extLst>
                <a:ext uri="{FF2B5EF4-FFF2-40B4-BE49-F238E27FC236}">
                  <a16:creationId xmlns:a16="http://schemas.microsoft.com/office/drawing/2014/main" id="{84A6A3CB-965C-444C-9670-C32BF9D8705A}"/>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1" name="Rektangel 120">
              <a:extLst>
                <a:ext uri="{FF2B5EF4-FFF2-40B4-BE49-F238E27FC236}">
                  <a16:creationId xmlns:a16="http://schemas.microsoft.com/office/drawing/2014/main" id="{94625083-7581-4D9B-BA6E-272B73800CF5}"/>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 name="Rektangel 121">
              <a:extLst>
                <a:ext uri="{FF2B5EF4-FFF2-40B4-BE49-F238E27FC236}">
                  <a16:creationId xmlns:a16="http://schemas.microsoft.com/office/drawing/2014/main" id="{F3415190-D407-40CF-BDE8-EAE15E21E5BE}"/>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 name="Rektangel 122">
              <a:extLst>
                <a:ext uri="{FF2B5EF4-FFF2-40B4-BE49-F238E27FC236}">
                  <a16:creationId xmlns:a16="http://schemas.microsoft.com/office/drawing/2014/main" id="{AA98C243-98D1-4761-9D03-7A70BBF08CB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Rektangel 2">
            <a:extLst>
              <a:ext uri="{FF2B5EF4-FFF2-40B4-BE49-F238E27FC236}">
                <a16:creationId xmlns:a16="http://schemas.microsoft.com/office/drawing/2014/main" id="{72563DCF-7739-41F7-8E50-DFCB7572DEBB}"/>
              </a:ext>
            </a:extLst>
          </p:cNvPr>
          <p:cNvSpPr/>
          <p:nvPr userDrawn="1"/>
        </p:nvSpPr>
        <p:spPr>
          <a:xfrm>
            <a:off x="6527149" y="3959460"/>
            <a:ext cx="776191" cy="1953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Ligebenet trekant 6">
            <a:extLst>
              <a:ext uri="{FF2B5EF4-FFF2-40B4-BE49-F238E27FC236}">
                <a16:creationId xmlns:a16="http://schemas.microsoft.com/office/drawing/2014/main" id="{8299D225-845A-44FB-B573-DA7AE1F8B80C}"/>
              </a:ext>
            </a:extLst>
          </p:cNvPr>
          <p:cNvSpPr/>
          <p:nvPr userDrawn="1"/>
        </p:nvSpPr>
        <p:spPr>
          <a:xfrm>
            <a:off x="6416146" y="3301258"/>
            <a:ext cx="980779" cy="615625"/>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Rektangel 7">
            <a:extLst>
              <a:ext uri="{FF2B5EF4-FFF2-40B4-BE49-F238E27FC236}">
                <a16:creationId xmlns:a16="http://schemas.microsoft.com/office/drawing/2014/main" id="{AE433A7F-DB9C-45CD-892A-A25A2E90FFA2}"/>
              </a:ext>
            </a:extLst>
          </p:cNvPr>
          <p:cNvSpPr/>
          <p:nvPr userDrawn="1"/>
        </p:nvSpPr>
        <p:spPr>
          <a:xfrm>
            <a:off x="6467207" y="3908175"/>
            <a:ext cx="878656" cy="533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da-DK" dirty="0"/>
          </a:p>
        </p:txBody>
      </p:sp>
      <p:sp>
        <p:nvSpPr>
          <p:cNvPr id="293" name="Rektangel 292">
            <a:extLst>
              <a:ext uri="{FF2B5EF4-FFF2-40B4-BE49-F238E27FC236}">
                <a16:creationId xmlns:a16="http://schemas.microsoft.com/office/drawing/2014/main" id="{63A177BD-AD98-440B-BBDD-6133B36A3580}"/>
              </a:ext>
            </a:extLst>
          </p:cNvPr>
          <p:cNvSpPr/>
          <p:nvPr userDrawn="1"/>
        </p:nvSpPr>
        <p:spPr>
          <a:xfrm>
            <a:off x="9995727" y="4768053"/>
            <a:ext cx="108427" cy="218194"/>
          </a:xfrm>
          <a:prstGeom prst="rect">
            <a:avLst/>
          </a:prstGeom>
          <a:solidFill>
            <a:srgbClr val="4B6A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94" name="Gruppe 293">
            <a:extLst>
              <a:ext uri="{FF2B5EF4-FFF2-40B4-BE49-F238E27FC236}">
                <a16:creationId xmlns:a16="http://schemas.microsoft.com/office/drawing/2014/main" id="{154968E5-4D2C-4860-B38E-6B4F3C6966B6}"/>
              </a:ext>
            </a:extLst>
          </p:cNvPr>
          <p:cNvGrpSpPr/>
          <p:nvPr userDrawn="1"/>
        </p:nvGrpSpPr>
        <p:grpSpPr>
          <a:xfrm flipH="1">
            <a:off x="8502738" y="5152312"/>
            <a:ext cx="754844" cy="756518"/>
            <a:chOff x="5963869" y="5072627"/>
            <a:chExt cx="830528" cy="1085187"/>
          </a:xfrm>
          <a:solidFill>
            <a:schemeClr val="accent4"/>
          </a:solidFill>
        </p:grpSpPr>
        <p:grpSp>
          <p:nvGrpSpPr>
            <p:cNvPr id="295" name="Gruppe 294">
              <a:extLst>
                <a:ext uri="{FF2B5EF4-FFF2-40B4-BE49-F238E27FC236}">
                  <a16:creationId xmlns:a16="http://schemas.microsoft.com/office/drawing/2014/main" id="{5DA75CC6-37E3-40A4-9C63-59F17B97719D}"/>
                </a:ext>
              </a:extLst>
            </p:cNvPr>
            <p:cNvGrpSpPr/>
            <p:nvPr userDrawn="1"/>
          </p:nvGrpSpPr>
          <p:grpSpPr>
            <a:xfrm>
              <a:off x="5963869" y="5072627"/>
              <a:ext cx="830528" cy="1085187"/>
              <a:chOff x="6528663" y="5014275"/>
              <a:chExt cx="830528" cy="1085187"/>
            </a:xfrm>
            <a:grpFill/>
          </p:grpSpPr>
          <p:sp>
            <p:nvSpPr>
              <p:cNvPr id="297" name="Rektangel 296">
                <a:extLst>
                  <a:ext uri="{FF2B5EF4-FFF2-40B4-BE49-F238E27FC236}">
                    <a16:creationId xmlns:a16="http://schemas.microsoft.com/office/drawing/2014/main" id="{3EF537A6-35FE-4DB5-AB5C-309D14B7CB4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Ellipse 297">
                <a:extLst>
                  <a:ext uri="{FF2B5EF4-FFF2-40B4-BE49-F238E27FC236}">
                    <a16:creationId xmlns:a16="http://schemas.microsoft.com/office/drawing/2014/main" id="{501F6430-FAB4-48F1-98C8-79D25B0781C1}"/>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9" name="Ellipse 298">
                <a:extLst>
                  <a:ext uri="{FF2B5EF4-FFF2-40B4-BE49-F238E27FC236}">
                    <a16:creationId xmlns:a16="http://schemas.microsoft.com/office/drawing/2014/main" id="{82822276-8324-4301-B04C-C1D7FFF60E65}"/>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0" name="Ellipse 299">
                <a:extLst>
                  <a:ext uri="{FF2B5EF4-FFF2-40B4-BE49-F238E27FC236}">
                    <a16:creationId xmlns:a16="http://schemas.microsoft.com/office/drawing/2014/main" id="{FF593165-A84D-4CF1-A033-0837DF00073B}"/>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1" name="Ellipse 300">
                <a:extLst>
                  <a:ext uri="{FF2B5EF4-FFF2-40B4-BE49-F238E27FC236}">
                    <a16:creationId xmlns:a16="http://schemas.microsoft.com/office/drawing/2014/main" id="{61F850AF-5430-4E46-9FF1-4D02FB21F55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96" name="Ellipse 295">
              <a:extLst>
                <a:ext uri="{FF2B5EF4-FFF2-40B4-BE49-F238E27FC236}">
                  <a16:creationId xmlns:a16="http://schemas.microsoft.com/office/drawing/2014/main" id="{19325375-B874-444F-BBCC-3B5B0A5BEEC8}"/>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2" name="Gruppe 301">
            <a:extLst>
              <a:ext uri="{FF2B5EF4-FFF2-40B4-BE49-F238E27FC236}">
                <a16:creationId xmlns:a16="http://schemas.microsoft.com/office/drawing/2014/main" id="{B956CE69-4C5F-4F86-B9E7-93014E0A902A}"/>
              </a:ext>
            </a:extLst>
          </p:cNvPr>
          <p:cNvGrpSpPr/>
          <p:nvPr userDrawn="1"/>
        </p:nvGrpSpPr>
        <p:grpSpPr>
          <a:xfrm>
            <a:off x="10640826" y="5077300"/>
            <a:ext cx="754844" cy="756518"/>
            <a:chOff x="5963869" y="5072627"/>
            <a:chExt cx="830528" cy="1085187"/>
          </a:xfrm>
          <a:solidFill>
            <a:schemeClr val="accent4">
              <a:lumMod val="60000"/>
              <a:lumOff val="40000"/>
            </a:schemeClr>
          </a:solidFill>
        </p:grpSpPr>
        <p:grpSp>
          <p:nvGrpSpPr>
            <p:cNvPr id="303" name="Gruppe 302">
              <a:extLst>
                <a:ext uri="{FF2B5EF4-FFF2-40B4-BE49-F238E27FC236}">
                  <a16:creationId xmlns:a16="http://schemas.microsoft.com/office/drawing/2014/main" id="{67BD5D07-1129-428F-8F70-F9F1785299F1}"/>
                </a:ext>
              </a:extLst>
            </p:cNvPr>
            <p:cNvGrpSpPr/>
            <p:nvPr userDrawn="1"/>
          </p:nvGrpSpPr>
          <p:grpSpPr>
            <a:xfrm>
              <a:off x="5963869" y="5072627"/>
              <a:ext cx="830528" cy="1085187"/>
              <a:chOff x="6528663" y="5014275"/>
              <a:chExt cx="830528" cy="1085187"/>
            </a:xfrm>
            <a:grpFill/>
          </p:grpSpPr>
          <p:sp>
            <p:nvSpPr>
              <p:cNvPr id="305" name="Rektangel 304">
                <a:extLst>
                  <a:ext uri="{FF2B5EF4-FFF2-40B4-BE49-F238E27FC236}">
                    <a16:creationId xmlns:a16="http://schemas.microsoft.com/office/drawing/2014/main" id="{CB1AAB54-63C1-40B0-95F9-093741E73DD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6" name="Ellipse 305">
                <a:extLst>
                  <a:ext uri="{FF2B5EF4-FFF2-40B4-BE49-F238E27FC236}">
                    <a16:creationId xmlns:a16="http://schemas.microsoft.com/office/drawing/2014/main" id="{94F84BEA-4416-40EA-9BA4-DA798F2D3B82}"/>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7" name="Ellipse 306">
                <a:extLst>
                  <a:ext uri="{FF2B5EF4-FFF2-40B4-BE49-F238E27FC236}">
                    <a16:creationId xmlns:a16="http://schemas.microsoft.com/office/drawing/2014/main" id="{047DF334-9AF4-45A8-A07D-AAC12E2BF0AD}"/>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8" name="Ellipse 307">
                <a:extLst>
                  <a:ext uri="{FF2B5EF4-FFF2-40B4-BE49-F238E27FC236}">
                    <a16:creationId xmlns:a16="http://schemas.microsoft.com/office/drawing/2014/main" id="{2A853F9A-9ED2-4EF9-8B4B-8CC1F31E4E50}"/>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9" name="Ellipse 308">
                <a:extLst>
                  <a:ext uri="{FF2B5EF4-FFF2-40B4-BE49-F238E27FC236}">
                    <a16:creationId xmlns:a16="http://schemas.microsoft.com/office/drawing/2014/main" id="{AA8586AD-A268-409D-B999-FB5C94532F2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04" name="Ellipse 303">
              <a:extLst>
                <a:ext uri="{FF2B5EF4-FFF2-40B4-BE49-F238E27FC236}">
                  <a16:creationId xmlns:a16="http://schemas.microsoft.com/office/drawing/2014/main" id="{E6B9FEDF-17D7-45DF-A249-BDF78A79D493}"/>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0" name="Gruppe 219">
            <a:extLst>
              <a:ext uri="{FF2B5EF4-FFF2-40B4-BE49-F238E27FC236}">
                <a16:creationId xmlns:a16="http://schemas.microsoft.com/office/drawing/2014/main" id="{4292F807-CC8E-4482-8B6E-4D1D040D43D4}"/>
              </a:ext>
            </a:extLst>
          </p:cNvPr>
          <p:cNvGrpSpPr/>
          <p:nvPr userDrawn="1"/>
        </p:nvGrpSpPr>
        <p:grpSpPr>
          <a:xfrm>
            <a:off x="9949474" y="3922687"/>
            <a:ext cx="620513" cy="472970"/>
            <a:chOff x="5878302" y="5164076"/>
            <a:chExt cx="916095" cy="739089"/>
          </a:xfrm>
        </p:grpSpPr>
        <p:grpSp>
          <p:nvGrpSpPr>
            <p:cNvPr id="221" name="Gruppe 220">
              <a:extLst>
                <a:ext uri="{FF2B5EF4-FFF2-40B4-BE49-F238E27FC236}">
                  <a16:creationId xmlns:a16="http://schemas.microsoft.com/office/drawing/2014/main" id="{B012B21A-193A-40E7-8B18-03D86A25A6E7}"/>
                </a:ext>
              </a:extLst>
            </p:cNvPr>
            <p:cNvGrpSpPr/>
            <p:nvPr userDrawn="1"/>
          </p:nvGrpSpPr>
          <p:grpSpPr>
            <a:xfrm>
              <a:off x="5878302" y="5164076"/>
              <a:ext cx="916095" cy="739089"/>
              <a:chOff x="6443096" y="5105724"/>
              <a:chExt cx="916095" cy="739089"/>
            </a:xfrm>
          </p:grpSpPr>
          <p:sp>
            <p:nvSpPr>
              <p:cNvPr id="223" name="Rektangel 222">
                <a:extLst>
                  <a:ext uri="{FF2B5EF4-FFF2-40B4-BE49-F238E27FC236}">
                    <a16:creationId xmlns:a16="http://schemas.microsoft.com/office/drawing/2014/main" id="{9FCE88A3-9F5D-4D80-8DF6-E6587172E8D7}"/>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4" name="Ellipse 223">
                <a:extLst>
                  <a:ext uri="{FF2B5EF4-FFF2-40B4-BE49-F238E27FC236}">
                    <a16:creationId xmlns:a16="http://schemas.microsoft.com/office/drawing/2014/main" id="{B08E6BAC-E1DB-49BB-BBDA-81B59A4B5809}"/>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5" name="Ellipse 224">
                <a:extLst>
                  <a:ext uri="{FF2B5EF4-FFF2-40B4-BE49-F238E27FC236}">
                    <a16:creationId xmlns:a16="http://schemas.microsoft.com/office/drawing/2014/main" id="{69FF9019-4B35-475C-8766-1058F4787F14}"/>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6" name="Ellipse 225">
                <a:extLst>
                  <a:ext uri="{FF2B5EF4-FFF2-40B4-BE49-F238E27FC236}">
                    <a16:creationId xmlns:a16="http://schemas.microsoft.com/office/drawing/2014/main" id="{DA79CCF9-D7D2-4ED6-8463-49DBE9D52C24}"/>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7" name="Ellipse 226">
                <a:extLst>
                  <a:ext uri="{FF2B5EF4-FFF2-40B4-BE49-F238E27FC236}">
                    <a16:creationId xmlns:a16="http://schemas.microsoft.com/office/drawing/2014/main" id="{A1C65010-0F1C-4688-B243-C98FBD8BF885}"/>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22" name="Ellipse 221">
              <a:extLst>
                <a:ext uri="{FF2B5EF4-FFF2-40B4-BE49-F238E27FC236}">
                  <a16:creationId xmlns:a16="http://schemas.microsoft.com/office/drawing/2014/main" id="{725822E7-A3E7-4983-9FC4-C326B7A522C2}"/>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82" name="Gruppe 281">
            <a:extLst>
              <a:ext uri="{FF2B5EF4-FFF2-40B4-BE49-F238E27FC236}">
                <a16:creationId xmlns:a16="http://schemas.microsoft.com/office/drawing/2014/main" id="{EEA7A269-8F43-4E76-91B3-9FF5EADF0299}"/>
              </a:ext>
            </a:extLst>
          </p:cNvPr>
          <p:cNvGrpSpPr/>
          <p:nvPr userDrawn="1"/>
        </p:nvGrpSpPr>
        <p:grpSpPr>
          <a:xfrm flipH="1">
            <a:off x="10295894" y="4241293"/>
            <a:ext cx="832613" cy="515242"/>
            <a:chOff x="5878302" y="5164076"/>
            <a:chExt cx="916095" cy="739089"/>
          </a:xfrm>
          <a:solidFill>
            <a:schemeClr val="accent4">
              <a:lumMod val="60000"/>
              <a:lumOff val="40000"/>
            </a:schemeClr>
          </a:solidFill>
        </p:grpSpPr>
        <p:grpSp>
          <p:nvGrpSpPr>
            <p:cNvPr id="283" name="Gruppe 282">
              <a:extLst>
                <a:ext uri="{FF2B5EF4-FFF2-40B4-BE49-F238E27FC236}">
                  <a16:creationId xmlns:a16="http://schemas.microsoft.com/office/drawing/2014/main" id="{909DED1B-8467-4330-881D-505AFE0CA01E}"/>
                </a:ext>
              </a:extLst>
            </p:cNvPr>
            <p:cNvGrpSpPr/>
            <p:nvPr userDrawn="1"/>
          </p:nvGrpSpPr>
          <p:grpSpPr>
            <a:xfrm>
              <a:off x="5878302" y="5164076"/>
              <a:ext cx="916095" cy="739089"/>
              <a:chOff x="6443096" y="5105724"/>
              <a:chExt cx="916095" cy="739089"/>
            </a:xfrm>
            <a:grpFill/>
          </p:grpSpPr>
          <p:sp>
            <p:nvSpPr>
              <p:cNvPr id="285" name="Rektangel 284">
                <a:extLst>
                  <a:ext uri="{FF2B5EF4-FFF2-40B4-BE49-F238E27FC236}">
                    <a16:creationId xmlns:a16="http://schemas.microsoft.com/office/drawing/2014/main" id="{6F49FFA3-B56A-4952-B359-6F4E4B6641CD}"/>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6" name="Ellipse 285">
                <a:extLst>
                  <a:ext uri="{FF2B5EF4-FFF2-40B4-BE49-F238E27FC236}">
                    <a16:creationId xmlns:a16="http://schemas.microsoft.com/office/drawing/2014/main" id="{462D70C1-9ADD-46A3-8A6F-80CB6048641F}"/>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7" name="Ellipse 286">
                <a:extLst>
                  <a:ext uri="{FF2B5EF4-FFF2-40B4-BE49-F238E27FC236}">
                    <a16:creationId xmlns:a16="http://schemas.microsoft.com/office/drawing/2014/main" id="{8651EC12-31DA-4C7B-B8C1-61F1723FC891}"/>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0" name="Ellipse 309">
                <a:extLst>
                  <a:ext uri="{FF2B5EF4-FFF2-40B4-BE49-F238E27FC236}">
                    <a16:creationId xmlns:a16="http://schemas.microsoft.com/office/drawing/2014/main" id="{5DB3E50B-5AFE-400B-AD9D-3BAEC90F7DC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1" name="Ellipse 310">
                <a:extLst>
                  <a:ext uri="{FF2B5EF4-FFF2-40B4-BE49-F238E27FC236}">
                    <a16:creationId xmlns:a16="http://schemas.microsoft.com/office/drawing/2014/main" id="{C4ECC2B3-4AE2-4A7F-9324-43879D590FA2}"/>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84" name="Ellipse 283">
              <a:extLst>
                <a:ext uri="{FF2B5EF4-FFF2-40B4-BE49-F238E27FC236}">
                  <a16:creationId xmlns:a16="http://schemas.microsoft.com/office/drawing/2014/main" id="{FA73E8A4-BA6D-496D-ACF4-A1EC7ADBEDD7}"/>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 name="Gruppe 9">
            <a:extLst>
              <a:ext uri="{FF2B5EF4-FFF2-40B4-BE49-F238E27FC236}">
                <a16:creationId xmlns:a16="http://schemas.microsoft.com/office/drawing/2014/main" id="{E29795ED-ECA1-4FC3-85CA-9628F333E3BC}"/>
              </a:ext>
            </a:extLst>
          </p:cNvPr>
          <p:cNvGrpSpPr>
            <a:grpSpLocks noChangeAspect="1"/>
          </p:cNvGrpSpPr>
          <p:nvPr userDrawn="1"/>
        </p:nvGrpSpPr>
        <p:grpSpPr>
          <a:xfrm>
            <a:off x="10595393" y="2660797"/>
            <a:ext cx="212441" cy="301928"/>
            <a:chOff x="8910078" y="4612870"/>
            <a:chExt cx="304785" cy="433171"/>
          </a:xfrm>
        </p:grpSpPr>
        <p:sp>
          <p:nvSpPr>
            <p:cNvPr id="320" name="Rektangel 319">
              <a:extLst>
                <a:ext uri="{FF2B5EF4-FFF2-40B4-BE49-F238E27FC236}">
                  <a16:creationId xmlns:a16="http://schemas.microsoft.com/office/drawing/2014/main" id="{0BA3EA4B-A5C9-449C-8203-39EDD292D934}"/>
                </a:ext>
              </a:extLst>
            </p:cNvPr>
            <p:cNvSpPr/>
            <p:nvPr userDrawn="1"/>
          </p:nvSpPr>
          <p:spPr>
            <a:xfrm rot="5400000">
              <a:off x="8717562" y="4817571"/>
              <a:ext cx="432000"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1" name="Ellipse 320">
              <a:extLst>
                <a:ext uri="{FF2B5EF4-FFF2-40B4-BE49-F238E27FC236}">
                  <a16:creationId xmlns:a16="http://schemas.microsoft.com/office/drawing/2014/main" id="{FF923BF8-B895-4020-807B-F70FA849550A}"/>
                </a:ext>
              </a:extLst>
            </p:cNvPr>
            <p:cNvSpPr>
              <a:spLocks noChangeAspect="1"/>
            </p:cNvSpPr>
            <p:nvPr userDrawn="1"/>
          </p:nvSpPr>
          <p:spPr>
            <a:xfrm>
              <a:off x="8910078" y="4612870"/>
              <a:ext cx="49878" cy="48412"/>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2" name="Rektangel 321">
              <a:extLst>
                <a:ext uri="{FF2B5EF4-FFF2-40B4-BE49-F238E27FC236}">
                  <a16:creationId xmlns:a16="http://schemas.microsoft.com/office/drawing/2014/main" id="{A81ECA5A-0916-42D5-8478-5B0DD61E2B42}"/>
                </a:ext>
              </a:extLst>
            </p:cNvPr>
            <p:cNvSpPr/>
            <p:nvPr userDrawn="1"/>
          </p:nvSpPr>
          <p:spPr>
            <a:xfrm>
              <a:off x="8948824" y="4664288"/>
              <a:ext cx="266039" cy="115403"/>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3" name="Rektangel 322">
              <a:extLst>
                <a:ext uri="{FF2B5EF4-FFF2-40B4-BE49-F238E27FC236}">
                  <a16:creationId xmlns:a16="http://schemas.microsoft.com/office/drawing/2014/main" id="{867539CB-4175-4B96-AEEF-25C7EAB8D854}"/>
                </a:ext>
              </a:extLst>
            </p:cNvPr>
            <p:cNvSpPr/>
            <p:nvPr userDrawn="1"/>
          </p:nvSpPr>
          <p:spPr>
            <a:xfrm rot="5400000">
              <a:off x="9065594" y="4589340"/>
              <a:ext cx="24206" cy="274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4" name="Rektangel 323">
              <a:extLst>
                <a:ext uri="{FF2B5EF4-FFF2-40B4-BE49-F238E27FC236}">
                  <a16:creationId xmlns:a16="http://schemas.microsoft.com/office/drawing/2014/main" id="{DA347924-9CC1-4DA7-A0B7-544B9BEF0A5A}"/>
                </a:ext>
              </a:extLst>
            </p:cNvPr>
            <p:cNvSpPr/>
            <p:nvPr userDrawn="1"/>
          </p:nvSpPr>
          <p:spPr>
            <a:xfrm>
              <a:off x="9033438" y="4663973"/>
              <a:ext cx="24939" cy="115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40" name="Rektangel: øverste hjørner afrundet 339">
            <a:extLst>
              <a:ext uri="{FF2B5EF4-FFF2-40B4-BE49-F238E27FC236}">
                <a16:creationId xmlns:a16="http://schemas.microsoft.com/office/drawing/2014/main" id="{C62F0BC4-88CE-420B-BFCB-A413968293E7}"/>
              </a:ext>
            </a:extLst>
          </p:cNvPr>
          <p:cNvSpPr/>
          <p:nvPr userDrawn="1"/>
        </p:nvSpPr>
        <p:spPr>
          <a:xfrm>
            <a:off x="10533563" y="2978289"/>
            <a:ext cx="157195" cy="108688"/>
          </a:xfrm>
          <a:prstGeom prst="round2SameRect">
            <a:avLst>
              <a:gd name="adj1" fmla="val 35394"/>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1" name="Rektangel: øverste hjørner afrundet 340">
            <a:extLst>
              <a:ext uri="{FF2B5EF4-FFF2-40B4-BE49-F238E27FC236}">
                <a16:creationId xmlns:a16="http://schemas.microsoft.com/office/drawing/2014/main" id="{5CB2B274-161F-4E9D-A7B4-7C62E90A5997}"/>
              </a:ext>
            </a:extLst>
          </p:cNvPr>
          <p:cNvSpPr/>
          <p:nvPr userDrawn="1"/>
        </p:nvSpPr>
        <p:spPr>
          <a:xfrm>
            <a:off x="10588757" y="2919897"/>
            <a:ext cx="45719" cy="108688"/>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81" name="Gruppe 280">
            <a:extLst>
              <a:ext uri="{FF2B5EF4-FFF2-40B4-BE49-F238E27FC236}">
                <a16:creationId xmlns:a16="http://schemas.microsoft.com/office/drawing/2014/main" id="{4A829FF2-4B54-4C8C-9536-FA5C27653B07}"/>
              </a:ext>
            </a:extLst>
          </p:cNvPr>
          <p:cNvGrpSpPr/>
          <p:nvPr userDrawn="1"/>
        </p:nvGrpSpPr>
        <p:grpSpPr>
          <a:xfrm>
            <a:off x="11007726" y="5568895"/>
            <a:ext cx="478314" cy="308029"/>
            <a:chOff x="5878302" y="5164076"/>
            <a:chExt cx="916095" cy="618051"/>
          </a:xfrm>
          <a:solidFill>
            <a:schemeClr val="accent4">
              <a:lumMod val="75000"/>
            </a:schemeClr>
          </a:solidFill>
        </p:grpSpPr>
        <p:grpSp>
          <p:nvGrpSpPr>
            <p:cNvPr id="330" name="Gruppe 329">
              <a:extLst>
                <a:ext uri="{FF2B5EF4-FFF2-40B4-BE49-F238E27FC236}">
                  <a16:creationId xmlns:a16="http://schemas.microsoft.com/office/drawing/2014/main" id="{F192E2E2-809D-4C86-80C6-8B5B13229DF7}"/>
                </a:ext>
              </a:extLst>
            </p:cNvPr>
            <p:cNvGrpSpPr/>
            <p:nvPr userDrawn="1"/>
          </p:nvGrpSpPr>
          <p:grpSpPr>
            <a:xfrm>
              <a:off x="5878302" y="5164076"/>
              <a:ext cx="916095" cy="561875"/>
              <a:chOff x="6443096" y="5105724"/>
              <a:chExt cx="916095" cy="561875"/>
            </a:xfrm>
            <a:grpFill/>
          </p:grpSpPr>
          <p:sp>
            <p:nvSpPr>
              <p:cNvPr id="356" name="Ellipse 355">
                <a:extLst>
                  <a:ext uri="{FF2B5EF4-FFF2-40B4-BE49-F238E27FC236}">
                    <a16:creationId xmlns:a16="http://schemas.microsoft.com/office/drawing/2014/main" id="{E4E4E890-222D-431A-8273-4FFCD3C44BAB}"/>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7" name="Ellipse 356">
                <a:extLst>
                  <a:ext uri="{FF2B5EF4-FFF2-40B4-BE49-F238E27FC236}">
                    <a16:creationId xmlns:a16="http://schemas.microsoft.com/office/drawing/2014/main" id="{1210BBB9-443B-476C-B85F-4F954E746504}"/>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8" name="Ellipse 357">
                <a:extLst>
                  <a:ext uri="{FF2B5EF4-FFF2-40B4-BE49-F238E27FC236}">
                    <a16:creationId xmlns:a16="http://schemas.microsoft.com/office/drawing/2014/main" id="{7BBEECEE-598F-4535-912D-81D86526240F}"/>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9" name="Ellipse 358">
                <a:extLst>
                  <a:ext uri="{FF2B5EF4-FFF2-40B4-BE49-F238E27FC236}">
                    <a16:creationId xmlns:a16="http://schemas.microsoft.com/office/drawing/2014/main" id="{E7CE32A6-471A-471F-89A4-AFE9498FC56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31" name="Ellipse 330">
              <a:extLst>
                <a:ext uri="{FF2B5EF4-FFF2-40B4-BE49-F238E27FC236}">
                  <a16:creationId xmlns:a16="http://schemas.microsoft.com/office/drawing/2014/main" id="{91EBC68B-981B-4C4A-AF64-4E347C47984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7" name="Gruppe 366">
            <a:extLst>
              <a:ext uri="{FF2B5EF4-FFF2-40B4-BE49-F238E27FC236}">
                <a16:creationId xmlns:a16="http://schemas.microsoft.com/office/drawing/2014/main" id="{7CECA2B4-15EC-4DBA-98F2-4D1EE882E0FC}"/>
              </a:ext>
            </a:extLst>
          </p:cNvPr>
          <p:cNvGrpSpPr/>
          <p:nvPr userDrawn="1"/>
        </p:nvGrpSpPr>
        <p:grpSpPr>
          <a:xfrm flipV="1">
            <a:off x="10564403" y="5588264"/>
            <a:ext cx="394712" cy="270741"/>
            <a:chOff x="5878302" y="5164076"/>
            <a:chExt cx="916095" cy="618051"/>
          </a:xfrm>
          <a:solidFill>
            <a:schemeClr val="accent4">
              <a:lumMod val="60000"/>
              <a:lumOff val="40000"/>
            </a:schemeClr>
          </a:solidFill>
        </p:grpSpPr>
        <p:grpSp>
          <p:nvGrpSpPr>
            <p:cNvPr id="368" name="Gruppe 367">
              <a:extLst>
                <a:ext uri="{FF2B5EF4-FFF2-40B4-BE49-F238E27FC236}">
                  <a16:creationId xmlns:a16="http://schemas.microsoft.com/office/drawing/2014/main" id="{06D00D05-B8C7-4708-8B4E-4B1D85B7B1D6}"/>
                </a:ext>
              </a:extLst>
            </p:cNvPr>
            <p:cNvGrpSpPr/>
            <p:nvPr userDrawn="1"/>
          </p:nvGrpSpPr>
          <p:grpSpPr>
            <a:xfrm>
              <a:off x="5878302" y="5164076"/>
              <a:ext cx="916095" cy="561875"/>
              <a:chOff x="6443096" y="5105724"/>
              <a:chExt cx="916095" cy="561875"/>
            </a:xfrm>
            <a:grpFill/>
          </p:grpSpPr>
          <p:sp>
            <p:nvSpPr>
              <p:cNvPr id="370" name="Ellipse 369">
                <a:extLst>
                  <a:ext uri="{FF2B5EF4-FFF2-40B4-BE49-F238E27FC236}">
                    <a16:creationId xmlns:a16="http://schemas.microsoft.com/office/drawing/2014/main" id="{3E090C47-2503-4E78-872D-5C68DEFE7378}"/>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1" name="Ellipse 370">
                <a:extLst>
                  <a:ext uri="{FF2B5EF4-FFF2-40B4-BE49-F238E27FC236}">
                    <a16:creationId xmlns:a16="http://schemas.microsoft.com/office/drawing/2014/main" id="{D3C5F813-9E3C-4549-B611-AD50B97A6A0C}"/>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2" name="Ellipse 371">
                <a:extLst>
                  <a:ext uri="{FF2B5EF4-FFF2-40B4-BE49-F238E27FC236}">
                    <a16:creationId xmlns:a16="http://schemas.microsoft.com/office/drawing/2014/main" id="{10482F65-69E8-4663-ADAC-26A2A14AD3D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7D9DADE8-14E5-4029-ACDB-93CED8F4A66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9" name="Ellipse 368">
              <a:extLst>
                <a:ext uri="{FF2B5EF4-FFF2-40B4-BE49-F238E27FC236}">
                  <a16:creationId xmlns:a16="http://schemas.microsoft.com/office/drawing/2014/main" id="{E998773F-9E84-4DF3-A91B-0CA2795958D5}"/>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30" name="Gruppe 229">
            <a:extLst>
              <a:ext uri="{FF2B5EF4-FFF2-40B4-BE49-F238E27FC236}">
                <a16:creationId xmlns:a16="http://schemas.microsoft.com/office/drawing/2014/main" id="{796C7238-38A4-4829-9979-ADD88A405B96}"/>
              </a:ext>
            </a:extLst>
          </p:cNvPr>
          <p:cNvGrpSpPr/>
          <p:nvPr userDrawn="1"/>
        </p:nvGrpSpPr>
        <p:grpSpPr>
          <a:xfrm>
            <a:off x="10020191" y="5126437"/>
            <a:ext cx="916095" cy="739089"/>
            <a:chOff x="5878302" y="5164076"/>
            <a:chExt cx="916095" cy="739089"/>
          </a:xfrm>
        </p:grpSpPr>
        <p:grpSp>
          <p:nvGrpSpPr>
            <p:cNvPr id="231" name="Gruppe 230">
              <a:extLst>
                <a:ext uri="{FF2B5EF4-FFF2-40B4-BE49-F238E27FC236}">
                  <a16:creationId xmlns:a16="http://schemas.microsoft.com/office/drawing/2014/main" id="{8BDF96EF-0B8B-41BC-BE25-95C5C03503AD}"/>
                </a:ext>
              </a:extLst>
            </p:cNvPr>
            <p:cNvGrpSpPr/>
            <p:nvPr userDrawn="1"/>
          </p:nvGrpSpPr>
          <p:grpSpPr>
            <a:xfrm>
              <a:off x="5878302" y="5164076"/>
              <a:ext cx="916095" cy="739089"/>
              <a:chOff x="6443096" y="5105724"/>
              <a:chExt cx="916095" cy="739089"/>
            </a:xfrm>
          </p:grpSpPr>
          <p:sp>
            <p:nvSpPr>
              <p:cNvPr id="233" name="Rektangel 232">
                <a:extLst>
                  <a:ext uri="{FF2B5EF4-FFF2-40B4-BE49-F238E27FC236}">
                    <a16:creationId xmlns:a16="http://schemas.microsoft.com/office/drawing/2014/main" id="{B2026F2D-BB70-44A1-BB13-96A5EFB22069}"/>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4" name="Ellipse 233">
                <a:extLst>
                  <a:ext uri="{FF2B5EF4-FFF2-40B4-BE49-F238E27FC236}">
                    <a16:creationId xmlns:a16="http://schemas.microsoft.com/office/drawing/2014/main" id="{182AAC8F-A601-4F66-9CE1-18ECDAB0C86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5" name="Ellipse 234">
                <a:extLst>
                  <a:ext uri="{FF2B5EF4-FFF2-40B4-BE49-F238E27FC236}">
                    <a16:creationId xmlns:a16="http://schemas.microsoft.com/office/drawing/2014/main" id="{E89E9F92-DCC6-47C5-AF8C-5F8082497EF1}"/>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6" name="Ellipse 235">
                <a:extLst>
                  <a:ext uri="{FF2B5EF4-FFF2-40B4-BE49-F238E27FC236}">
                    <a16:creationId xmlns:a16="http://schemas.microsoft.com/office/drawing/2014/main" id="{3C2E8F47-9881-466A-8371-43CFD20B5366}"/>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7" name="Ellipse 236">
                <a:extLst>
                  <a:ext uri="{FF2B5EF4-FFF2-40B4-BE49-F238E27FC236}">
                    <a16:creationId xmlns:a16="http://schemas.microsoft.com/office/drawing/2014/main" id="{D4ACC086-0334-4990-8004-087E85BED416}"/>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32" name="Ellipse 231">
              <a:extLst>
                <a:ext uri="{FF2B5EF4-FFF2-40B4-BE49-F238E27FC236}">
                  <a16:creationId xmlns:a16="http://schemas.microsoft.com/office/drawing/2014/main" id="{85F74FBC-CB63-4285-B888-CA2C52C9C1FD}"/>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0" name="Gruppe 359">
            <a:extLst>
              <a:ext uri="{FF2B5EF4-FFF2-40B4-BE49-F238E27FC236}">
                <a16:creationId xmlns:a16="http://schemas.microsoft.com/office/drawing/2014/main" id="{01BD14B1-0C8C-4D63-A05E-636FC9F71D53}"/>
              </a:ext>
            </a:extLst>
          </p:cNvPr>
          <p:cNvGrpSpPr/>
          <p:nvPr userDrawn="1"/>
        </p:nvGrpSpPr>
        <p:grpSpPr>
          <a:xfrm>
            <a:off x="10124048" y="5644110"/>
            <a:ext cx="394712" cy="270741"/>
            <a:chOff x="5878302" y="5164076"/>
            <a:chExt cx="916095" cy="618051"/>
          </a:xfrm>
          <a:solidFill>
            <a:schemeClr val="accent4"/>
          </a:solidFill>
        </p:grpSpPr>
        <p:grpSp>
          <p:nvGrpSpPr>
            <p:cNvPr id="361" name="Gruppe 360">
              <a:extLst>
                <a:ext uri="{FF2B5EF4-FFF2-40B4-BE49-F238E27FC236}">
                  <a16:creationId xmlns:a16="http://schemas.microsoft.com/office/drawing/2014/main" id="{838C833C-7ECE-4074-8ACE-3300890F60FA}"/>
                </a:ext>
              </a:extLst>
            </p:cNvPr>
            <p:cNvGrpSpPr/>
            <p:nvPr userDrawn="1"/>
          </p:nvGrpSpPr>
          <p:grpSpPr>
            <a:xfrm>
              <a:off x="5878302" y="5164076"/>
              <a:ext cx="916095" cy="561875"/>
              <a:chOff x="6443096" y="5105724"/>
              <a:chExt cx="916095" cy="561875"/>
            </a:xfrm>
            <a:grpFill/>
          </p:grpSpPr>
          <p:sp>
            <p:nvSpPr>
              <p:cNvPr id="363" name="Ellipse 362">
                <a:extLst>
                  <a:ext uri="{FF2B5EF4-FFF2-40B4-BE49-F238E27FC236}">
                    <a16:creationId xmlns:a16="http://schemas.microsoft.com/office/drawing/2014/main" id="{7B6EAD83-13D8-4F12-B43A-8E363B7C8DED}"/>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4" name="Ellipse 363">
                <a:extLst>
                  <a:ext uri="{FF2B5EF4-FFF2-40B4-BE49-F238E27FC236}">
                    <a16:creationId xmlns:a16="http://schemas.microsoft.com/office/drawing/2014/main" id="{4961ACE8-9B7E-4E21-A787-5CC23E33CC5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5" name="Ellipse 364">
                <a:extLst>
                  <a:ext uri="{FF2B5EF4-FFF2-40B4-BE49-F238E27FC236}">
                    <a16:creationId xmlns:a16="http://schemas.microsoft.com/office/drawing/2014/main" id="{5A145DF6-9D3D-4360-9DBC-6CFA81B9C0D8}"/>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6" name="Ellipse 365">
                <a:extLst>
                  <a:ext uri="{FF2B5EF4-FFF2-40B4-BE49-F238E27FC236}">
                    <a16:creationId xmlns:a16="http://schemas.microsoft.com/office/drawing/2014/main" id="{B66C4709-4DBD-4777-89DA-299793B514B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2" name="Ellipse 361">
              <a:extLst>
                <a:ext uri="{FF2B5EF4-FFF2-40B4-BE49-F238E27FC236}">
                  <a16:creationId xmlns:a16="http://schemas.microsoft.com/office/drawing/2014/main" id="{0B326307-7CEB-4EC0-A724-33C991FC4910}"/>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75" name="Gruppe 374">
            <a:extLst>
              <a:ext uri="{FF2B5EF4-FFF2-40B4-BE49-F238E27FC236}">
                <a16:creationId xmlns:a16="http://schemas.microsoft.com/office/drawing/2014/main" id="{689BDEC5-905C-45DD-90C5-9AEA5503D833}"/>
              </a:ext>
            </a:extLst>
          </p:cNvPr>
          <p:cNvGrpSpPr/>
          <p:nvPr userDrawn="1"/>
        </p:nvGrpSpPr>
        <p:grpSpPr>
          <a:xfrm>
            <a:off x="10708687" y="5680624"/>
            <a:ext cx="478314" cy="308029"/>
            <a:chOff x="5878302" y="5164076"/>
            <a:chExt cx="916095" cy="618051"/>
          </a:xfrm>
          <a:solidFill>
            <a:schemeClr val="accent4"/>
          </a:solidFill>
        </p:grpSpPr>
        <p:grpSp>
          <p:nvGrpSpPr>
            <p:cNvPr id="376" name="Gruppe 375">
              <a:extLst>
                <a:ext uri="{FF2B5EF4-FFF2-40B4-BE49-F238E27FC236}">
                  <a16:creationId xmlns:a16="http://schemas.microsoft.com/office/drawing/2014/main" id="{AD8173EE-F5C8-483D-A02E-D7B6CF0975D0}"/>
                </a:ext>
              </a:extLst>
            </p:cNvPr>
            <p:cNvGrpSpPr/>
            <p:nvPr userDrawn="1"/>
          </p:nvGrpSpPr>
          <p:grpSpPr>
            <a:xfrm>
              <a:off x="5878302" y="5164076"/>
              <a:ext cx="916095" cy="561875"/>
              <a:chOff x="6443096" y="5105724"/>
              <a:chExt cx="916095" cy="561875"/>
            </a:xfrm>
            <a:grpFill/>
          </p:grpSpPr>
          <p:sp>
            <p:nvSpPr>
              <p:cNvPr id="378" name="Ellipse 377">
                <a:extLst>
                  <a:ext uri="{FF2B5EF4-FFF2-40B4-BE49-F238E27FC236}">
                    <a16:creationId xmlns:a16="http://schemas.microsoft.com/office/drawing/2014/main" id="{963C0A60-A3C9-430A-A108-F292F1838452}"/>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9" name="Ellipse 378">
                <a:extLst>
                  <a:ext uri="{FF2B5EF4-FFF2-40B4-BE49-F238E27FC236}">
                    <a16:creationId xmlns:a16="http://schemas.microsoft.com/office/drawing/2014/main" id="{73A888F8-DB76-4ECA-A70D-117A46E57AC9}"/>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0" name="Ellipse 379">
                <a:extLst>
                  <a:ext uri="{FF2B5EF4-FFF2-40B4-BE49-F238E27FC236}">
                    <a16:creationId xmlns:a16="http://schemas.microsoft.com/office/drawing/2014/main" id="{5420613A-C9A4-4803-ACA4-1839CCF52B7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2026BC59-313A-4460-9ED3-E98DFC14C81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7" name="Ellipse 376">
              <a:extLst>
                <a:ext uri="{FF2B5EF4-FFF2-40B4-BE49-F238E27FC236}">
                  <a16:creationId xmlns:a16="http://schemas.microsoft.com/office/drawing/2014/main" id="{6D6B0538-6F67-4C56-8E0B-EB1FF85B0E5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9" name="Gruppe 28">
            <a:extLst>
              <a:ext uri="{FF2B5EF4-FFF2-40B4-BE49-F238E27FC236}">
                <a16:creationId xmlns:a16="http://schemas.microsoft.com/office/drawing/2014/main" id="{E2DDE5A2-79AE-48C8-9B9A-83FC4FF17D90}"/>
              </a:ext>
            </a:extLst>
          </p:cNvPr>
          <p:cNvGrpSpPr/>
          <p:nvPr userDrawn="1"/>
        </p:nvGrpSpPr>
        <p:grpSpPr>
          <a:xfrm>
            <a:off x="6586590" y="4046025"/>
            <a:ext cx="99577" cy="1718833"/>
            <a:chOff x="6586590" y="4046025"/>
            <a:chExt cx="99577" cy="1718833"/>
          </a:xfrm>
        </p:grpSpPr>
        <p:grpSp>
          <p:nvGrpSpPr>
            <p:cNvPr id="19" name="Gruppe 18">
              <a:extLst>
                <a:ext uri="{FF2B5EF4-FFF2-40B4-BE49-F238E27FC236}">
                  <a16:creationId xmlns:a16="http://schemas.microsoft.com/office/drawing/2014/main" id="{9918AC4D-AE6C-4A67-8E5B-3E74B5ADE337}"/>
                </a:ext>
              </a:extLst>
            </p:cNvPr>
            <p:cNvGrpSpPr/>
            <p:nvPr userDrawn="1"/>
          </p:nvGrpSpPr>
          <p:grpSpPr>
            <a:xfrm>
              <a:off x="6586590" y="4046025"/>
              <a:ext cx="99577" cy="130933"/>
              <a:chOff x="6586590" y="4107944"/>
              <a:chExt cx="99577" cy="130933"/>
            </a:xfrm>
          </p:grpSpPr>
          <p:sp>
            <p:nvSpPr>
              <p:cNvPr id="17" name="Rektangel 16">
                <a:extLst>
                  <a:ext uri="{FF2B5EF4-FFF2-40B4-BE49-F238E27FC236}">
                    <a16:creationId xmlns:a16="http://schemas.microsoft.com/office/drawing/2014/main" id="{182ACCFE-41C8-4E17-9B8B-D827874A585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6" name="Rektangel 335">
                <a:extLst>
                  <a:ext uri="{FF2B5EF4-FFF2-40B4-BE49-F238E27FC236}">
                    <a16:creationId xmlns:a16="http://schemas.microsoft.com/office/drawing/2014/main" id="{CDE8D65B-CD8D-4003-A412-B5BC76EEB78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 name="Rektangel: øverste hjørner afrundet 12">
                <a:extLst>
                  <a:ext uri="{FF2B5EF4-FFF2-40B4-BE49-F238E27FC236}">
                    <a16:creationId xmlns:a16="http://schemas.microsoft.com/office/drawing/2014/main" id="{166A567D-33C1-4CA2-9DFE-4A65FA0F984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 name="Gruppe 13">
              <a:extLst>
                <a:ext uri="{FF2B5EF4-FFF2-40B4-BE49-F238E27FC236}">
                  <a16:creationId xmlns:a16="http://schemas.microsoft.com/office/drawing/2014/main" id="{587D7EB2-D5F6-4CD0-8A36-409C758BA33F}"/>
                </a:ext>
              </a:extLst>
            </p:cNvPr>
            <p:cNvGrpSpPr/>
            <p:nvPr userDrawn="1"/>
          </p:nvGrpSpPr>
          <p:grpSpPr>
            <a:xfrm>
              <a:off x="6586590" y="4257042"/>
              <a:ext cx="99577" cy="158629"/>
              <a:chOff x="6586590" y="4339419"/>
              <a:chExt cx="99577" cy="158629"/>
            </a:xfrm>
          </p:grpSpPr>
          <p:sp>
            <p:nvSpPr>
              <p:cNvPr id="389" name="Rektangel 388">
                <a:extLst>
                  <a:ext uri="{FF2B5EF4-FFF2-40B4-BE49-F238E27FC236}">
                    <a16:creationId xmlns:a16="http://schemas.microsoft.com/office/drawing/2014/main" id="{3E169BFA-6443-4EDB-BCCF-92BE8D19B67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0" name="Rektangel 389">
                <a:extLst>
                  <a:ext uri="{FF2B5EF4-FFF2-40B4-BE49-F238E27FC236}">
                    <a16:creationId xmlns:a16="http://schemas.microsoft.com/office/drawing/2014/main" id="{70CE1300-6612-4BD6-A5C2-B1059EEEEE4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1" name="Rektangel 390">
                <a:extLst>
                  <a:ext uri="{FF2B5EF4-FFF2-40B4-BE49-F238E27FC236}">
                    <a16:creationId xmlns:a16="http://schemas.microsoft.com/office/drawing/2014/main" id="{593E8EF2-DA0E-4D40-8BCC-4AB254A498D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2" name="Rektangel 391">
                <a:extLst>
                  <a:ext uri="{FF2B5EF4-FFF2-40B4-BE49-F238E27FC236}">
                    <a16:creationId xmlns:a16="http://schemas.microsoft.com/office/drawing/2014/main" id="{53040CC4-2268-4821-A77A-A32765988F03}"/>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3" name="Gruppe 392">
              <a:extLst>
                <a:ext uri="{FF2B5EF4-FFF2-40B4-BE49-F238E27FC236}">
                  <a16:creationId xmlns:a16="http://schemas.microsoft.com/office/drawing/2014/main" id="{3140AAA9-17DE-465B-8A6A-C9FE15269EF7}"/>
                </a:ext>
              </a:extLst>
            </p:cNvPr>
            <p:cNvGrpSpPr/>
            <p:nvPr userDrawn="1"/>
          </p:nvGrpSpPr>
          <p:grpSpPr>
            <a:xfrm>
              <a:off x="6586590" y="4495755"/>
              <a:ext cx="99577" cy="130933"/>
              <a:chOff x="6586590" y="4107944"/>
              <a:chExt cx="99577" cy="130933"/>
            </a:xfrm>
          </p:grpSpPr>
          <p:sp>
            <p:nvSpPr>
              <p:cNvPr id="394" name="Rektangel 393">
                <a:extLst>
                  <a:ext uri="{FF2B5EF4-FFF2-40B4-BE49-F238E27FC236}">
                    <a16:creationId xmlns:a16="http://schemas.microsoft.com/office/drawing/2014/main" id="{778552A3-E0DC-45DF-B6E8-CC07C581415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5" name="Rektangel 394">
                <a:extLst>
                  <a:ext uri="{FF2B5EF4-FFF2-40B4-BE49-F238E27FC236}">
                    <a16:creationId xmlns:a16="http://schemas.microsoft.com/office/drawing/2014/main" id="{DC3E0AC6-6E9B-4566-AD58-16808D35613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6" name="Rektangel: øverste hjørner afrundet 395">
                <a:extLst>
                  <a:ext uri="{FF2B5EF4-FFF2-40B4-BE49-F238E27FC236}">
                    <a16:creationId xmlns:a16="http://schemas.microsoft.com/office/drawing/2014/main" id="{D88CBFD0-3E8C-4ED3-A153-AE926B83168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7" name="Gruppe 396">
              <a:extLst>
                <a:ext uri="{FF2B5EF4-FFF2-40B4-BE49-F238E27FC236}">
                  <a16:creationId xmlns:a16="http://schemas.microsoft.com/office/drawing/2014/main" id="{F4E34A09-D0B3-4212-A589-68FC0C579D6D}"/>
                </a:ext>
              </a:extLst>
            </p:cNvPr>
            <p:cNvGrpSpPr/>
            <p:nvPr userDrawn="1"/>
          </p:nvGrpSpPr>
          <p:grpSpPr>
            <a:xfrm>
              <a:off x="6586590" y="4706772"/>
              <a:ext cx="99577" cy="158629"/>
              <a:chOff x="6586590" y="4339419"/>
              <a:chExt cx="99577" cy="158629"/>
            </a:xfrm>
          </p:grpSpPr>
          <p:sp>
            <p:nvSpPr>
              <p:cNvPr id="398" name="Rektangel 397">
                <a:extLst>
                  <a:ext uri="{FF2B5EF4-FFF2-40B4-BE49-F238E27FC236}">
                    <a16:creationId xmlns:a16="http://schemas.microsoft.com/office/drawing/2014/main" id="{53C43F32-76BA-45C4-B58C-7913498311B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9" name="Rektangel 398">
                <a:extLst>
                  <a:ext uri="{FF2B5EF4-FFF2-40B4-BE49-F238E27FC236}">
                    <a16:creationId xmlns:a16="http://schemas.microsoft.com/office/drawing/2014/main" id="{2D289542-AF25-42C1-A9D5-6FC616E91B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0" name="Rektangel 399">
                <a:extLst>
                  <a:ext uri="{FF2B5EF4-FFF2-40B4-BE49-F238E27FC236}">
                    <a16:creationId xmlns:a16="http://schemas.microsoft.com/office/drawing/2014/main" id="{3F21A039-3B6D-45CC-AFB3-F312070DA13B}"/>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1" name="Rektangel 400">
                <a:extLst>
                  <a:ext uri="{FF2B5EF4-FFF2-40B4-BE49-F238E27FC236}">
                    <a16:creationId xmlns:a16="http://schemas.microsoft.com/office/drawing/2014/main" id="{F2703EED-7B25-4998-97C5-DBD35AA4CAEE}"/>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2" name="Gruppe 401">
              <a:extLst>
                <a:ext uri="{FF2B5EF4-FFF2-40B4-BE49-F238E27FC236}">
                  <a16:creationId xmlns:a16="http://schemas.microsoft.com/office/drawing/2014/main" id="{E4AB5479-51EB-406C-A23A-6A8B7D8069B5}"/>
                </a:ext>
              </a:extLst>
            </p:cNvPr>
            <p:cNvGrpSpPr/>
            <p:nvPr userDrawn="1"/>
          </p:nvGrpSpPr>
          <p:grpSpPr>
            <a:xfrm>
              <a:off x="6586590" y="4945485"/>
              <a:ext cx="99577" cy="130933"/>
              <a:chOff x="6586590" y="4107944"/>
              <a:chExt cx="99577" cy="130933"/>
            </a:xfrm>
          </p:grpSpPr>
          <p:sp>
            <p:nvSpPr>
              <p:cNvPr id="403" name="Rektangel 402">
                <a:extLst>
                  <a:ext uri="{FF2B5EF4-FFF2-40B4-BE49-F238E27FC236}">
                    <a16:creationId xmlns:a16="http://schemas.microsoft.com/office/drawing/2014/main" id="{9B027EAF-0E31-4671-A90D-C3E9DCCD05A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Rektangel 403">
                <a:extLst>
                  <a:ext uri="{FF2B5EF4-FFF2-40B4-BE49-F238E27FC236}">
                    <a16:creationId xmlns:a16="http://schemas.microsoft.com/office/drawing/2014/main" id="{9B9273CD-ACE5-4738-8E59-727F57E9279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Rektangel: øverste hjørner afrundet 404">
                <a:extLst>
                  <a:ext uri="{FF2B5EF4-FFF2-40B4-BE49-F238E27FC236}">
                    <a16:creationId xmlns:a16="http://schemas.microsoft.com/office/drawing/2014/main" id="{1CCEF3A4-0066-4ADD-B682-687D833B47B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6" name="Gruppe 405">
              <a:extLst>
                <a:ext uri="{FF2B5EF4-FFF2-40B4-BE49-F238E27FC236}">
                  <a16:creationId xmlns:a16="http://schemas.microsoft.com/office/drawing/2014/main" id="{3B64A499-FF2C-49AD-A435-4F489F17E96D}"/>
                </a:ext>
              </a:extLst>
            </p:cNvPr>
            <p:cNvGrpSpPr/>
            <p:nvPr userDrawn="1"/>
          </p:nvGrpSpPr>
          <p:grpSpPr>
            <a:xfrm>
              <a:off x="6586590" y="5156502"/>
              <a:ext cx="99577" cy="158629"/>
              <a:chOff x="6586590" y="4339419"/>
              <a:chExt cx="99577" cy="158629"/>
            </a:xfrm>
          </p:grpSpPr>
          <p:sp>
            <p:nvSpPr>
              <p:cNvPr id="407" name="Rektangel 406">
                <a:extLst>
                  <a:ext uri="{FF2B5EF4-FFF2-40B4-BE49-F238E27FC236}">
                    <a16:creationId xmlns:a16="http://schemas.microsoft.com/office/drawing/2014/main" id="{D63AF5C8-A290-4155-9757-0638F2A31CD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Rektangel 407">
                <a:extLst>
                  <a:ext uri="{FF2B5EF4-FFF2-40B4-BE49-F238E27FC236}">
                    <a16:creationId xmlns:a16="http://schemas.microsoft.com/office/drawing/2014/main" id="{40E59388-F730-41FB-8870-5DB753969F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9" name="Rektangel 408">
                <a:extLst>
                  <a:ext uri="{FF2B5EF4-FFF2-40B4-BE49-F238E27FC236}">
                    <a16:creationId xmlns:a16="http://schemas.microsoft.com/office/drawing/2014/main" id="{345D8865-C2EE-4DBE-AE59-034171813651}"/>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0" name="Rektangel 409">
                <a:extLst>
                  <a:ext uri="{FF2B5EF4-FFF2-40B4-BE49-F238E27FC236}">
                    <a16:creationId xmlns:a16="http://schemas.microsoft.com/office/drawing/2014/main" id="{6ADC136D-CC27-475B-AC81-0A84AE3AB14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1" name="Gruppe 420">
              <a:extLst>
                <a:ext uri="{FF2B5EF4-FFF2-40B4-BE49-F238E27FC236}">
                  <a16:creationId xmlns:a16="http://schemas.microsoft.com/office/drawing/2014/main" id="{B1F3C9C3-F095-4C94-B38A-F70D74D8C6E6}"/>
                </a:ext>
              </a:extLst>
            </p:cNvPr>
            <p:cNvGrpSpPr/>
            <p:nvPr userDrawn="1"/>
          </p:nvGrpSpPr>
          <p:grpSpPr>
            <a:xfrm>
              <a:off x="6586590" y="5395215"/>
              <a:ext cx="99577" cy="130933"/>
              <a:chOff x="6586590" y="4107944"/>
              <a:chExt cx="99577" cy="130933"/>
            </a:xfrm>
          </p:grpSpPr>
          <p:sp>
            <p:nvSpPr>
              <p:cNvPr id="422" name="Rektangel 421">
                <a:extLst>
                  <a:ext uri="{FF2B5EF4-FFF2-40B4-BE49-F238E27FC236}">
                    <a16:creationId xmlns:a16="http://schemas.microsoft.com/office/drawing/2014/main" id="{567AA6F9-BB61-4BDE-957C-EC76271BA24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3" name="Rektangel 422">
                <a:extLst>
                  <a:ext uri="{FF2B5EF4-FFF2-40B4-BE49-F238E27FC236}">
                    <a16:creationId xmlns:a16="http://schemas.microsoft.com/office/drawing/2014/main" id="{9F11057C-83C2-4560-851D-B1B6C79920D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4" name="Rektangel: øverste hjørner afrundet 423">
                <a:extLst>
                  <a:ext uri="{FF2B5EF4-FFF2-40B4-BE49-F238E27FC236}">
                    <a16:creationId xmlns:a16="http://schemas.microsoft.com/office/drawing/2014/main" id="{A489C9D8-D23D-4434-86E7-C34970CE002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5" name="Gruppe 424">
              <a:extLst>
                <a:ext uri="{FF2B5EF4-FFF2-40B4-BE49-F238E27FC236}">
                  <a16:creationId xmlns:a16="http://schemas.microsoft.com/office/drawing/2014/main" id="{76F9B253-3B1F-4036-A46E-F2DFE861AEC2}"/>
                </a:ext>
              </a:extLst>
            </p:cNvPr>
            <p:cNvGrpSpPr/>
            <p:nvPr userDrawn="1"/>
          </p:nvGrpSpPr>
          <p:grpSpPr>
            <a:xfrm>
              <a:off x="6586590" y="5606229"/>
              <a:ext cx="99577" cy="158629"/>
              <a:chOff x="6586590" y="4339419"/>
              <a:chExt cx="99577" cy="158629"/>
            </a:xfrm>
          </p:grpSpPr>
          <p:sp>
            <p:nvSpPr>
              <p:cNvPr id="426" name="Rektangel 425">
                <a:extLst>
                  <a:ext uri="{FF2B5EF4-FFF2-40B4-BE49-F238E27FC236}">
                    <a16:creationId xmlns:a16="http://schemas.microsoft.com/office/drawing/2014/main" id="{00380A86-4B6A-4F2B-995B-1589728A743F}"/>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7" name="Rektangel 426">
                <a:extLst>
                  <a:ext uri="{FF2B5EF4-FFF2-40B4-BE49-F238E27FC236}">
                    <a16:creationId xmlns:a16="http://schemas.microsoft.com/office/drawing/2014/main" id="{199302DF-D00C-42AB-9A9E-277FD05E076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8" name="Rektangel 427">
                <a:extLst>
                  <a:ext uri="{FF2B5EF4-FFF2-40B4-BE49-F238E27FC236}">
                    <a16:creationId xmlns:a16="http://schemas.microsoft.com/office/drawing/2014/main" id="{D562AB1F-6F4E-4E70-BE9D-99F8CD2E30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9" name="Rektangel 428">
                <a:extLst>
                  <a:ext uri="{FF2B5EF4-FFF2-40B4-BE49-F238E27FC236}">
                    <a16:creationId xmlns:a16="http://schemas.microsoft.com/office/drawing/2014/main" id="{F02A5C87-813E-4385-8332-6932FACF3116}"/>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30" name="Gruppe 429">
            <a:extLst>
              <a:ext uri="{FF2B5EF4-FFF2-40B4-BE49-F238E27FC236}">
                <a16:creationId xmlns:a16="http://schemas.microsoft.com/office/drawing/2014/main" id="{E3029EB5-0AC7-4DDE-ACA1-3D9D57067507}"/>
              </a:ext>
            </a:extLst>
          </p:cNvPr>
          <p:cNvGrpSpPr/>
          <p:nvPr userDrawn="1"/>
        </p:nvGrpSpPr>
        <p:grpSpPr>
          <a:xfrm>
            <a:off x="6770776" y="4046025"/>
            <a:ext cx="99577" cy="1269106"/>
            <a:chOff x="6586590" y="4046025"/>
            <a:chExt cx="99577" cy="1269106"/>
          </a:xfrm>
        </p:grpSpPr>
        <p:grpSp>
          <p:nvGrpSpPr>
            <p:cNvPr id="431" name="Gruppe 430">
              <a:extLst>
                <a:ext uri="{FF2B5EF4-FFF2-40B4-BE49-F238E27FC236}">
                  <a16:creationId xmlns:a16="http://schemas.microsoft.com/office/drawing/2014/main" id="{6A46EB63-1274-4DBD-8FED-5A911499F981}"/>
                </a:ext>
              </a:extLst>
            </p:cNvPr>
            <p:cNvGrpSpPr/>
            <p:nvPr userDrawn="1"/>
          </p:nvGrpSpPr>
          <p:grpSpPr>
            <a:xfrm>
              <a:off x="6586590" y="4046025"/>
              <a:ext cx="99577" cy="130933"/>
              <a:chOff x="6586590" y="4107944"/>
              <a:chExt cx="99577" cy="130933"/>
            </a:xfrm>
          </p:grpSpPr>
          <p:sp>
            <p:nvSpPr>
              <p:cNvPr id="464" name="Rektangel 463">
                <a:extLst>
                  <a:ext uri="{FF2B5EF4-FFF2-40B4-BE49-F238E27FC236}">
                    <a16:creationId xmlns:a16="http://schemas.microsoft.com/office/drawing/2014/main" id="{94BE3C75-4DEC-42C6-9D92-8DFBF1FDEBBA}"/>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5" name="Rektangel 464">
                <a:extLst>
                  <a:ext uri="{FF2B5EF4-FFF2-40B4-BE49-F238E27FC236}">
                    <a16:creationId xmlns:a16="http://schemas.microsoft.com/office/drawing/2014/main" id="{A4BC8453-1157-4D7A-8651-E7FDFAC7BE2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6" name="Rektangel: øverste hjørner afrundet 465">
                <a:extLst>
                  <a:ext uri="{FF2B5EF4-FFF2-40B4-BE49-F238E27FC236}">
                    <a16:creationId xmlns:a16="http://schemas.microsoft.com/office/drawing/2014/main" id="{8D59FF8D-DD9C-45C2-AB8B-74BD85F91F63}"/>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2" name="Gruppe 431">
              <a:extLst>
                <a:ext uri="{FF2B5EF4-FFF2-40B4-BE49-F238E27FC236}">
                  <a16:creationId xmlns:a16="http://schemas.microsoft.com/office/drawing/2014/main" id="{45611319-A534-4A99-B4B8-CBD95B649E8A}"/>
                </a:ext>
              </a:extLst>
            </p:cNvPr>
            <p:cNvGrpSpPr/>
            <p:nvPr userDrawn="1"/>
          </p:nvGrpSpPr>
          <p:grpSpPr>
            <a:xfrm>
              <a:off x="6586590" y="4257042"/>
              <a:ext cx="99577" cy="158629"/>
              <a:chOff x="6586590" y="4339419"/>
              <a:chExt cx="99577" cy="158629"/>
            </a:xfrm>
          </p:grpSpPr>
          <p:sp>
            <p:nvSpPr>
              <p:cNvPr id="460" name="Rektangel 459">
                <a:extLst>
                  <a:ext uri="{FF2B5EF4-FFF2-40B4-BE49-F238E27FC236}">
                    <a16:creationId xmlns:a16="http://schemas.microsoft.com/office/drawing/2014/main" id="{178D2275-6619-4FB4-B7C8-C8076F173A6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1" name="Rektangel 460">
                <a:extLst>
                  <a:ext uri="{FF2B5EF4-FFF2-40B4-BE49-F238E27FC236}">
                    <a16:creationId xmlns:a16="http://schemas.microsoft.com/office/drawing/2014/main" id="{A04C0D2A-71D0-40C3-A879-DA23B02E4025}"/>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2" name="Rektangel 461">
                <a:extLst>
                  <a:ext uri="{FF2B5EF4-FFF2-40B4-BE49-F238E27FC236}">
                    <a16:creationId xmlns:a16="http://schemas.microsoft.com/office/drawing/2014/main" id="{F9D244BB-9E44-4971-874E-E48C1FCEB01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3" name="Rektangel 462">
                <a:extLst>
                  <a:ext uri="{FF2B5EF4-FFF2-40B4-BE49-F238E27FC236}">
                    <a16:creationId xmlns:a16="http://schemas.microsoft.com/office/drawing/2014/main" id="{B01C666D-BE31-418C-AAEE-E7D658FD52A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3" name="Gruppe 432">
              <a:extLst>
                <a:ext uri="{FF2B5EF4-FFF2-40B4-BE49-F238E27FC236}">
                  <a16:creationId xmlns:a16="http://schemas.microsoft.com/office/drawing/2014/main" id="{745CF06B-23F0-482F-B1B7-19F9DEA084CB}"/>
                </a:ext>
              </a:extLst>
            </p:cNvPr>
            <p:cNvGrpSpPr/>
            <p:nvPr userDrawn="1"/>
          </p:nvGrpSpPr>
          <p:grpSpPr>
            <a:xfrm>
              <a:off x="6586590" y="4495755"/>
              <a:ext cx="99577" cy="130933"/>
              <a:chOff x="6586590" y="4107944"/>
              <a:chExt cx="99577" cy="130933"/>
            </a:xfrm>
          </p:grpSpPr>
          <p:sp>
            <p:nvSpPr>
              <p:cNvPr id="457" name="Rektangel 456">
                <a:extLst>
                  <a:ext uri="{FF2B5EF4-FFF2-40B4-BE49-F238E27FC236}">
                    <a16:creationId xmlns:a16="http://schemas.microsoft.com/office/drawing/2014/main" id="{5B54E4C6-1BA5-4991-A82A-BC295605C6A8}"/>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8" name="Rektangel 457">
                <a:extLst>
                  <a:ext uri="{FF2B5EF4-FFF2-40B4-BE49-F238E27FC236}">
                    <a16:creationId xmlns:a16="http://schemas.microsoft.com/office/drawing/2014/main" id="{60267949-00FA-489E-8456-0FE20BE6D1F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9" name="Rektangel: øverste hjørner afrundet 458">
                <a:extLst>
                  <a:ext uri="{FF2B5EF4-FFF2-40B4-BE49-F238E27FC236}">
                    <a16:creationId xmlns:a16="http://schemas.microsoft.com/office/drawing/2014/main" id="{3954F634-7F1D-42A1-BAFE-CB7A574175F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4" name="Gruppe 433">
              <a:extLst>
                <a:ext uri="{FF2B5EF4-FFF2-40B4-BE49-F238E27FC236}">
                  <a16:creationId xmlns:a16="http://schemas.microsoft.com/office/drawing/2014/main" id="{5B9513C0-F010-4FF4-BCB5-9E6498DA831E}"/>
                </a:ext>
              </a:extLst>
            </p:cNvPr>
            <p:cNvGrpSpPr/>
            <p:nvPr userDrawn="1"/>
          </p:nvGrpSpPr>
          <p:grpSpPr>
            <a:xfrm>
              <a:off x="6586590" y="4706772"/>
              <a:ext cx="99577" cy="158629"/>
              <a:chOff x="6586590" y="4339419"/>
              <a:chExt cx="99577" cy="158629"/>
            </a:xfrm>
          </p:grpSpPr>
          <p:sp>
            <p:nvSpPr>
              <p:cNvPr id="453" name="Rektangel 452">
                <a:extLst>
                  <a:ext uri="{FF2B5EF4-FFF2-40B4-BE49-F238E27FC236}">
                    <a16:creationId xmlns:a16="http://schemas.microsoft.com/office/drawing/2014/main" id="{207B14FD-B98D-4368-8487-8256FAD0B88C}"/>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4" name="Rektangel 453">
                <a:extLst>
                  <a:ext uri="{FF2B5EF4-FFF2-40B4-BE49-F238E27FC236}">
                    <a16:creationId xmlns:a16="http://schemas.microsoft.com/office/drawing/2014/main" id="{BB20D617-EAD9-482A-B345-1CB8664EB16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5" name="Rektangel 454">
                <a:extLst>
                  <a:ext uri="{FF2B5EF4-FFF2-40B4-BE49-F238E27FC236}">
                    <a16:creationId xmlns:a16="http://schemas.microsoft.com/office/drawing/2014/main" id="{94C9A11C-EC30-4742-8AAE-E527C96D8FD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6" name="Rektangel 455">
                <a:extLst>
                  <a:ext uri="{FF2B5EF4-FFF2-40B4-BE49-F238E27FC236}">
                    <a16:creationId xmlns:a16="http://schemas.microsoft.com/office/drawing/2014/main" id="{838364B7-EEE5-4C41-A8CF-AE0E51C3400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5" name="Gruppe 434">
              <a:extLst>
                <a:ext uri="{FF2B5EF4-FFF2-40B4-BE49-F238E27FC236}">
                  <a16:creationId xmlns:a16="http://schemas.microsoft.com/office/drawing/2014/main" id="{D18017AD-1B62-42CA-ADAD-65E3AA0B2C4C}"/>
                </a:ext>
              </a:extLst>
            </p:cNvPr>
            <p:cNvGrpSpPr/>
            <p:nvPr userDrawn="1"/>
          </p:nvGrpSpPr>
          <p:grpSpPr>
            <a:xfrm>
              <a:off x="6586590" y="4945485"/>
              <a:ext cx="99577" cy="130933"/>
              <a:chOff x="6586590" y="4107944"/>
              <a:chExt cx="99577" cy="130933"/>
            </a:xfrm>
          </p:grpSpPr>
          <p:sp>
            <p:nvSpPr>
              <p:cNvPr id="450" name="Rektangel 449">
                <a:extLst>
                  <a:ext uri="{FF2B5EF4-FFF2-40B4-BE49-F238E27FC236}">
                    <a16:creationId xmlns:a16="http://schemas.microsoft.com/office/drawing/2014/main" id="{8898BCDD-799D-4C8A-B6C5-47FBAA91E470}"/>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1" name="Rektangel 450">
                <a:extLst>
                  <a:ext uri="{FF2B5EF4-FFF2-40B4-BE49-F238E27FC236}">
                    <a16:creationId xmlns:a16="http://schemas.microsoft.com/office/drawing/2014/main" id="{829DF5CA-99D7-4BEA-A853-139E694C45B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2" name="Rektangel: øverste hjørner afrundet 451">
                <a:extLst>
                  <a:ext uri="{FF2B5EF4-FFF2-40B4-BE49-F238E27FC236}">
                    <a16:creationId xmlns:a16="http://schemas.microsoft.com/office/drawing/2014/main" id="{C626CF3A-ABD1-4825-A7F8-5E0C85AE173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6" name="Gruppe 435">
              <a:extLst>
                <a:ext uri="{FF2B5EF4-FFF2-40B4-BE49-F238E27FC236}">
                  <a16:creationId xmlns:a16="http://schemas.microsoft.com/office/drawing/2014/main" id="{463926AD-996F-4477-BAC7-A11160DBD5BF}"/>
                </a:ext>
              </a:extLst>
            </p:cNvPr>
            <p:cNvGrpSpPr/>
            <p:nvPr userDrawn="1"/>
          </p:nvGrpSpPr>
          <p:grpSpPr>
            <a:xfrm>
              <a:off x="6586590" y="5156502"/>
              <a:ext cx="99577" cy="158629"/>
              <a:chOff x="6586590" y="4339419"/>
              <a:chExt cx="99577" cy="158629"/>
            </a:xfrm>
          </p:grpSpPr>
          <p:sp>
            <p:nvSpPr>
              <p:cNvPr id="446" name="Rektangel 445">
                <a:extLst>
                  <a:ext uri="{FF2B5EF4-FFF2-40B4-BE49-F238E27FC236}">
                    <a16:creationId xmlns:a16="http://schemas.microsoft.com/office/drawing/2014/main" id="{03D67241-DBD1-446D-906B-347B4A293C8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7" name="Rektangel 446">
                <a:extLst>
                  <a:ext uri="{FF2B5EF4-FFF2-40B4-BE49-F238E27FC236}">
                    <a16:creationId xmlns:a16="http://schemas.microsoft.com/office/drawing/2014/main" id="{EEB78B13-DEE7-41F6-92FE-F49DCCB79798}"/>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8" name="Rektangel 447">
                <a:extLst>
                  <a:ext uri="{FF2B5EF4-FFF2-40B4-BE49-F238E27FC236}">
                    <a16:creationId xmlns:a16="http://schemas.microsoft.com/office/drawing/2014/main" id="{77A651AF-EF0D-41B2-B847-101EDB0047F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9" name="Rektangel 448">
                <a:extLst>
                  <a:ext uri="{FF2B5EF4-FFF2-40B4-BE49-F238E27FC236}">
                    <a16:creationId xmlns:a16="http://schemas.microsoft.com/office/drawing/2014/main" id="{3AF05908-5F37-42B3-87E8-3F832662F0B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67" name="Gruppe 466">
            <a:extLst>
              <a:ext uri="{FF2B5EF4-FFF2-40B4-BE49-F238E27FC236}">
                <a16:creationId xmlns:a16="http://schemas.microsoft.com/office/drawing/2014/main" id="{D9FFD7B8-761A-4233-9AF8-3F19A497BA88}"/>
              </a:ext>
            </a:extLst>
          </p:cNvPr>
          <p:cNvGrpSpPr/>
          <p:nvPr userDrawn="1"/>
        </p:nvGrpSpPr>
        <p:grpSpPr>
          <a:xfrm>
            <a:off x="6954962" y="4046025"/>
            <a:ext cx="99577" cy="1269106"/>
            <a:chOff x="6586590" y="4046025"/>
            <a:chExt cx="99577" cy="1269106"/>
          </a:xfrm>
        </p:grpSpPr>
        <p:grpSp>
          <p:nvGrpSpPr>
            <p:cNvPr id="468" name="Gruppe 467">
              <a:extLst>
                <a:ext uri="{FF2B5EF4-FFF2-40B4-BE49-F238E27FC236}">
                  <a16:creationId xmlns:a16="http://schemas.microsoft.com/office/drawing/2014/main" id="{0A8812F7-A286-412E-A258-940E66FA7595}"/>
                </a:ext>
              </a:extLst>
            </p:cNvPr>
            <p:cNvGrpSpPr/>
            <p:nvPr userDrawn="1"/>
          </p:nvGrpSpPr>
          <p:grpSpPr>
            <a:xfrm>
              <a:off x="6586590" y="4046025"/>
              <a:ext cx="99577" cy="130933"/>
              <a:chOff x="6586590" y="4107944"/>
              <a:chExt cx="99577" cy="130933"/>
            </a:xfrm>
          </p:grpSpPr>
          <p:sp>
            <p:nvSpPr>
              <p:cNvPr id="501" name="Rektangel 500">
                <a:extLst>
                  <a:ext uri="{FF2B5EF4-FFF2-40B4-BE49-F238E27FC236}">
                    <a16:creationId xmlns:a16="http://schemas.microsoft.com/office/drawing/2014/main" id="{E9D52A4F-8971-4725-A325-DB2407682753}"/>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2" name="Rektangel 501">
                <a:extLst>
                  <a:ext uri="{FF2B5EF4-FFF2-40B4-BE49-F238E27FC236}">
                    <a16:creationId xmlns:a16="http://schemas.microsoft.com/office/drawing/2014/main" id="{792A86EC-BA74-42F4-85A1-DBC00135A63C}"/>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3" name="Rektangel: øverste hjørner afrundet 502">
                <a:extLst>
                  <a:ext uri="{FF2B5EF4-FFF2-40B4-BE49-F238E27FC236}">
                    <a16:creationId xmlns:a16="http://schemas.microsoft.com/office/drawing/2014/main" id="{C3C4CD40-71F5-454F-85F7-D04C6AA6087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69" name="Gruppe 468">
              <a:extLst>
                <a:ext uri="{FF2B5EF4-FFF2-40B4-BE49-F238E27FC236}">
                  <a16:creationId xmlns:a16="http://schemas.microsoft.com/office/drawing/2014/main" id="{59E3B372-0F8D-44AF-9DB8-1FE3E4CB844E}"/>
                </a:ext>
              </a:extLst>
            </p:cNvPr>
            <p:cNvGrpSpPr/>
            <p:nvPr userDrawn="1"/>
          </p:nvGrpSpPr>
          <p:grpSpPr>
            <a:xfrm>
              <a:off x="6586590" y="4257042"/>
              <a:ext cx="99577" cy="158629"/>
              <a:chOff x="6586590" y="4339419"/>
              <a:chExt cx="99577" cy="158629"/>
            </a:xfrm>
          </p:grpSpPr>
          <p:sp>
            <p:nvSpPr>
              <p:cNvPr id="497" name="Rektangel 496">
                <a:extLst>
                  <a:ext uri="{FF2B5EF4-FFF2-40B4-BE49-F238E27FC236}">
                    <a16:creationId xmlns:a16="http://schemas.microsoft.com/office/drawing/2014/main" id="{9CF914FA-2505-4268-9D19-73F7C604807D}"/>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8" name="Rektangel 497">
                <a:extLst>
                  <a:ext uri="{FF2B5EF4-FFF2-40B4-BE49-F238E27FC236}">
                    <a16:creationId xmlns:a16="http://schemas.microsoft.com/office/drawing/2014/main" id="{93226638-AA1F-4891-A665-CB969667D64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9" name="Rektangel 498">
                <a:extLst>
                  <a:ext uri="{FF2B5EF4-FFF2-40B4-BE49-F238E27FC236}">
                    <a16:creationId xmlns:a16="http://schemas.microsoft.com/office/drawing/2014/main" id="{6929DE60-88AF-4C55-923A-DE22FB5F06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0" name="Rektangel 499">
                <a:extLst>
                  <a:ext uri="{FF2B5EF4-FFF2-40B4-BE49-F238E27FC236}">
                    <a16:creationId xmlns:a16="http://schemas.microsoft.com/office/drawing/2014/main" id="{D70D46E5-3E47-431B-8396-81B2A5BDFFD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0" name="Gruppe 469">
              <a:extLst>
                <a:ext uri="{FF2B5EF4-FFF2-40B4-BE49-F238E27FC236}">
                  <a16:creationId xmlns:a16="http://schemas.microsoft.com/office/drawing/2014/main" id="{38B56FBD-898E-476D-83D4-9A321BC4CCF4}"/>
                </a:ext>
              </a:extLst>
            </p:cNvPr>
            <p:cNvGrpSpPr/>
            <p:nvPr userDrawn="1"/>
          </p:nvGrpSpPr>
          <p:grpSpPr>
            <a:xfrm>
              <a:off x="6586590" y="4495755"/>
              <a:ext cx="99577" cy="130933"/>
              <a:chOff x="6586590" y="4107944"/>
              <a:chExt cx="99577" cy="130933"/>
            </a:xfrm>
          </p:grpSpPr>
          <p:sp>
            <p:nvSpPr>
              <p:cNvPr id="494" name="Rektangel 493">
                <a:extLst>
                  <a:ext uri="{FF2B5EF4-FFF2-40B4-BE49-F238E27FC236}">
                    <a16:creationId xmlns:a16="http://schemas.microsoft.com/office/drawing/2014/main" id="{CC98DDDB-0316-4B30-A53B-C62C3FDF5C8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5" name="Rektangel 494">
                <a:extLst>
                  <a:ext uri="{FF2B5EF4-FFF2-40B4-BE49-F238E27FC236}">
                    <a16:creationId xmlns:a16="http://schemas.microsoft.com/office/drawing/2014/main" id="{F7D3FB00-1376-4BC6-8605-8F31640F5D8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6" name="Rektangel: øverste hjørner afrundet 495">
                <a:extLst>
                  <a:ext uri="{FF2B5EF4-FFF2-40B4-BE49-F238E27FC236}">
                    <a16:creationId xmlns:a16="http://schemas.microsoft.com/office/drawing/2014/main" id="{1BFA9BC0-1F11-41E0-9671-D1E06246A55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1" name="Gruppe 470">
              <a:extLst>
                <a:ext uri="{FF2B5EF4-FFF2-40B4-BE49-F238E27FC236}">
                  <a16:creationId xmlns:a16="http://schemas.microsoft.com/office/drawing/2014/main" id="{B403ADE5-6BCE-451B-BADC-08A8D537C67C}"/>
                </a:ext>
              </a:extLst>
            </p:cNvPr>
            <p:cNvGrpSpPr/>
            <p:nvPr userDrawn="1"/>
          </p:nvGrpSpPr>
          <p:grpSpPr>
            <a:xfrm>
              <a:off x="6586590" y="4706772"/>
              <a:ext cx="99577" cy="158629"/>
              <a:chOff x="6586590" y="4339419"/>
              <a:chExt cx="99577" cy="158629"/>
            </a:xfrm>
          </p:grpSpPr>
          <p:sp>
            <p:nvSpPr>
              <p:cNvPr id="490" name="Rektangel 489">
                <a:extLst>
                  <a:ext uri="{FF2B5EF4-FFF2-40B4-BE49-F238E27FC236}">
                    <a16:creationId xmlns:a16="http://schemas.microsoft.com/office/drawing/2014/main" id="{2AD8C0B5-EE14-42DA-947B-297C24031AB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1" name="Rektangel 490">
                <a:extLst>
                  <a:ext uri="{FF2B5EF4-FFF2-40B4-BE49-F238E27FC236}">
                    <a16:creationId xmlns:a16="http://schemas.microsoft.com/office/drawing/2014/main" id="{E2EC1570-2D64-49C7-A92A-F9E2A5156521}"/>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2" name="Rektangel 491">
                <a:extLst>
                  <a:ext uri="{FF2B5EF4-FFF2-40B4-BE49-F238E27FC236}">
                    <a16:creationId xmlns:a16="http://schemas.microsoft.com/office/drawing/2014/main" id="{E35CB2B0-01EC-4B3A-B8DF-D79F591FEE85}"/>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3" name="Rektangel 492">
                <a:extLst>
                  <a:ext uri="{FF2B5EF4-FFF2-40B4-BE49-F238E27FC236}">
                    <a16:creationId xmlns:a16="http://schemas.microsoft.com/office/drawing/2014/main" id="{83464E59-37B0-4BE6-B0AD-D809F376EEE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2" name="Gruppe 471">
              <a:extLst>
                <a:ext uri="{FF2B5EF4-FFF2-40B4-BE49-F238E27FC236}">
                  <a16:creationId xmlns:a16="http://schemas.microsoft.com/office/drawing/2014/main" id="{0561E4ED-BE3B-4043-AF02-8AF2EAE9C040}"/>
                </a:ext>
              </a:extLst>
            </p:cNvPr>
            <p:cNvGrpSpPr/>
            <p:nvPr userDrawn="1"/>
          </p:nvGrpSpPr>
          <p:grpSpPr>
            <a:xfrm>
              <a:off x="6586590" y="4945485"/>
              <a:ext cx="99577" cy="130933"/>
              <a:chOff x="6586590" y="4107944"/>
              <a:chExt cx="99577" cy="130933"/>
            </a:xfrm>
          </p:grpSpPr>
          <p:sp>
            <p:nvSpPr>
              <p:cNvPr id="487" name="Rektangel 486">
                <a:extLst>
                  <a:ext uri="{FF2B5EF4-FFF2-40B4-BE49-F238E27FC236}">
                    <a16:creationId xmlns:a16="http://schemas.microsoft.com/office/drawing/2014/main" id="{A00EAC9C-C2A2-4D17-97EC-ABEFF049C49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8" name="Rektangel 487">
                <a:extLst>
                  <a:ext uri="{FF2B5EF4-FFF2-40B4-BE49-F238E27FC236}">
                    <a16:creationId xmlns:a16="http://schemas.microsoft.com/office/drawing/2014/main" id="{53567470-B4AF-4E29-91A4-38B62CF772F6}"/>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9" name="Rektangel: øverste hjørner afrundet 488">
                <a:extLst>
                  <a:ext uri="{FF2B5EF4-FFF2-40B4-BE49-F238E27FC236}">
                    <a16:creationId xmlns:a16="http://schemas.microsoft.com/office/drawing/2014/main" id="{5F5C3476-DF13-444B-969B-E80758AF0747}"/>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3" name="Gruppe 472">
              <a:extLst>
                <a:ext uri="{FF2B5EF4-FFF2-40B4-BE49-F238E27FC236}">
                  <a16:creationId xmlns:a16="http://schemas.microsoft.com/office/drawing/2014/main" id="{9511BD74-01C0-47B8-95FC-A118D27DF4A0}"/>
                </a:ext>
              </a:extLst>
            </p:cNvPr>
            <p:cNvGrpSpPr/>
            <p:nvPr userDrawn="1"/>
          </p:nvGrpSpPr>
          <p:grpSpPr>
            <a:xfrm>
              <a:off x="6586590" y="5156502"/>
              <a:ext cx="99577" cy="158629"/>
              <a:chOff x="6586590" y="4339419"/>
              <a:chExt cx="99577" cy="158629"/>
            </a:xfrm>
          </p:grpSpPr>
          <p:sp>
            <p:nvSpPr>
              <p:cNvPr id="483" name="Rektangel 482">
                <a:extLst>
                  <a:ext uri="{FF2B5EF4-FFF2-40B4-BE49-F238E27FC236}">
                    <a16:creationId xmlns:a16="http://schemas.microsoft.com/office/drawing/2014/main" id="{71F24A88-43DF-4497-ABDB-145296E8099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4" name="Rektangel 483">
                <a:extLst>
                  <a:ext uri="{FF2B5EF4-FFF2-40B4-BE49-F238E27FC236}">
                    <a16:creationId xmlns:a16="http://schemas.microsoft.com/office/drawing/2014/main" id="{336DDE5E-2E0E-464F-A8E1-DAC0AFE41E47}"/>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5" name="Rektangel 484">
                <a:extLst>
                  <a:ext uri="{FF2B5EF4-FFF2-40B4-BE49-F238E27FC236}">
                    <a16:creationId xmlns:a16="http://schemas.microsoft.com/office/drawing/2014/main" id="{CBBEDBA4-1673-4B5C-BFD1-D2A6B88EFC7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6" name="Rektangel 485">
                <a:extLst>
                  <a:ext uri="{FF2B5EF4-FFF2-40B4-BE49-F238E27FC236}">
                    <a16:creationId xmlns:a16="http://schemas.microsoft.com/office/drawing/2014/main" id="{235D123D-7FE9-4521-A2EA-A928159B7D6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504" name="Gruppe 503">
            <a:extLst>
              <a:ext uri="{FF2B5EF4-FFF2-40B4-BE49-F238E27FC236}">
                <a16:creationId xmlns:a16="http://schemas.microsoft.com/office/drawing/2014/main" id="{487D81BB-7034-49BA-9F91-B615D9C2071B}"/>
              </a:ext>
            </a:extLst>
          </p:cNvPr>
          <p:cNvGrpSpPr/>
          <p:nvPr userDrawn="1"/>
        </p:nvGrpSpPr>
        <p:grpSpPr>
          <a:xfrm>
            <a:off x="7139147" y="4046025"/>
            <a:ext cx="99577" cy="1718833"/>
            <a:chOff x="6586590" y="4046025"/>
            <a:chExt cx="99577" cy="1718833"/>
          </a:xfrm>
        </p:grpSpPr>
        <p:grpSp>
          <p:nvGrpSpPr>
            <p:cNvPr id="505" name="Gruppe 504">
              <a:extLst>
                <a:ext uri="{FF2B5EF4-FFF2-40B4-BE49-F238E27FC236}">
                  <a16:creationId xmlns:a16="http://schemas.microsoft.com/office/drawing/2014/main" id="{EDAFB757-0B5F-4600-8C70-17F9A79EBF46}"/>
                </a:ext>
              </a:extLst>
            </p:cNvPr>
            <p:cNvGrpSpPr/>
            <p:nvPr userDrawn="1"/>
          </p:nvGrpSpPr>
          <p:grpSpPr>
            <a:xfrm>
              <a:off x="6586590" y="4046025"/>
              <a:ext cx="99577" cy="130933"/>
              <a:chOff x="6586590" y="4107944"/>
              <a:chExt cx="99577" cy="130933"/>
            </a:xfrm>
          </p:grpSpPr>
          <p:sp>
            <p:nvSpPr>
              <p:cNvPr id="538" name="Rektangel 537">
                <a:extLst>
                  <a:ext uri="{FF2B5EF4-FFF2-40B4-BE49-F238E27FC236}">
                    <a16:creationId xmlns:a16="http://schemas.microsoft.com/office/drawing/2014/main" id="{422844BD-3B4C-4954-8E86-2AB2E04927EF}"/>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9" name="Rektangel 538">
                <a:extLst>
                  <a:ext uri="{FF2B5EF4-FFF2-40B4-BE49-F238E27FC236}">
                    <a16:creationId xmlns:a16="http://schemas.microsoft.com/office/drawing/2014/main" id="{90D5ED91-7DE8-4AD4-B730-0A336C1BABA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0" name="Rektangel: øverste hjørner afrundet 539">
                <a:extLst>
                  <a:ext uri="{FF2B5EF4-FFF2-40B4-BE49-F238E27FC236}">
                    <a16:creationId xmlns:a16="http://schemas.microsoft.com/office/drawing/2014/main" id="{E5D434BC-4C28-41FE-99CC-22B421FEC9C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6" name="Gruppe 505">
              <a:extLst>
                <a:ext uri="{FF2B5EF4-FFF2-40B4-BE49-F238E27FC236}">
                  <a16:creationId xmlns:a16="http://schemas.microsoft.com/office/drawing/2014/main" id="{EAB9973D-7BB2-4A41-8E53-DD7A973A2F80}"/>
                </a:ext>
              </a:extLst>
            </p:cNvPr>
            <p:cNvGrpSpPr/>
            <p:nvPr userDrawn="1"/>
          </p:nvGrpSpPr>
          <p:grpSpPr>
            <a:xfrm>
              <a:off x="6586590" y="4257042"/>
              <a:ext cx="99577" cy="158629"/>
              <a:chOff x="6586590" y="4339419"/>
              <a:chExt cx="99577" cy="158629"/>
            </a:xfrm>
          </p:grpSpPr>
          <p:sp>
            <p:nvSpPr>
              <p:cNvPr id="534" name="Rektangel 533">
                <a:extLst>
                  <a:ext uri="{FF2B5EF4-FFF2-40B4-BE49-F238E27FC236}">
                    <a16:creationId xmlns:a16="http://schemas.microsoft.com/office/drawing/2014/main" id="{065A8711-C107-410E-AF0D-8ED899754200}"/>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5" name="Rektangel 534">
                <a:extLst>
                  <a:ext uri="{FF2B5EF4-FFF2-40B4-BE49-F238E27FC236}">
                    <a16:creationId xmlns:a16="http://schemas.microsoft.com/office/drawing/2014/main" id="{A85A67EE-8D0D-4682-8F38-32DE3155173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6" name="Rektangel 535">
                <a:extLst>
                  <a:ext uri="{FF2B5EF4-FFF2-40B4-BE49-F238E27FC236}">
                    <a16:creationId xmlns:a16="http://schemas.microsoft.com/office/drawing/2014/main" id="{06A56B14-173B-400B-B6D5-A04FF997C9F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7" name="Rektangel 536">
                <a:extLst>
                  <a:ext uri="{FF2B5EF4-FFF2-40B4-BE49-F238E27FC236}">
                    <a16:creationId xmlns:a16="http://schemas.microsoft.com/office/drawing/2014/main" id="{9BA1F6C7-9495-42D0-A081-C47A9BC485FC}"/>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7" name="Gruppe 506">
              <a:extLst>
                <a:ext uri="{FF2B5EF4-FFF2-40B4-BE49-F238E27FC236}">
                  <a16:creationId xmlns:a16="http://schemas.microsoft.com/office/drawing/2014/main" id="{5434D7DE-41C3-4090-9891-67A4B9560134}"/>
                </a:ext>
              </a:extLst>
            </p:cNvPr>
            <p:cNvGrpSpPr/>
            <p:nvPr userDrawn="1"/>
          </p:nvGrpSpPr>
          <p:grpSpPr>
            <a:xfrm>
              <a:off x="6586590" y="4495755"/>
              <a:ext cx="99577" cy="130933"/>
              <a:chOff x="6586590" y="4107944"/>
              <a:chExt cx="99577" cy="130933"/>
            </a:xfrm>
          </p:grpSpPr>
          <p:sp>
            <p:nvSpPr>
              <p:cNvPr id="531" name="Rektangel 530">
                <a:extLst>
                  <a:ext uri="{FF2B5EF4-FFF2-40B4-BE49-F238E27FC236}">
                    <a16:creationId xmlns:a16="http://schemas.microsoft.com/office/drawing/2014/main" id="{228B2903-14D7-4F40-B4B9-1FEBE163343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2" name="Rektangel 531">
                <a:extLst>
                  <a:ext uri="{FF2B5EF4-FFF2-40B4-BE49-F238E27FC236}">
                    <a16:creationId xmlns:a16="http://schemas.microsoft.com/office/drawing/2014/main" id="{7A608E58-6C12-46AB-A822-6A52537BD4C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3" name="Rektangel: øverste hjørner afrundet 532">
                <a:extLst>
                  <a:ext uri="{FF2B5EF4-FFF2-40B4-BE49-F238E27FC236}">
                    <a16:creationId xmlns:a16="http://schemas.microsoft.com/office/drawing/2014/main" id="{8B6B8521-025B-47AA-BD17-2D68DD00F5B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8" name="Gruppe 507">
              <a:extLst>
                <a:ext uri="{FF2B5EF4-FFF2-40B4-BE49-F238E27FC236}">
                  <a16:creationId xmlns:a16="http://schemas.microsoft.com/office/drawing/2014/main" id="{155F0DD3-557B-4D40-A98A-AC07475A8049}"/>
                </a:ext>
              </a:extLst>
            </p:cNvPr>
            <p:cNvGrpSpPr/>
            <p:nvPr userDrawn="1"/>
          </p:nvGrpSpPr>
          <p:grpSpPr>
            <a:xfrm>
              <a:off x="6586590" y="4706772"/>
              <a:ext cx="99577" cy="158629"/>
              <a:chOff x="6586590" y="4339419"/>
              <a:chExt cx="99577" cy="158629"/>
            </a:xfrm>
          </p:grpSpPr>
          <p:sp>
            <p:nvSpPr>
              <p:cNvPr id="527" name="Rektangel 526">
                <a:extLst>
                  <a:ext uri="{FF2B5EF4-FFF2-40B4-BE49-F238E27FC236}">
                    <a16:creationId xmlns:a16="http://schemas.microsoft.com/office/drawing/2014/main" id="{0E534F49-B78E-4F53-BE1F-16837AA450A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8" name="Rektangel 527">
                <a:extLst>
                  <a:ext uri="{FF2B5EF4-FFF2-40B4-BE49-F238E27FC236}">
                    <a16:creationId xmlns:a16="http://schemas.microsoft.com/office/drawing/2014/main" id="{45922AAA-0B26-4325-AC96-B660469F690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9" name="Rektangel 528">
                <a:extLst>
                  <a:ext uri="{FF2B5EF4-FFF2-40B4-BE49-F238E27FC236}">
                    <a16:creationId xmlns:a16="http://schemas.microsoft.com/office/drawing/2014/main" id="{C5F48C3B-57B5-400E-A79F-A1998357166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0" name="Rektangel 529">
                <a:extLst>
                  <a:ext uri="{FF2B5EF4-FFF2-40B4-BE49-F238E27FC236}">
                    <a16:creationId xmlns:a16="http://schemas.microsoft.com/office/drawing/2014/main" id="{58127A49-5404-47DB-8E2F-39912ED1F3F2}"/>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9" name="Gruppe 508">
              <a:extLst>
                <a:ext uri="{FF2B5EF4-FFF2-40B4-BE49-F238E27FC236}">
                  <a16:creationId xmlns:a16="http://schemas.microsoft.com/office/drawing/2014/main" id="{78976A30-D8D9-4AF1-A115-60CF85FB28A6}"/>
                </a:ext>
              </a:extLst>
            </p:cNvPr>
            <p:cNvGrpSpPr/>
            <p:nvPr userDrawn="1"/>
          </p:nvGrpSpPr>
          <p:grpSpPr>
            <a:xfrm>
              <a:off x="6586590" y="4945485"/>
              <a:ext cx="99577" cy="130933"/>
              <a:chOff x="6586590" y="4107944"/>
              <a:chExt cx="99577" cy="130933"/>
            </a:xfrm>
          </p:grpSpPr>
          <p:sp>
            <p:nvSpPr>
              <p:cNvPr id="524" name="Rektangel 523">
                <a:extLst>
                  <a:ext uri="{FF2B5EF4-FFF2-40B4-BE49-F238E27FC236}">
                    <a16:creationId xmlns:a16="http://schemas.microsoft.com/office/drawing/2014/main" id="{39D0AD58-8746-4240-BCC5-9C28F3D9759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5" name="Rektangel 524">
                <a:extLst>
                  <a:ext uri="{FF2B5EF4-FFF2-40B4-BE49-F238E27FC236}">
                    <a16:creationId xmlns:a16="http://schemas.microsoft.com/office/drawing/2014/main" id="{2D053CD5-1557-424C-81D8-9262BEA85DF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6" name="Rektangel: øverste hjørner afrundet 525">
                <a:extLst>
                  <a:ext uri="{FF2B5EF4-FFF2-40B4-BE49-F238E27FC236}">
                    <a16:creationId xmlns:a16="http://schemas.microsoft.com/office/drawing/2014/main" id="{DD90DAF1-17CF-4972-8835-F67EC6E3E211}"/>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0" name="Gruppe 509">
              <a:extLst>
                <a:ext uri="{FF2B5EF4-FFF2-40B4-BE49-F238E27FC236}">
                  <a16:creationId xmlns:a16="http://schemas.microsoft.com/office/drawing/2014/main" id="{AFFE7990-31D2-4B8C-AFED-301B17E73DBD}"/>
                </a:ext>
              </a:extLst>
            </p:cNvPr>
            <p:cNvGrpSpPr/>
            <p:nvPr userDrawn="1"/>
          </p:nvGrpSpPr>
          <p:grpSpPr>
            <a:xfrm>
              <a:off x="6586590" y="5156502"/>
              <a:ext cx="99577" cy="158629"/>
              <a:chOff x="6586590" y="4339419"/>
              <a:chExt cx="99577" cy="158629"/>
            </a:xfrm>
          </p:grpSpPr>
          <p:sp>
            <p:nvSpPr>
              <p:cNvPr id="520" name="Rektangel 519">
                <a:extLst>
                  <a:ext uri="{FF2B5EF4-FFF2-40B4-BE49-F238E27FC236}">
                    <a16:creationId xmlns:a16="http://schemas.microsoft.com/office/drawing/2014/main" id="{642FD02F-1614-4EF4-8251-56F94EA5E554}"/>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1" name="Rektangel 520">
                <a:extLst>
                  <a:ext uri="{FF2B5EF4-FFF2-40B4-BE49-F238E27FC236}">
                    <a16:creationId xmlns:a16="http://schemas.microsoft.com/office/drawing/2014/main" id="{5F6224AA-66D9-4F3C-AD2A-46B654B4AF94}"/>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2" name="Rektangel 521">
                <a:extLst>
                  <a:ext uri="{FF2B5EF4-FFF2-40B4-BE49-F238E27FC236}">
                    <a16:creationId xmlns:a16="http://schemas.microsoft.com/office/drawing/2014/main" id="{68ECDDE5-1739-4C6A-9E7A-CF68C094D7BA}"/>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3" name="Rektangel 522">
                <a:extLst>
                  <a:ext uri="{FF2B5EF4-FFF2-40B4-BE49-F238E27FC236}">
                    <a16:creationId xmlns:a16="http://schemas.microsoft.com/office/drawing/2014/main" id="{D2FA6F5B-9127-4C45-89D7-7935010F262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1" name="Gruppe 510">
              <a:extLst>
                <a:ext uri="{FF2B5EF4-FFF2-40B4-BE49-F238E27FC236}">
                  <a16:creationId xmlns:a16="http://schemas.microsoft.com/office/drawing/2014/main" id="{BD45FD44-F3BC-4849-9601-CA6AD8851D42}"/>
                </a:ext>
              </a:extLst>
            </p:cNvPr>
            <p:cNvGrpSpPr/>
            <p:nvPr userDrawn="1"/>
          </p:nvGrpSpPr>
          <p:grpSpPr>
            <a:xfrm>
              <a:off x="6586590" y="5395215"/>
              <a:ext cx="99577" cy="130933"/>
              <a:chOff x="6586590" y="4107944"/>
              <a:chExt cx="99577" cy="130933"/>
            </a:xfrm>
          </p:grpSpPr>
          <p:sp>
            <p:nvSpPr>
              <p:cNvPr id="517" name="Rektangel 516">
                <a:extLst>
                  <a:ext uri="{FF2B5EF4-FFF2-40B4-BE49-F238E27FC236}">
                    <a16:creationId xmlns:a16="http://schemas.microsoft.com/office/drawing/2014/main" id="{5F7E2960-7EDD-4022-9C40-B00A20A0631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8" name="Rektangel 517">
                <a:extLst>
                  <a:ext uri="{FF2B5EF4-FFF2-40B4-BE49-F238E27FC236}">
                    <a16:creationId xmlns:a16="http://schemas.microsoft.com/office/drawing/2014/main" id="{7CB73619-9A2D-4896-8C1F-4E97E04D39B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9" name="Rektangel: øverste hjørner afrundet 518">
                <a:extLst>
                  <a:ext uri="{FF2B5EF4-FFF2-40B4-BE49-F238E27FC236}">
                    <a16:creationId xmlns:a16="http://schemas.microsoft.com/office/drawing/2014/main" id="{12CDE575-588C-4CA6-8E71-0323DCA76438}"/>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2" name="Gruppe 511">
              <a:extLst>
                <a:ext uri="{FF2B5EF4-FFF2-40B4-BE49-F238E27FC236}">
                  <a16:creationId xmlns:a16="http://schemas.microsoft.com/office/drawing/2014/main" id="{391A61A0-D5DA-43BD-A7A3-44117A327FB6}"/>
                </a:ext>
              </a:extLst>
            </p:cNvPr>
            <p:cNvGrpSpPr/>
            <p:nvPr userDrawn="1"/>
          </p:nvGrpSpPr>
          <p:grpSpPr>
            <a:xfrm>
              <a:off x="6586590" y="5606229"/>
              <a:ext cx="99577" cy="158629"/>
              <a:chOff x="6586590" y="4339419"/>
              <a:chExt cx="99577" cy="158629"/>
            </a:xfrm>
          </p:grpSpPr>
          <p:sp>
            <p:nvSpPr>
              <p:cNvPr id="513" name="Rektangel 512">
                <a:extLst>
                  <a:ext uri="{FF2B5EF4-FFF2-40B4-BE49-F238E27FC236}">
                    <a16:creationId xmlns:a16="http://schemas.microsoft.com/office/drawing/2014/main" id="{7D7F0A32-770E-49F2-8729-84A90BA54A6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4" name="Rektangel 513">
                <a:extLst>
                  <a:ext uri="{FF2B5EF4-FFF2-40B4-BE49-F238E27FC236}">
                    <a16:creationId xmlns:a16="http://schemas.microsoft.com/office/drawing/2014/main" id="{7DB3BDBB-C92B-4747-B9A6-861B86DE1AE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5" name="Rektangel 514">
                <a:extLst>
                  <a:ext uri="{FF2B5EF4-FFF2-40B4-BE49-F238E27FC236}">
                    <a16:creationId xmlns:a16="http://schemas.microsoft.com/office/drawing/2014/main" id="{6121A64A-344E-4B6F-8A15-34168A0BA36C}"/>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6" name="Rektangel 515">
                <a:extLst>
                  <a:ext uri="{FF2B5EF4-FFF2-40B4-BE49-F238E27FC236}">
                    <a16:creationId xmlns:a16="http://schemas.microsoft.com/office/drawing/2014/main" id="{E0C515B9-60AD-4FD8-BCB7-65EEF52D9D18}"/>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186" name="Gruppe 185">
            <a:extLst>
              <a:ext uri="{FF2B5EF4-FFF2-40B4-BE49-F238E27FC236}">
                <a16:creationId xmlns:a16="http://schemas.microsoft.com/office/drawing/2014/main" id="{A3E3B51A-20D4-484D-826E-22A4AC81101D}"/>
              </a:ext>
            </a:extLst>
          </p:cNvPr>
          <p:cNvGrpSpPr/>
          <p:nvPr userDrawn="1"/>
        </p:nvGrpSpPr>
        <p:grpSpPr>
          <a:xfrm flipH="1">
            <a:off x="7019767" y="5466888"/>
            <a:ext cx="832613" cy="515242"/>
            <a:chOff x="5878302" y="5164076"/>
            <a:chExt cx="916095" cy="739089"/>
          </a:xfrm>
          <a:solidFill>
            <a:schemeClr val="accent4">
              <a:lumMod val="60000"/>
              <a:lumOff val="40000"/>
            </a:schemeClr>
          </a:solidFill>
        </p:grpSpPr>
        <p:grpSp>
          <p:nvGrpSpPr>
            <p:cNvPr id="187" name="Gruppe 186">
              <a:extLst>
                <a:ext uri="{FF2B5EF4-FFF2-40B4-BE49-F238E27FC236}">
                  <a16:creationId xmlns:a16="http://schemas.microsoft.com/office/drawing/2014/main" id="{97381A96-A053-4781-8B05-9EBA3310E0D9}"/>
                </a:ext>
              </a:extLst>
            </p:cNvPr>
            <p:cNvGrpSpPr/>
            <p:nvPr userDrawn="1"/>
          </p:nvGrpSpPr>
          <p:grpSpPr>
            <a:xfrm>
              <a:off x="5878302" y="5164076"/>
              <a:ext cx="916095" cy="739089"/>
              <a:chOff x="6443096" y="5105724"/>
              <a:chExt cx="916095" cy="739089"/>
            </a:xfrm>
            <a:grpFill/>
          </p:grpSpPr>
          <p:sp>
            <p:nvSpPr>
              <p:cNvPr id="189" name="Rektangel 188">
                <a:extLst>
                  <a:ext uri="{FF2B5EF4-FFF2-40B4-BE49-F238E27FC236}">
                    <a16:creationId xmlns:a16="http://schemas.microsoft.com/office/drawing/2014/main" id="{3EDE9D0A-39A8-4AB7-B2E9-6CCAD0CA6FC6}"/>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Ellipse 189">
                <a:extLst>
                  <a:ext uri="{FF2B5EF4-FFF2-40B4-BE49-F238E27FC236}">
                    <a16:creationId xmlns:a16="http://schemas.microsoft.com/office/drawing/2014/main" id="{51E5522C-96DD-4C4C-90C1-F8911D4B670A}"/>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1" name="Ellipse 190">
                <a:extLst>
                  <a:ext uri="{FF2B5EF4-FFF2-40B4-BE49-F238E27FC236}">
                    <a16:creationId xmlns:a16="http://schemas.microsoft.com/office/drawing/2014/main" id="{C4C62C7D-D8BE-4E75-9970-F24D2F1381B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2" name="Ellipse 191">
                <a:extLst>
                  <a:ext uri="{FF2B5EF4-FFF2-40B4-BE49-F238E27FC236}">
                    <a16:creationId xmlns:a16="http://schemas.microsoft.com/office/drawing/2014/main" id="{4B627D10-4EA6-4B4B-B2BE-5EFA099A140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3" name="Ellipse 192">
                <a:extLst>
                  <a:ext uri="{FF2B5EF4-FFF2-40B4-BE49-F238E27FC236}">
                    <a16:creationId xmlns:a16="http://schemas.microsoft.com/office/drawing/2014/main" id="{547372E9-0BB3-4768-AF90-0AAD85537C11}"/>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8" name="Ellipse 187">
              <a:extLst>
                <a:ext uri="{FF2B5EF4-FFF2-40B4-BE49-F238E27FC236}">
                  <a16:creationId xmlns:a16="http://schemas.microsoft.com/office/drawing/2014/main" id="{F34CE4EA-AAC0-4BA3-B954-1A606C3141B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541" name="Gruppe 540">
            <a:extLst>
              <a:ext uri="{FF2B5EF4-FFF2-40B4-BE49-F238E27FC236}">
                <a16:creationId xmlns:a16="http://schemas.microsoft.com/office/drawing/2014/main" id="{FC41F19C-BC9A-49F8-B982-60AD6A645885}"/>
              </a:ext>
            </a:extLst>
          </p:cNvPr>
          <p:cNvGrpSpPr/>
          <p:nvPr userDrawn="1"/>
        </p:nvGrpSpPr>
        <p:grpSpPr>
          <a:xfrm>
            <a:off x="5989017" y="5230207"/>
            <a:ext cx="916095" cy="739089"/>
            <a:chOff x="5878302" y="5164076"/>
            <a:chExt cx="916095" cy="739089"/>
          </a:xfrm>
        </p:grpSpPr>
        <p:grpSp>
          <p:nvGrpSpPr>
            <p:cNvPr id="542" name="Gruppe 541">
              <a:extLst>
                <a:ext uri="{FF2B5EF4-FFF2-40B4-BE49-F238E27FC236}">
                  <a16:creationId xmlns:a16="http://schemas.microsoft.com/office/drawing/2014/main" id="{DF86FE1F-EE9C-43EC-9516-A9FF819B9263}"/>
                </a:ext>
              </a:extLst>
            </p:cNvPr>
            <p:cNvGrpSpPr/>
            <p:nvPr userDrawn="1"/>
          </p:nvGrpSpPr>
          <p:grpSpPr>
            <a:xfrm>
              <a:off x="5878302" y="5164076"/>
              <a:ext cx="916095" cy="739089"/>
              <a:chOff x="6443096" y="5105724"/>
              <a:chExt cx="916095" cy="739089"/>
            </a:xfrm>
          </p:grpSpPr>
          <p:sp>
            <p:nvSpPr>
              <p:cNvPr id="544" name="Rektangel 543">
                <a:extLst>
                  <a:ext uri="{FF2B5EF4-FFF2-40B4-BE49-F238E27FC236}">
                    <a16:creationId xmlns:a16="http://schemas.microsoft.com/office/drawing/2014/main" id="{E898AF9A-B010-49F6-8D28-EF7914B30C1E}"/>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5" name="Ellipse 544">
                <a:extLst>
                  <a:ext uri="{FF2B5EF4-FFF2-40B4-BE49-F238E27FC236}">
                    <a16:creationId xmlns:a16="http://schemas.microsoft.com/office/drawing/2014/main" id="{A802A087-DAF1-4DF7-9264-2D37AB4973E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6" name="Ellipse 545">
                <a:extLst>
                  <a:ext uri="{FF2B5EF4-FFF2-40B4-BE49-F238E27FC236}">
                    <a16:creationId xmlns:a16="http://schemas.microsoft.com/office/drawing/2014/main" id="{37DEBFFC-1705-4305-A83C-0C4223E40B80}"/>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7" name="Ellipse 546">
                <a:extLst>
                  <a:ext uri="{FF2B5EF4-FFF2-40B4-BE49-F238E27FC236}">
                    <a16:creationId xmlns:a16="http://schemas.microsoft.com/office/drawing/2014/main" id="{214F247A-917A-4ADF-92E1-B15DB347252F}"/>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8" name="Ellipse 547">
                <a:extLst>
                  <a:ext uri="{FF2B5EF4-FFF2-40B4-BE49-F238E27FC236}">
                    <a16:creationId xmlns:a16="http://schemas.microsoft.com/office/drawing/2014/main" id="{8A70A2AB-9975-40CE-9DAA-8605F6A077CD}"/>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543" name="Ellipse 542">
              <a:extLst>
                <a:ext uri="{FF2B5EF4-FFF2-40B4-BE49-F238E27FC236}">
                  <a16:creationId xmlns:a16="http://schemas.microsoft.com/office/drawing/2014/main" id="{08F77261-16CD-4A76-AB6F-21D4A0775C46}"/>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437" name="Rektangel 436">
            <a:extLst>
              <a:ext uri="{FF2B5EF4-FFF2-40B4-BE49-F238E27FC236}">
                <a16:creationId xmlns:a16="http://schemas.microsoft.com/office/drawing/2014/main" id="{13325374-C58B-4D1E-A038-D0A9429AF6DE}"/>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438" name="Pladsholder til tekst 5">
            <a:extLst>
              <a:ext uri="{FF2B5EF4-FFF2-40B4-BE49-F238E27FC236}">
                <a16:creationId xmlns:a16="http://schemas.microsoft.com/office/drawing/2014/main" id="{0EF864C6-C6EA-4973-A318-E9F8DE72ED76}"/>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5378657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nmark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59" name="Billede 58">
            <a:extLst>
              <a:ext uri="{FF2B5EF4-FFF2-40B4-BE49-F238E27FC236}">
                <a16:creationId xmlns:a16="http://schemas.microsoft.com/office/drawing/2014/main" id="{9907A31F-84CB-46B9-A51F-B9A9B7A14AD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a:off x="6813809" y="1683337"/>
            <a:ext cx="3517722" cy="4284000"/>
          </a:xfrm>
          <a:prstGeom prst="rect">
            <a:avLst/>
          </a:prstGeom>
          <a:noFill/>
        </p:spPr>
      </p:pic>
      <p:pic>
        <p:nvPicPr>
          <p:cNvPr id="66" name="Billede 65">
            <a:extLst>
              <a:ext uri="{FF2B5EF4-FFF2-40B4-BE49-F238E27FC236}">
                <a16:creationId xmlns:a16="http://schemas.microsoft.com/office/drawing/2014/main" id="{135527D2-CCAE-41A4-AE7D-5CAE470570EA}"/>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a:off x="6807793" y="1661564"/>
            <a:ext cx="3517900" cy="4284663"/>
          </a:xfrm>
          <a:prstGeom prst="rect">
            <a:avLst/>
          </a:prstGeom>
        </p:spPr>
      </p:pic>
      <p:sp>
        <p:nvSpPr>
          <p:cNvPr id="65" name="Rektangel 64">
            <a:extLst>
              <a:ext uri="{FF2B5EF4-FFF2-40B4-BE49-F238E27FC236}">
                <a16:creationId xmlns:a16="http://schemas.microsoft.com/office/drawing/2014/main" id="{C4DADF23-8322-4ECE-B7C9-F264F8D4FE67}"/>
              </a:ext>
            </a:extLst>
          </p:cNvPr>
          <p:cNvSpPr/>
          <p:nvPr userDrawn="1"/>
        </p:nvSpPr>
        <p:spPr>
          <a:xfrm>
            <a:off x="9605127" y="1950812"/>
            <a:ext cx="1243975" cy="9748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 name="Pladsholder til tekst 5">
            <a:extLst>
              <a:ext uri="{FF2B5EF4-FFF2-40B4-BE49-F238E27FC236}">
                <a16:creationId xmlns:a16="http://schemas.microsoft.com/office/drawing/2014/main" id="{79A0D0BE-F722-48CC-83D2-C6BF1D28BF1A}"/>
              </a:ext>
            </a:extLst>
          </p:cNvPr>
          <p:cNvSpPr>
            <a:spLocks noGrp="1"/>
          </p:cNvSpPr>
          <p:nvPr>
            <p:ph type="body" sz="quarter" idx="12" hasCustomPrompt="1"/>
          </p:nvPr>
        </p:nvSpPr>
        <p:spPr>
          <a:xfrm>
            <a:off x="858838" y="1663700"/>
            <a:ext cx="5106988" cy="4183063"/>
          </a:xfrm>
          <a:prstGeom prst="rect">
            <a:avLst/>
          </a:prstGeom>
          <a:solidFill>
            <a:schemeClr val="accent2">
              <a:lumMod val="40000"/>
              <a:lumOff val="60000"/>
            </a:schemeClr>
          </a:solidFill>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Tree>
    <p:extLst>
      <p:ext uri="{BB962C8B-B14F-4D97-AF65-F5344CB8AC3E}">
        <p14:creationId xmlns:p14="http://schemas.microsoft.com/office/powerpoint/2010/main" val="13514501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nmark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59" name="Billede 58">
            <a:extLst>
              <a:ext uri="{FF2B5EF4-FFF2-40B4-BE49-F238E27FC236}">
                <a16:creationId xmlns:a16="http://schemas.microsoft.com/office/drawing/2014/main" id="{9907A31F-84CB-46B9-A51F-B9A9B7A14AD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a:off x="6813809" y="1683337"/>
            <a:ext cx="3517722" cy="4284000"/>
          </a:xfrm>
          <a:prstGeom prst="rect">
            <a:avLst/>
          </a:prstGeom>
          <a:noFill/>
        </p:spPr>
      </p:pic>
      <p:pic>
        <p:nvPicPr>
          <p:cNvPr id="66" name="Billede 65">
            <a:extLst>
              <a:ext uri="{FF2B5EF4-FFF2-40B4-BE49-F238E27FC236}">
                <a16:creationId xmlns:a16="http://schemas.microsoft.com/office/drawing/2014/main" id="{135527D2-CCAE-41A4-AE7D-5CAE470570EA}"/>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a:off x="6807793" y="1661564"/>
            <a:ext cx="3517900" cy="4284663"/>
          </a:xfrm>
          <a:prstGeom prst="rect">
            <a:avLst/>
          </a:prstGeom>
        </p:spPr>
      </p:pic>
      <p:sp>
        <p:nvSpPr>
          <p:cNvPr id="65" name="Rektangel 64">
            <a:extLst>
              <a:ext uri="{FF2B5EF4-FFF2-40B4-BE49-F238E27FC236}">
                <a16:creationId xmlns:a16="http://schemas.microsoft.com/office/drawing/2014/main" id="{C4DADF23-8322-4ECE-B7C9-F264F8D4FE67}"/>
              </a:ext>
            </a:extLst>
          </p:cNvPr>
          <p:cNvSpPr/>
          <p:nvPr userDrawn="1"/>
        </p:nvSpPr>
        <p:spPr>
          <a:xfrm>
            <a:off x="9605127" y="1950812"/>
            <a:ext cx="1243975" cy="9748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13" name="Rektangel 12">
            <a:extLst>
              <a:ext uri="{FF2B5EF4-FFF2-40B4-BE49-F238E27FC236}">
                <a16:creationId xmlns:a16="http://schemas.microsoft.com/office/drawing/2014/main" id="{7262035C-AEE4-4EA1-B99D-63BE40C1CA1C}"/>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14" name="Pladsholder til tekst 5">
            <a:extLst>
              <a:ext uri="{FF2B5EF4-FFF2-40B4-BE49-F238E27FC236}">
                <a16:creationId xmlns:a16="http://schemas.microsoft.com/office/drawing/2014/main" id="{5CB96E51-8059-42A4-9DDC-61FA9C89C328}"/>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13042593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B4F31-BBBA-4BD5-93EC-AE592451FB53}"/>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E76C463D-9008-42EA-82EA-696BCDD26E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123621F9-ED6B-4897-8653-AB304A2406A5}"/>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ADC6882-E0A9-46AA-93DB-23E261D4AE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3707D027-4E3C-4346-B201-D3742196C975}"/>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7F81B47-62DD-40A7-8D02-0230B3050E8D}"/>
              </a:ext>
            </a:extLst>
          </p:cNvPr>
          <p:cNvSpPr>
            <a:spLocks noGrp="1"/>
          </p:cNvSpPr>
          <p:nvPr>
            <p:ph type="dt" sz="half" idx="10"/>
          </p:nvPr>
        </p:nvSpPr>
        <p:spPr/>
        <p:txBody>
          <a:bodyPr/>
          <a:lstStyle/>
          <a:p>
            <a:fld id="{7AB9FBD4-631A-4FA6-B137-B39C284BEBA0}" type="datetime1">
              <a:rPr lang="da-DK" smtClean="0"/>
              <a:t>17-02-2026</a:t>
            </a:fld>
            <a:endParaRPr lang="da-DK"/>
          </a:p>
        </p:txBody>
      </p:sp>
      <p:sp>
        <p:nvSpPr>
          <p:cNvPr id="8" name="Pladsholder til sidefod 7">
            <a:extLst>
              <a:ext uri="{FF2B5EF4-FFF2-40B4-BE49-F238E27FC236}">
                <a16:creationId xmlns:a16="http://schemas.microsoft.com/office/drawing/2014/main" id="{5D476C7F-AA5B-453C-B240-8138272E846D}"/>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7CA9F297-B038-46A4-912D-6F54F380660D}"/>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0966830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teration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grpSp>
        <p:nvGrpSpPr>
          <p:cNvPr id="8" name="Gruppe 7">
            <a:extLst>
              <a:ext uri="{FF2B5EF4-FFF2-40B4-BE49-F238E27FC236}">
                <a16:creationId xmlns:a16="http://schemas.microsoft.com/office/drawing/2014/main" id="{A71703CE-220D-420A-A945-8170027FFB47}"/>
              </a:ext>
            </a:extLst>
          </p:cNvPr>
          <p:cNvGrpSpPr/>
          <p:nvPr userDrawn="1"/>
        </p:nvGrpSpPr>
        <p:grpSpPr>
          <a:xfrm>
            <a:off x="5963770" y="1798498"/>
            <a:ext cx="5502413" cy="4107753"/>
            <a:chOff x="2910710" y="1881188"/>
            <a:chExt cx="5502413" cy="4107753"/>
          </a:xfrm>
        </p:grpSpPr>
        <p:sp>
          <p:nvSpPr>
            <p:cNvPr id="9" name="Ellipse 8">
              <a:extLst>
                <a:ext uri="{FF2B5EF4-FFF2-40B4-BE49-F238E27FC236}">
                  <a16:creationId xmlns:a16="http://schemas.microsoft.com/office/drawing/2014/main" id="{7700D184-8DD0-495F-8796-A874067F02A4}"/>
                </a:ext>
              </a:extLst>
            </p:cNvPr>
            <p:cNvSpPr>
              <a:spLocks noChangeAspect="1"/>
            </p:cNvSpPr>
            <p:nvPr/>
          </p:nvSpPr>
          <p:spPr>
            <a:xfrm>
              <a:off x="5234934" y="3499752"/>
              <a:ext cx="828000" cy="828000"/>
            </a:xfrm>
            <a:prstGeom prst="ellipse">
              <a:avLst/>
            </a:prstGeom>
            <a:solidFill>
              <a:schemeClr val="accent4">
                <a:lumMod val="75000"/>
              </a:schemeClr>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Cirkel: udhulet 9">
              <a:extLst>
                <a:ext uri="{FF2B5EF4-FFF2-40B4-BE49-F238E27FC236}">
                  <a16:creationId xmlns:a16="http://schemas.microsoft.com/office/drawing/2014/main" id="{72E6DFFF-6CFE-495E-9FDC-32A828A68B3F}"/>
                </a:ext>
              </a:extLst>
            </p:cNvPr>
            <p:cNvSpPr>
              <a:spLocks noChangeAspect="1"/>
            </p:cNvSpPr>
            <p:nvPr/>
          </p:nvSpPr>
          <p:spPr>
            <a:xfrm>
              <a:off x="3823326" y="2299839"/>
              <a:ext cx="3689102" cy="3689102"/>
            </a:xfrm>
            <a:prstGeom prst="donut">
              <a:avLst>
                <a:gd name="adj" fmla="val 17723"/>
              </a:avLst>
            </a:prstGeom>
            <a:solidFill>
              <a:schemeClr val="accent4">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1" name="Cirkel: udhulet 10">
              <a:extLst>
                <a:ext uri="{FF2B5EF4-FFF2-40B4-BE49-F238E27FC236}">
                  <a16:creationId xmlns:a16="http://schemas.microsoft.com/office/drawing/2014/main" id="{7F08A1F3-440C-4CE0-AF57-F5EA96FA95D7}"/>
                </a:ext>
              </a:extLst>
            </p:cNvPr>
            <p:cNvSpPr>
              <a:spLocks noChangeAspect="1"/>
            </p:cNvSpPr>
            <p:nvPr/>
          </p:nvSpPr>
          <p:spPr>
            <a:xfrm>
              <a:off x="3767213" y="2195177"/>
              <a:ext cx="3689102" cy="3689102"/>
            </a:xfrm>
            <a:prstGeom prst="donut">
              <a:avLst>
                <a:gd name="adj" fmla="val 1772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3" name="Cirkel: udhulet 12">
              <a:extLst>
                <a:ext uri="{FF2B5EF4-FFF2-40B4-BE49-F238E27FC236}">
                  <a16:creationId xmlns:a16="http://schemas.microsoft.com/office/drawing/2014/main" id="{AA25638D-59AB-4A3A-843E-1E9E971657D7}"/>
                </a:ext>
              </a:extLst>
            </p:cNvPr>
            <p:cNvSpPr>
              <a:spLocks noChangeAspect="1"/>
            </p:cNvSpPr>
            <p:nvPr/>
          </p:nvSpPr>
          <p:spPr>
            <a:xfrm>
              <a:off x="3711101" y="2090514"/>
              <a:ext cx="3689102" cy="3689102"/>
            </a:xfrm>
            <a:prstGeom prst="donut">
              <a:avLst>
                <a:gd name="adj" fmla="val 1772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4" name="Cirkel: udhulet 13">
              <a:extLst>
                <a:ext uri="{FF2B5EF4-FFF2-40B4-BE49-F238E27FC236}">
                  <a16:creationId xmlns:a16="http://schemas.microsoft.com/office/drawing/2014/main" id="{826E6A6F-15D2-4F59-835E-76C063C727D4}"/>
                </a:ext>
              </a:extLst>
            </p:cNvPr>
            <p:cNvSpPr>
              <a:spLocks noChangeAspect="1"/>
            </p:cNvSpPr>
            <p:nvPr/>
          </p:nvSpPr>
          <p:spPr>
            <a:xfrm>
              <a:off x="3654989" y="1985851"/>
              <a:ext cx="3689102" cy="3689102"/>
            </a:xfrm>
            <a:prstGeom prst="donut">
              <a:avLst>
                <a:gd name="adj" fmla="val 17723"/>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5" name="Cirkel: udhulet 14">
              <a:extLst>
                <a:ext uri="{FF2B5EF4-FFF2-40B4-BE49-F238E27FC236}">
                  <a16:creationId xmlns:a16="http://schemas.microsoft.com/office/drawing/2014/main" id="{1E9542CE-83BB-4EF0-BF5D-034717DB789B}"/>
                </a:ext>
              </a:extLst>
            </p:cNvPr>
            <p:cNvSpPr>
              <a:spLocks noChangeAspect="1"/>
            </p:cNvSpPr>
            <p:nvPr/>
          </p:nvSpPr>
          <p:spPr>
            <a:xfrm>
              <a:off x="3598877" y="1881188"/>
              <a:ext cx="3689102" cy="3689102"/>
            </a:xfrm>
            <a:prstGeom prst="donut">
              <a:avLst>
                <a:gd name="adj" fmla="val 17723"/>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16" name="Gruppe 15">
              <a:extLst>
                <a:ext uri="{FF2B5EF4-FFF2-40B4-BE49-F238E27FC236}">
                  <a16:creationId xmlns:a16="http://schemas.microsoft.com/office/drawing/2014/main" id="{CA0A60DA-DEEB-48CF-BC80-E249053B2B1D}"/>
                </a:ext>
              </a:extLst>
            </p:cNvPr>
            <p:cNvGrpSpPr/>
            <p:nvPr/>
          </p:nvGrpSpPr>
          <p:grpSpPr>
            <a:xfrm>
              <a:off x="5231652" y="3467856"/>
              <a:ext cx="648000" cy="648000"/>
              <a:chOff x="8599090" y="3356383"/>
              <a:chExt cx="648000" cy="648000"/>
            </a:xfrm>
          </p:grpSpPr>
          <p:sp>
            <p:nvSpPr>
              <p:cNvPr id="20" name="Ellipse 19">
                <a:extLst>
                  <a:ext uri="{FF2B5EF4-FFF2-40B4-BE49-F238E27FC236}">
                    <a16:creationId xmlns:a16="http://schemas.microsoft.com/office/drawing/2014/main" id="{12BFDEBC-DEDC-4314-8F3E-6F95EF38A270}"/>
                  </a:ext>
                </a:extLst>
              </p:cNvPr>
              <p:cNvSpPr>
                <a:spLocks noChangeAspect="1"/>
              </p:cNvSpPr>
              <p:nvPr/>
            </p:nvSpPr>
            <p:spPr>
              <a:xfrm>
                <a:off x="8599090" y="3356383"/>
                <a:ext cx="648000" cy="648000"/>
              </a:xfrm>
              <a:prstGeom prst="ellipse">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a:extLst>
                  <a:ext uri="{FF2B5EF4-FFF2-40B4-BE49-F238E27FC236}">
                    <a16:creationId xmlns:a16="http://schemas.microsoft.com/office/drawing/2014/main" id="{6C50A5EB-FEFB-4818-AB11-21512DFBD890}"/>
                  </a:ext>
                </a:extLst>
              </p:cNvPr>
              <p:cNvSpPr>
                <a:spLocks noChangeAspect="1"/>
              </p:cNvSpPr>
              <p:nvPr/>
            </p:nvSpPr>
            <p:spPr>
              <a:xfrm>
                <a:off x="8635090" y="3392383"/>
                <a:ext cx="576000" cy="57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22" name="Grafik 21" descr="Tandhjul">
                <a:extLst>
                  <a:ext uri="{FF2B5EF4-FFF2-40B4-BE49-F238E27FC236}">
                    <a16:creationId xmlns:a16="http://schemas.microsoft.com/office/drawing/2014/main" id="{1423BE69-6EC6-4554-B596-4DA4466AB0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50500" y="3407793"/>
                <a:ext cx="545181" cy="545181"/>
              </a:xfrm>
              <a:prstGeom prst="rect">
                <a:avLst/>
              </a:prstGeom>
            </p:spPr>
          </p:pic>
        </p:grpSp>
        <p:sp>
          <p:nvSpPr>
            <p:cNvPr id="17" name="Rektangel 16">
              <a:extLst>
                <a:ext uri="{FF2B5EF4-FFF2-40B4-BE49-F238E27FC236}">
                  <a16:creationId xmlns:a16="http://schemas.microsoft.com/office/drawing/2014/main" id="{B948C699-0C1F-4201-82E3-A4F0B823F761}"/>
                </a:ext>
              </a:extLst>
            </p:cNvPr>
            <p:cNvSpPr/>
            <p:nvPr/>
          </p:nvSpPr>
          <p:spPr>
            <a:xfrm>
              <a:off x="2910710" y="1881188"/>
              <a:ext cx="2629030" cy="658800"/>
            </a:xfrm>
            <a:prstGeom prst="rect">
              <a:avLst/>
            </a:prstGeom>
            <a:gradFill>
              <a:gsLst>
                <a:gs pos="100000">
                  <a:schemeClr val="accent4">
                    <a:lumMod val="40000"/>
                    <a:lumOff val="60000"/>
                  </a:schemeClr>
                </a:gs>
                <a:gs pos="60000">
                  <a:schemeClr val="accent4">
                    <a:lumMod val="20000"/>
                    <a:lumOff val="80000"/>
                  </a:schemeClr>
                </a:gs>
                <a:gs pos="100000">
                  <a:schemeClr val="accent4">
                    <a:lumMod val="40000"/>
                    <a:lumOff val="6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 name="Rektangel 17">
              <a:extLst>
                <a:ext uri="{FF2B5EF4-FFF2-40B4-BE49-F238E27FC236}">
                  <a16:creationId xmlns:a16="http://schemas.microsoft.com/office/drawing/2014/main" id="{434A5811-8A6C-4351-A585-82EC4BA5BE2B}"/>
                </a:ext>
              </a:extLst>
            </p:cNvPr>
            <p:cNvSpPr/>
            <p:nvPr/>
          </p:nvSpPr>
          <p:spPr>
            <a:xfrm>
              <a:off x="5552148" y="4911247"/>
              <a:ext cx="2135817" cy="6588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Ligebenet trekant 18">
              <a:extLst>
                <a:ext uri="{FF2B5EF4-FFF2-40B4-BE49-F238E27FC236}">
                  <a16:creationId xmlns:a16="http://schemas.microsoft.com/office/drawing/2014/main" id="{4C6CD71B-8122-4EAE-8A9D-BF45723DA382}"/>
                </a:ext>
              </a:extLst>
            </p:cNvPr>
            <p:cNvSpPr/>
            <p:nvPr/>
          </p:nvSpPr>
          <p:spPr>
            <a:xfrm rot="5400000">
              <a:off x="7500607" y="4855068"/>
              <a:ext cx="1063778" cy="761254"/>
            </a:xfrm>
            <a:prstGeom prst="triangle">
              <a:avLst/>
            </a:prstGeom>
            <a:solidFill>
              <a:srgbClr val="D9E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3" name="Pladsholder til tekst 2">
            <a:extLst>
              <a:ext uri="{FF2B5EF4-FFF2-40B4-BE49-F238E27FC236}">
                <a16:creationId xmlns:a16="http://schemas.microsoft.com/office/drawing/2014/main" id="{9B301078-50B8-4A95-9ED9-8681C562ED7F}"/>
              </a:ext>
            </a:extLst>
          </p:cNvPr>
          <p:cNvSpPr>
            <a:spLocks noGrp="1"/>
          </p:cNvSpPr>
          <p:nvPr>
            <p:ph type="body" sz="quarter" idx="12" hasCustomPrompt="1"/>
          </p:nvPr>
        </p:nvSpPr>
        <p:spPr>
          <a:xfrm>
            <a:off x="858715" y="1663582"/>
            <a:ext cx="5106988" cy="4183063"/>
          </a:xfrm>
          <a:prstGeom prst="rect">
            <a:avLst/>
          </a:prstGeom>
          <a:solidFill>
            <a:schemeClr val="accent2">
              <a:lumMod val="40000"/>
              <a:lumOff val="60000"/>
            </a:schemeClr>
          </a:solidFill>
        </p:spPr>
        <p:txBody>
          <a:bodyPr anchor="ctr" anchorCtr="0"/>
          <a:lstStyle>
            <a:lvl1pPr marL="0" indent="0" algn="ctr">
              <a:buNone/>
              <a:defRPr sz="1800">
                <a:solidFill>
                  <a:schemeClr val="accent4"/>
                </a:solidFill>
              </a:defRPr>
            </a:lvl1pPr>
            <a:lvl2pPr marL="457200" indent="0">
              <a:buNone/>
              <a:defRPr/>
            </a:lvl2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Tree>
    <p:extLst>
      <p:ext uri="{BB962C8B-B14F-4D97-AF65-F5344CB8AC3E}">
        <p14:creationId xmlns:p14="http://schemas.microsoft.com/office/powerpoint/2010/main" val="3904878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teration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9" name="Ellipse 8">
            <a:extLst>
              <a:ext uri="{FF2B5EF4-FFF2-40B4-BE49-F238E27FC236}">
                <a16:creationId xmlns:a16="http://schemas.microsoft.com/office/drawing/2014/main" id="{7700D184-8DD0-495F-8796-A874067F02A4}"/>
              </a:ext>
            </a:extLst>
          </p:cNvPr>
          <p:cNvSpPr>
            <a:spLocks noChangeAspect="1"/>
          </p:cNvSpPr>
          <p:nvPr/>
        </p:nvSpPr>
        <p:spPr>
          <a:xfrm>
            <a:off x="8287994" y="3417062"/>
            <a:ext cx="828000" cy="828000"/>
          </a:xfrm>
          <a:prstGeom prst="ellipse">
            <a:avLst/>
          </a:prstGeom>
          <a:solidFill>
            <a:schemeClr val="accent4">
              <a:lumMod val="75000"/>
            </a:schemeClr>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Cirkel: udhulet 9">
            <a:extLst>
              <a:ext uri="{FF2B5EF4-FFF2-40B4-BE49-F238E27FC236}">
                <a16:creationId xmlns:a16="http://schemas.microsoft.com/office/drawing/2014/main" id="{72E6DFFF-6CFE-495E-9FDC-32A828A68B3F}"/>
              </a:ext>
            </a:extLst>
          </p:cNvPr>
          <p:cNvSpPr>
            <a:spLocks noChangeAspect="1"/>
          </p:cNvSpPr>
          <p:nvPr userDrawn="1"/>
        </p:nvSpPr>
        <p:spPr>
          <a:xfrm>
            <a:off x="6876386" y="2217149"/>
            <a:ext cx="3689102" cy="3689102"/>
          </a:xfrm>
          <a:prstGeom prst="donut">
            <a:avLst>
              <a:gd name="adj" fmla="val 17723"/>
            </a:avLst>
          </a:prstGeom>
          <a:solidFill>
            <a:schemeClr val="accent4">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1" name="Cirkel: udhulet 10">
            <a:extLst>
              <a:ext uri="{FF2B5EF4-FFF2-40B4-BE49-F238E27FC236}">
                <a16:creationId xmlns:a16="http://schemas.microsoft.com/office/drawing/2014/main" id="{7F08A1F3-440C-4CE0-AF57-F5EA96FA95D7}"/>
              </a:ext>
            </a:extLst>
          </p:cNvPr>
          <p:cNvSpPr>
            <a:spLocks noChangeAspect="1"/>
          </p:cNvSpPr>
          <p:nvPr/>
        </p:nvSpPr>
        <p:spPr>
          <a:xfrm>
            <a:off x="6820273" y="2112487"/>
            <a:ext cx="3689102" cy="3689102"/>
          </a:xfrm>
          <a:prstGeom prst="donut">
            <a:avLst>
              <a:gd name="adj" fmla="val 17723"/>
            </a:avLst>
          </a:prstGeom>
          <a:solidFill>
            <a:srgbClr val="334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3" name="Cirkel: udhulet 12">
            <a:extLst>
              <a:ext uri="{FF2B5EF4-FFF2-40B4-BE49-F238E27FC236}">
                <a16:creationId xmlns:a16="http://schemas.microsoft.com/office/drawing/2014/main" id="{AA25638D-59AB-4A3A-843E-1E9E971657D7}"/>
              </a:ext>
            </a:extLst>
          </p:cNvPr>
          <p:cNvSpPr>
            <a:spLocks noChangeAspect="1"/>
          </p:cNvSpPr>
          <p:nvPr/>
        </p:nvSpPr>
        <p:spPr>
          <a:xfrm>
            <a:off x="6764161" y="2007824"/>
            <a:ext cx="3689102" cy="3689102"/>
          </a:xfrm>
          <a:prstGeom prst="donut">
            <a:avLst>
              <a:gd name="adj" fmla="val 17723"/>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4" name="Cirkel: udhulet 13">
            <a:extLst>
              <a:ext uri="{FF2B5EF4-FFF2-40B4-BE49-F238E27FC236}">
                <a16:creationId xmlns:a16="http://schemas.microsoft.com/office/drawing/2014/main" id="{826E6A6F-15D2-4F59-835E-76C063C727D4}"/>
              </a:ext>
            </a:extLst>
          </p:cNvPr>
          <p:cNvSpPr>
            <a:spLocks noChangeAspect="1"/>
          </p:cNvSpPr>
          <p:nvPr/>
        </p:nvSpPr>
        <p:spPr>
          <a:xfrm>
            <a:off x="6708049" y="1903161"/>
            <a:ext cx="3689102" cy="3689102"/>
          </a:xfrm>
          <a:prstGeom prst="donut">
            <a:avLst>
              <a:gd name="adj" fmla="val 1772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5" name="Cirkel: udhulet 14">
            <a:extLst>
              <a:ext uri="{FF2B5EF4-FFF2-40B4-BE49-F238E27FC236}">
                <a16:creationId xmlns:a16="http://schemas.microsoft.com/office/drawing/2014/main" id="{1E9542CE-83BB-4EF0-BF5D-034717DB789B}"/>
              </a:ext>
            </a:extLst>
          </p:cNvPr>
          <p:cNvSpPr>
            <a:spLocks noChangeAspect="1"/>
          </p:cNvSpPr>
          <p:nvPr/>
        </p:nvSpPr>
        <p:spPr>
          <a:xfrm>
            <a:off x="6651937" y="1798498"/>
            <a:ext cx="3689102" cy="3689102"/>
          </a:xfrm>
          <a:prstGeom prst="donut">
            <a:avLst>
              <a:gd name="adj" fmla="val 1772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16" name="Gruppe 15">
            <a:extLst>
              <a:ext uri="{FF2B5EF4-FFF2-40B4-BE49-F238E27FC236}">
                <a16:creationId xmlns:a16="http://schemas.microsoft.com/office/drawing/2014/main" id="{CA0A60DA-DEEB-48CF-BC80-E249053B2B1D}"/>
              </a:ext>
            </a:extLst>
          </p:cNvPr>
          <p:cNvGrpSpPr/>
          <p:nvPr/>
        </p:nvGrpSpPr>
        <p:grpSpPr>
          <a:xfrm>
            <a:off x="8284712" y="3385166"/>
            <a:ext cx="648000" cy="648000"/>
            <a:chOff x="8599090" y="3356383"/>
            <a:chExt cx="648000" cy="648000"/>
          </a:xfrm>
        </p:grpSpPr>
        <p:sp>
          <p:nvSpPr>
            <p:cNvPr id="20" name="Ellipse 19">
              <a:extLst>
                <a:ext uri="{FF2B5EF4-FFF2-40B4-BE49-F238E27FC236}">
                  <a16:creationId xmlns:a16="http://schemas.microsoft.com/office/drawing/2014/main" id="{12BFDEBC-DEDC-4314-8F3E-6F95EF38A270}"/>
                </a:ext>
              </a:extLst>
            </p:cNvPr>
            <p:cNvSpPr>
              <a:spLocks noChangeAspect="1"/>
            </p:cNvSpPr>
            <p:nvPr/>
          </p:nvSpPr>
          <p:spPr>
            <a:xfrm>
              <a:off x="8599090" y="3356383"/>
              <a:ext cx="648000" cy="648000"/>
            </a:xfrm>
            <a:prstGeom prst="ellipse">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a:extLst>
                <a:ext uri="{FF2B5EF4-FFF2-40B4-BE49-F238E27FC236}">
                  <a16:creationId xmlns:a16="http://schemas.microsoft.com/office/drawing/2014/main" id="{6C50A5EB-FEFB-4818-AB11-21512DFBD890}"/>
                </a:ext>
              </a:extLst>
            </p:cNvPr>
            <p:cNvSpPr>
              <a:spLocks noChangeAspect="1"/>
            </p:cNvSpPr>
            <p:nvPr/>
          </p:nvSpPr>
          <p:spPr>
            <a:xfrm>
              <a:off x="8635090" y="3392383"/>
              <a:ext cx="576000" cy="57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22" name="Grafik 21" descr="Tandhjul">
              <a:extLst>
                <a:ext uri="{FF2B5EF4-FFF2-40B4-BE49-F238E27FC236}">
                  <a16:creationId xmlns:a16="http://schemas.microsoft.com/office/drawing/2014/main" id="{1423BE69-6EC6-4554-B596-4DA4466AB0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50500" y="3407793"/>
              <a:ext cx="545181" cy="545181"/>
            </a:xfrm>
            <a:prstGeom prst="rect">
              <a:avLst/>
            </a:prstGeom>
          </p:spPr>
        </p:pic>
      </p:grpSp>
      <p:sp>
        <p:nvSpPr>
          <p:cNvPr id="17" name="Rektangel 16">
            <a:extLst>
              <a:ext uri="{FF2B5EF4-FFF2-40B4-BE49-F238E27FC236}">
                <a16:creationId xmlns:a16="http://schemas.microsoft.com/office/drawing/2014/main" id="{B948C699-0C1F-4201-82E3-A4F0B823F761}"/>
              </a:ext>
            </a:extLst>
          </p:cNvPr>
          <p:cNvSpPr/>
          <p:nvPr/>
        </p:nvSpPr>
        <p:spPr>
          <a:xfrm>
            <a:off x="5963770" y="1798498"/>
            <a:ext cx="2629030" cy="658800"/>
          </a:xfrm>
          <a:prstGeom prst="rect">
            <a:avLst/>
          </a:prstGeom>
          <a:gradFill>
            <a:gsLst>
              <a:gs pos="100000">
                <a:schemeClr val="accent4"/>
              </a:gs>
              <a:gs pos="60000">
                <a:schemeClr val="accent4">
                  <a:lumMod val="60000"/>
                  <a:lumOff val="40000"/>
                </a:schemeClr>
              </a:gs>
              <a:gs pos="100000">
                <a:schemeClr val="accent4">
                  <a:lumMod val="40000"/>
                  <a:lumOff val="6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 name="Rektangel 17">
            <a:extLst>
              <a:ext uri="{FF2B5EF4-FFF2-40B4-BE49-F238E27FC236}">
                <a16:creationId xmlns:a16="http://schemas.microsoft.com/office/drawing/2014/main" id="{434A5811-8A6C-4351-A585-82EC4BA5BE2B}"/>
              </a:ext>
            </a:extLst>
          </p:cNvPr>
          <p:cNvSpPr/>
          <p:nvPr/>
        </p:nvSpPr>
        <p:spPr>
          <a:xfrm>
            <a:off x="8605208" y="4828557"/>
            <a:ext cx="2135817" cy="6588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Ligebenet trekant 18">
            <a:extLst>
              <a:ext uri="{FF2B5EF4-FFF2-40B4-BE49-F238E27FC236}">
                <a16:creationId xmlns:a16="http://schemas.microsoft.com/office/drawing/2014/main" id="{4C6CD71B-8122-4EAE-8A9D-BF45723DA382}"/>
              </a:ext>
            </a:extLst>
          </p:cNvPr>
          <p:cNvSpPr/>
          <p:nvPr/>
        </p:nvSpPr>
        <p:spPr>
          <a:xfrm rot="5400000">
            <a:off x="10553667" y="4772378"/>
            <a:ext cx="1063778" cy="761254"/>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D9B0696E-50D3-4D72-8E03-B42F14265902}"/>
              </a:ext>
            </a:extLst>
          </p:cNvPr>
          <p:cNvSpPr>
            <a:spLocks noGrp="1"/>
          </p:cNvSpPr>
          <p:nvPr userDrawn="1">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42249487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Årshjul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grpSp>
        <p:nvGrpSpPr>
          <p:cNvPr id="23" name="Gruppe 22">
            <a:extLst>
              <a:ext uri="{FF2B5EF4-FFF2-40B4-BE49-F238E27FC236}">
                <a16:creationId xmlns:a16="http://schemas.microsoft.com/office/drawing/2014/main" id="{27A1B2FD-F7D7-454E-AE0D-A59D178EC037}"/>
              </a:ext>
            </a:extLst>
          </p:cNvPr>
          <p:cNvGrpSpPr>
            <a:grpSpLocks noChangeAspect="1"/>
          </p:cNvGrpSpPr>
          <p:nvPr userDrawn="1"/>
        </p:nvGrpSpPr>
        <p:grpSpPr>
          <a:xfrm>
            <a:off x="6469060" y="1557336"/>
            <a:ext cx="4549229" cy="4535489"/>
            <a:chOff x="4084898" y="2084328"/>
            <a:chExt cx="4067967" cy="4055682"/>
          </a:xfrm>
        </p:grpSpPr>
        <p:grpSp>
          <p:nvGrpSpPr>
            <p:cNvPr id="24" name="Gruppe 23">
              <a:extLst>
                <a:ext uri="{FF2B5EF4-FFF2-40B4-BE49-F238E27FC236}">
                  <a16:creationId xmlns:a16="http://schemas.microsoft.com/office/drawing/2014/main" id="{810D3E80-1DCA-4224-83F2-FD5A03563DC4}"/>
                </a:ext>
              </a:extLst>
            </p:cNvPr>
            <p:cNvGrpSpPr/>
            <p:nvPr/>
          </p:nvGrpSpPr>
          <p:grpSpPr>
            <a:xfrm>
              <a:off x="4084898" y="2084328"/>
              <a:ext cx="4067967" cy="4055682"/>
              <a:chOff x="3737131" y="2085661"/>
              <a:chExt cx="4067967" cy="4055682"/>
            </a:xfrm>
          </p:grpSpPr>
          <p:grpSp>
            <p:nvGrpSpPr>
              <p:cNvPr id="37" name="Gruppe 36">
                <a:extLst>
                  <a:ext uri="{FF2B5EF4-FFF2-40B4-BE49-F238E27FC236}">
                    <a16:creationId xmlns:a16="http://schemas.microsoft.com/office/drawing/2014/main" id="{EC80E36A-569E-42D4-9F6B-24B68DCCCEA4}"/>
                  </a:ext>
                </a:extLst>
              </p:cNvPr>
              <p:cNvGrpSpPr>
                <a:grpSpLocks noChangeAspect="1"/>
              </p:cNvGrpSpPr>
              <p:nvPr/>
            </p:nvGrpSpPr>
            <p:grpSpPr>
              <a:xfrm>
                <a:off x="3743670" y="2085661"/>
                <a:ext cx="4032000" cy="4032000"/>
                <a:chOff x="3912698" y="2061978"/>
                <a:chExt cx="4068000" cy="4068000"/>
              </a:xfrm>
            </p:grpSpPr>
            <p:grpSp>
              <p:nvGrpSpPr>
                <p:cNvPr id="43" name="Gruppe 42">
                  <a:extLst>
                    <a:ext uri="{FF2B5EF4-FFF2-40B4-BE49-F238E27FC236}">
                      <a16:creationId xmlns:a16="http://schemas.microsoft.com/office/drawing/2014/main" id="{296D837A-AEF7-4FC6-9EF5-11C5D5B25930}"/>
                    </a:ext>
                  </a:extLst>
                </p:cNvPr>
                <p:cNvGrpSpPr/>
                <p:nvPr/>
              </p:nvGrpSpPr>
              <p:grpSpPr>
                <a:xfrm>
                  <a:off x="4011536" y="2168906"/>
                  <a:ext cx="3870324" cy="3855092"/>
                  <a:chOff x="3445118" y="2199702"/>
                  <a:chExt cx="3870324" cy="3855092"/>
                </a:xfrm>
              </p:grpSpPr>
              <p:sp>
                <p:nvSpPr>
                  <p:cNvPr id="45" name="Ligebenet trapez 44">
                    <a:extLst>
                      <a:ext uri="{FF2B5EF4-FFF2-40B4-BE49-F238E27FC236}">
                        <a16:creationId xmlns:a16="http://schemas.microsoft.com/office/drawing/2014/main" id="{B90D93B2-DD0F-4B57-AE8B-5E321A011687}"/>
                      </a:ext>
                    </a:extLst>
                  </p:cNvPr>
                  <p:cNvSpPr>
                    <a:spLocks noChangeAspect="1"/>
                  </p:cNvSpPr>
                  <p:nvPr/>
                </p:nvSpPr>
                <p:spPr>
                  <a:xfrm rot="11700000" flipV="1">
                    <a:off x="4597224" y="4078849"/>
                    <a:ext cx="1056711" cy="1975945"/>
                  </a:xfrm>
                  <a:prstGeom prst="trapezoid">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46" name="Gruppe 45">
                    <a:extLst>
                      <a:ext uri="{FF2B5EF4-FFF2-40B4-BE49-F238E27FC236}">
                        <a16:creationId xmlns:a16="http://schemas.microsoft.com/office/drawing/2014/main" id="{BA6F45B5-4623-4505-BD1D-C6BE0F6ECA17}"/>
                      </a:ext>
                    </a:extLst>
                  </p:cNvPr>
                  <p:cNvGrpSpPr/>
                  <p:nvPr/>
                </p:nvGrpSpPr>
                <p:grpSpPr>
                  <a:xfrm>
                    <a:off x="3445118" y="2199702"/>
                    <a:ext cx="3870324" cy="3590961"/>
                    <a:chOff x="3445118" y="2199702"/>
                    <a:chExt cx="3870324" cy="3590961"/>
                  </a:xfrm>
                </p:grpSpPr>
                <p:sp>
                  <p:nvSpPr>
                    <p:cNvPr id="48" name="Ligebenet trapez 47">
                      <a:extLst>
                        <a:ext uri="{FF2B5EF4-FFF2-40B4-BE49-F238E27FC236}">
                          <a16:creationId xmlns:a16="http://schemas.microsoft.com/office/drawing/2014/main" id="{8C93FC00-366D-4B80-BF3F-0060DB7CD1CE}"/>
                        </a:ext>
                      </a:extLst>
                    </p:cNvPr>
                    <p:cNvSpPr>
                      <a:spLocks noChangeAspect="1"/>
                    </p:cNvSpPr>
                    <p:nvPr/>
                  </p:nvSpPr>
                  <p:spPr>
                    <a:xfrm rot="6300000">
                      <a:off x="3919098" y="2888201"/>
                      <a:ext cx="1049386" cy="1975945"/>
                    </a:xfrm>
                    <a:prstGeom prst="trapezoid">
                      <a:avLst>
                        <a:gd name="adj" fmla="val 50000"/>
                      </a:avLst>
                    </a:prstGeom>
                    <a:solidFill>
                      <a:srgbClr val="664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9" name="Ligebenet trapez 48">
                      <a:extLst>
                        <a:ext uri="{FF2B5EF4-FFF2-40B4-BE49-F238E27FC236}">
                          <a16:creationId xmlns:a16="http://schemas.microsoft.com/office/drawing/2014/main" id="{A4611F4F-D094-4599-B183-B4B6B04D10A7}"/>
                        </a:ext>
                      </a:extLst>
                    </p:cNvPr>
                    <p:cNvSpPr>
                      <a:spLocks noChangeAspect="1"/>
                    </p:cNvSpPr>
                    <p:nvPr/>
                  </p:nvSpPr>
                  <p:spPr>
                    <a:xfrm rot="8100000">
                      <a:off x="4181859" y="2462885"/>
                      <a:ext cx="1049386" cy="1975945"/>
                    </a:xfrm>
                    <a:prstGeom prst="trapezoid">
                      <a:avLst>
                        <a:gd name="adj" fmla="val 50000"/>
                      </a:avLst>
                    </a:prstGeom>
                    <a:solidFill>
                      <a:srgbClr val="5E3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 name="Ligebenet trapez 49">
                      <a:extLst>
                        <a:ext uri="{FF2B5EF4-FFF2-40B4-BE49-F238E27FC236}">
                          <a16:creationId xmlns:a16="http://schemas.microsoft.com/office/drawing/2014/main" id="{368AD763-5CD5-4DED-BFEF-F1EAA893AD02}"/>
                        </a:ext>
                      </a:extLst>
                    </p:cNvPr>
                    <p:cNvSpPr>
                      <a:spLocks noChangeAspect="1"/>
                    </p:cNvSpPr>
                    <p:nvPr/>
                  </p:nvSpPr>
                  <p:spPr>
                    <a:xfrm rot="9900000">
                      <a:off x="4608048" y="2201804"/>
                      <a:ext cx="1049386" cy="1975945"/>
                    </a:xfrm>
                    <a:prstGeom prst="trapezoid">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 name="Ligebenet trapez 50">
                      <a:extLst>
                        <a:ext uri="{FF2B5EF4-FFF2-40B4-BE49-F238E27FC236}">
                          <a16:creationId xmlns:a16="http://schemas.microsoft.com/office/drawing/2014/main" id="{B88555C2-53A3-473F-A4DD-622E09BEC02F}"/>
                        </a:ext>
                      </a:extLst>
                    </p:cNvPr>
                    <p:cNvSpPr>
                      <a:spLocks noChangeAspect="1"/>
                    </p:cNvSpPr>
                    <p:nvPr/>
                  </p:nvSpPr>
                  <p:spPr>
                    <a:xfrm rot="15300000" flipH="1">
                      <a:off x="5802777" y="2886099"/>
                      <a:ext cx="1049386" cy="1975945"/>
                    </a:xfrm>
                    <a:prstGeom prst="trapezoid">
                      <a:avLst>
                        <a:gd name="adj" fmla="val 50000"/>
                      </a:avLst>
                    </a:prstGeom>
                    <a:solidFill>
                      <a:srgbClr val="CAC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2" name="Ligebenet trapez 51">
                      <a:extLst>
                        <a:ext uri="{FF2B5EF4-FFF2-40B4-BE49-F238E27FC236}">
                          <a16:creationId xmlns:a16="http://schemas.microsoft.com/office/drawing/2014/main" id="{11111305-2299-429E-A1DE-8186147E3084}"/>
                        </a:ext>
                      </a:extLst>
                    </p:cNvPr>
                    <p:cNvSpPr>
                      <a:spLocks noChangeAspect="1"/>
                    </p:cNvSpPr>
                    <p:nvPr/>
                  </p:nvSpPr>
                  <p:spPr>
                    <a:xfrm rot="13500000" flipH="1">
                      <a:off x="5540016" y="2460783"/>
                      <a:ext cx="1049386" cy="1975945"/>
                    </a:xfrm>
                    <a:prstGeom prst="trapezoid">
                      <a:avLst>
                        <a:gd name="adj" fmla="val 50000"/>
                      </a:avLst>
                    </a:prstGeom>
                    <a:solidFill>
                      <a:srgbClr val="D4D1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 name="Ligebenet trapez 52">
                      <a:extLst>
                        <a:ext uri="{FF2B5EF4-FFF2-40B4-BE49-F238E27FC236}">
                          <a16:creationId xmlns:a16="http://schemas.microsoft.com/office/drawing/2014/main" id="{1C19C01E-2AB6-4ABC-9AB9-B5F9B617BC9A}"/>
                        </a:ext>
                      </a:extLst>
                    </p:cNvPr>
                    <p:cNvSpPr>
                      <a:spLocks noChangeAspect="1"/>
                    </p:cNvSpPr>
                    <p:nvPr/>
                  </p:nvSpPr>
                  <p:spPr>
                    <a:xfrm rot="11700000" flipH="1">
                      <a:off x="5113827" y="2199702"/>
                      <a:ext cx="1049386" cy="1975945"/>
                    </a:xfrm>
                    <a:prstGeom prst="trapezoid">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 name="Ligebenet trapez 53">
                      <a:extLst>
                        <a:ext uri="{FF2B5EF4-FFF2-40B4-BE49-F238E27FC236}">
                          <a16:creationId xmlns:a16="http://schemas.microsoft.com/office/drawing/2014/main" id="{EDA9020E-360F-4A26-8411-CA190026DDDD}"/>
                        </a:ext>
                      </a:extLst>
                    </p:cNvPr>
                    <p:cNvSpPr>
                      <a:spLocks noChangeAspect="1"/>
                    </p:cNvSpPr>
                    <p:nvPr/>
                  </p:nvSpPr>
                  <p:spPr>
                    <a:xfrm rot="15300000" flipV="1">
                      <a:off x="3908398" y="3391504"/>
                      <a:ext cx="1049386" cy="1975945"/>
                    </a:xfrm>
                    <a:prstGeom prst="trapezoid">
                      <a:avLst>
                        <a:gd name="adj" fmla="val 50000"/>
                      </a:avLst>
                    </a:prstGeom>
                    <a:solidFill>
                      <a:srgbClr val="3342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5" name="Ligebenet trapez 54">
                      <a:extLst>
                        <a:ext uri="{FF2B5EF4-FFF2-40B4-BE49-F238E27FC236}">
                          <a16:creationId xmlns:a16="http://schemas.microsoft.com/office/drawing/2014/main" id="{FF38CA69-E484-4874-A0DE-F76321FA0B5C}"/>
                        </a:ext>
                      </a:extLst>
                    </p:cNvPr>
                    <p:cNvSpPr>
                      <a:spLocks noChangeAspect="1"/>
                    </p:cNvSpPr>
                    <p:nvPr/>
                  </p:nvSpPr>
                  <p:spPr>
                    <a:xfrm rot="13500000" flipV="1">
                      <a:off x="4171160" y="3816820"/>
                      <a:ext cx="1049386" cy="1975945"/>
                    </a:xfrm>
                    <a:prstGeom prst="trapezoid">
                      <a:avLst>
                        <a:gd name="adj" fmla="val 50000"/>
                      </a:avLst>
                    </a:prstGeom>
                    <a:solidFill>
                      <a:srgbClr val="374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 name="Ligebenet trapez 55">
                      <a:extLst>
                        <a:ext uri="{FF2B5EF4-FFF2-40B4-BE49-F238E27FC236}">
                          <a16:creationId xmlns:a16="http://schemas.microsoft.com/office/drawing/2014/main" id="{DE022FD3-31A3-4B0B-88C9-CB7FA89DBC7E}"/>
                        </a:ext>
                      </a:extLst>
                    </p:cNvPr>
                    <p:cNvSpPr>
                      <a:spLocks noChangeAspect="1"/>
                    </p:cNvSpPr>
                    <p:nvPr/>
                  </p:nvSpPr>
                  <p:spPr>
                    <a:xfrm rot="6300000" flipH="1" flipV="1">
                      <a:off x="5792078" y="3389402"/>
                      <a:ext cx="1049386" cy="1975945"/>
                    </a:xfrm>
                    <a:prstGeom prst="trapezoid">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7" name="Ligebenet trapez 56">
                      <a:extLst>
                        <a:ext uri="{FF2B5EF4-FFF2-40B4-BE49-F238E27FC236}">
                          <a16:creationId xmlns:a16="http://schemas.microsoft.com/office/drawing/2014/main" id="{3158EADB-CE91-4073-9F19-1E34EC9B4181}"/>
                        </a:ext>
                      </a:extLst>
                    </p:cNvPr>
                    <p:cNvSpPr>
                      <a:spLocks noChangeAspect="1"/>
                    </p:cNvSpPr>
                    <p:nvPr/>
                  </p:nvSpPr>
                  <p:spPr>
                    <a:xfrm rot="8100000" flipH="1" flipV="1">
                      <a:off x="5529317" y="3814718"/>
                      <a:ext cx="1049386" cy="1975945"/>
                    </a:xfrm>
                    <a:prstGeom prst="trapezoid">
                      <a:avLst>
                        <a:gd name="adj" fmla="val 50000"/>
                      </a:avLst>
                    </a:prstGeom>
                    <a:solidFill>
                      <a:srgbClr val="486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7" name="Ligebenet trapez 46">
                    <a:extLst>
                      <a:ext uri="{FF2B5EF4-FFF2-40B4-BE49-F238E27FC236}">
                        <a16:creationId xmlns:a16="http://schemas.microsoft.com/office/drawing/2014/main" id="{0E058831-5B40-484C-AAF3-D76326B0175D}"/>
                      </a:ext>
                    </a:extLst>
                  </p:cNvPr>
                  <p:cNvSpPr>
                    <a:spLocks noChangeAspect="1"/>
                  </p:cNvSpPr>
                  <p:nvPr/>
                </p:nvSpPr>
                <p:spPr>
                  <a:xfrm rot="9900000" flipH="1" flipV="1">
                    <a:off x="5103128" y="4066257"/>
                    <a:ext cx="1049386" cy="1975945"/>
                  </a:xfrm>
                  <a:prstGeom prst="trapezoid">
                    <a:avLst>
                      <a:gd name="adj" fmla="val 50000"/>
                    </a:avLst>
                  </a:prstGeom>
                  <a:solidFill>
                    <a:srgbClr val="4662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4" name="Blokbue 43">
                  <a:extLst>
                    <a:ext uri="{FF2B5EF4-FFF2-40B4-BE49-F238E27FC236}">
                      <a16:creationId xmlns:a16="http://schemas.microsoft.com/office/drawing/2014/main" id="{30606CF1-2BBE-4571-A89B-F5D6D3DC7A70}"/>
                    </a:ext>
                  </a:extLst>
                </p:cNvPr>
                <p:cNvSpPr>
                  <a:spLocks noChangeAspect="1"/>
                </p:cNvSpPr>
                <p:nvPr/>
              </p:nvSpPr>
              <p:spPr>
                <a:xfrm>
                  <a:off x="3912698" y="2061978"/>
                  <a:ext cx="4068000" cy="4068000"/>
                </a:xfrm>
                <a:prstGeom prst="blockArc">
                  <a:avLst>
                    <a:gd name="adj1" fmla="val 0"/>
                    <a:gd name="adj2" fmla="val 21582834"/>
                    <a:gd name="adj3" fmla="val 302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38" name="Blokbue 37">
                <a:extLst>
                  <a:ext uri="{FF2B5EF4-FFF2-40B4-BE49-F238E27FC236}">
                    <a16:creationId xmlns:a16="http://schemas.microsoft.com/office/drawing/2014/main" id="{06CCE944-BCA0-40AC-94DE-45F1682537FE}"/>
                  </a:ext>
                </a:extLst>
              </p:cNvPr>
              <p:cNvSpPr>
                <a:spLocks noChangeAspect="1"/>
              </p:cNvSpPr>
              <p:nvPr/>
            </p:nvSpPr>
            <p:spPr>
              <a:xfrm>
                <a:off x="4139670" y="2481661"/>
                <a:ext cx="3240000" cy="3240000"/>
              </a:xfrm>
              <a:prstGeom prst="blockArc">
                <a:avLst>
                  <a:gd name="adj1" fmla="val 0"/>
                  <a:gd name="adj2" fmla="val 21591805"/>
                  <a:gd name="adj3" fmla="val 408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39" name="Rektangel 38">
                <a:extLst>
                  <a:ext uri="{FF2B5EF4-FFF2-40B4-BE49-F238E27FC236}">
                    <a16:creationId xmlns:a16="http://schemas.microsoft.com/office/drawing/2014/main" id="{4DE42B09-7386-4787-B309-3BDB64705062}"/>
                  </a:ext>
                </a:extLst>
              </p:cNvPr>
              <p:cNvSpPr/>
              <p:nvPr/>
            </p:nvSpPr>
            <p:spPr>
              <a:xfrm>
                <a:off x="3737131" y="4030768"/>
                <a:ext cx="452560" cy="1384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39">
                <a:extLst>
                  <a:ext uri="{FF2B5EF4-FFF2-40B4-BE49-F238E27FC236}">
                    <a16:creationId xmlns:a16="http://schemas.microsoft.com/office/drawing/2014/main" id="{CAE149E8-4B47-41F1-8E25-E92C1656B47C}"/>
                  </a:ext>
                </a:extLst>
              </p:cNvPr>
              <p:cNvSpPr/>
              <p:nvPr/>
            </p:nvSpPr>
            <p:spPr>
              <a:xfrm>
                <a:off x="7245815" y="4030767"/>
                <a:ext cx="559283"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40">
                <a:extLst>
                  <a:ext uri="{FF2B5EF4-FFF2-40B4-BE49-F238E27FC236}">
                    <a16:creationId xmlns:a16="http://schemas.microsoft.com/office/drawing/2014/main" id="{48899A7E-2C06-4395-9DFF-68A108AF85A7}"/>
                  </a:ext>
                </a:extLst>
              </p:cNvPr>
              <p:cNvSpPr/>
              <p:nvPr/>
            </p:nvSpPr>
            <p:spPr>
              <a:xfrm rot="5400000">
                <a:off x="5489669" y="5800448"/>
                <a:ext cx="540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ktangel 41">
                <a:extLst>
                  <a:ext uri="{FF2B5EF4-FFF2-40B4-BE49-F238E27FC236}">
                    <a16:creationId xmlns:a16="http://schemas.microsoft.com/office/drawing/2014/main" id="{6CFC3A54-A885-4979-A0B1-8772C2D37493}"/>
                  </a:ext>
                </a:extLst>
              </p:cNvPr>
              <p:cNvSpPr/>
              <p:nvPr/>
            </p:nvSpPr>
            <p:spPr>
              <a:xfrm rot="5400000">
                <a:off x="5561669" y="2227068"/>
                <a:ext cx="396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5" name="Rektangel 24">
              <a:extLst>
                <a:ext uri="{FF2B5EF4-FFF2-40B4-BE49-F238E27FC236}">
                  <a16:creationId xmlns:a16="http://schemas.microsoft.com/office/drawing/2014/main" id="{83A8F8B9-E68E-436F-8F5B-C379884BE219}"/>
                </a:ext>
              </a:extLst>
            </p:cNvPr>
            <p:cNvSpPr/>
            <p:nvPr/>
          </p:nvSpPr>
          <p:spPr>
            <a:xfrm rot="18896412">
              <a:off x="4367547" y="267287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NOVEMBER</a:t>
              </a:r>
            </a:p>
          </p:txBody>
        </p:sp>
        <p:sp>
          <p:nvSpPr>
            <p:cNvPr id="26" name="Rektangel 25">
              <a:extLst>
                <a:ext uri="{FF2B5EF4-FFF2-40B4-BE49-F238E27FC236}">
                  <a16:creationId xmlns:a16="http://schemas.microsoft.com/office/drawing/2014/main" id="{ADD80487-73A9-47C6-A38B-8409C25E1E0E}"/>
                </a:ext>
              </a:extLst>
            </p:cNvPr>
            <p:cNvSpPr/>
            <p:nvPr/>
          </p:nvSpPr>
          <p:spPr>
            <a:xfrm rot="20783978">
              <a:off x="4817676" y="240004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DECEMBER</a:t>
              </a:r>
            </a:p>
          </p:txBody>
        </p:sp>
        <p:sp>
          <p:nvSpPr>
            <p:cNvPr id="27" name="Rektangel 26">
              <a:extLst>
                <a:ext uri="{FF2B5EF4-FFF2-40B4-BE49-F238E27FC236}">
                  <a16:creationId xmlns:a16="http://schemas.microsoft.com/office/drawing/2014/main" id="{0900154C-C805-4F85-BEDF-8D654703D908}"/>
                </a:ext>
              </a:extLst>
            </p:cNvPr>
            <p:cNvSpPr/>
            <p:nvPr/>
          </p:nvSpPr>
          <p:spPr>
            <a:xfrm rot="17255796">
              <a:off x="4094413" y="316135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OKTOBER</a:t>
              </a:r>
            </a:p>
          </p:txBody>
        </p:sp>
        <p:sp>
          <p:nvSpPr>
            <p:cNvPr id="28" name="Rektangel 27">
              <a:extLst>
                <a:ext uri="{FF2B5EF4-FFF2-40B4-BE49-F238E27FC236}">
                  <a16:creationId xmlns:a16="http://schemas.microsoft.com/office/drawing/2014/main" id="{0D4E3CEC-37B6-48E4-9D40-34EAEF8F065A}"/>
                </a:ext>
              </a:extLst>
            </p:cNvPr>
            <p:cNvSpPr/>
            <p:nvPr/>
          </p:nvSpPr>
          <p:spPr>
            <a:xfrm rot="840000">
              <a:off x="5381615" y="239510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ANUAR</a:t>
              </a:r>
            </a:p>
          </p:txBody>
        </p:sp>
        <p:sp>
          <p:nvSpPr>
            <p:cNvPr id="29" name="Rektangel 28">
              <a:extLst>
                <a:ext uri="{FF2B5EF4-FFF2-40B4-BE49-F238E27FC236}">
                  <a16:creationId xmlns:a16="http://schemas.microsoft.com/office/drawing/2014/main" id="{A5DC872F-FB34-4FDC-A574-FECCF6D12133}"/>
                </a:ext>
              </a:extLst>
            </p:cNvPr>
            <p:cNvSpPr/>
            <p:nvPr/>
          </p:nvSpPr>
          <p:spPr>
            <a:xfrm rot="4424261">
              <a:off x="6156268" y="318645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RTS</a:t>
              </a:r>
            </a:p>
          </p:txBody>
        </p:sp>
        <p:sp>
          <p:nvSpPr>
            <p:cNvPr id="30" name="Rektangel 29">
              <a:extLst>
                <a:ext uri="{FF2B5EF4-FFF2-40B4-BE49-F238E27FC236}">
                  <a16:creationId xmlns:a16="http://schemas.microsoft.com/office/drawing/2014/main" id="{393482D5-169E-4BEE-B90F-9F98A69F6478}"/>
                </a:ext>
              </a:extLst>
            </p:cNvPr>
            <p:cNvSpPr/>
            <p:nvPr/>
          </p:nvSpPr>
          <p:spPr>
            <a:xfrm rot="2690074">
              <a:off x="5909199" y="2719799"/>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FEBRUAR</a:t>
              </a:r>
            </a:p>
          </p:txBody>
        </p:sp>
        <p:sp>
          <p:nvSpPr>
            <p:cNvPr id="31" name="Rektangel 30">
              <a:extLst>
                <a:ext uri="{FF2B5EF4-FFF2-40B4-BE49-F238E27FC236}">
                  <a16:creationId xmlns:a16="http://schemas.microsoft.com/office/drawing/2014/main" id="{ACAF756E-0113-4181-BDEA-97E4125BD0AA}"/>
                </a:ext>
              </a:extLst>
            </p:cNvPr>
            <p:cNvSpPr/>
            <p:nvPr/>
          </p:nvSpPr>
          <p:spPr>
            <a:xfrm rot="6513171">
              <a:off x="6158022" y="366484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PRIL</a:t>
              </a:r>
            </a:p>
          </p:txBody>
        </p:sp>
        <p:sp>
          <p:nvSpPr>
            <p:cNvPr id="32" name="Rektangel 31">
              <a:extLst>
                <a:ext uri="{FF2B5EF4-FFF2-40B4-BE49-F238E27FC236}">
                  <a16:creationId xmlns:a16="http://schemas.microsoft.com/office/drawing/2014/main" id="{A58525FC-DF76-45DB-8BC5-4471FC77CAC2}"/>
                </a:ext>
              </a:extLst>
            </p:cNvPr>
            <p:cNvSpPr/>
            <p:nvPr/>
          </p:nvSpPr>
          <p:spPr>
            <a:xfrm rot="7929987">
              <a:off x="5883345" y="420246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J</a:t>
              </a:r>
            </a:p>
          </p:txBody>
        </p:sp>
        <p:sp>
          <p:nvSpPr>
            <p:cNvPr id="33" name="Rektangel 32">
              <a:extLst>
                <a:ext uri="{FF2B5EF4-FFF2-40B4-BE49-F238E27FC236}">
                  <a16:creationId xmlns:a16="http://schemas.microsoft.com/office/drawing/2014/main" id="{11340F6B-13D3-4D4E-8F2C-85A4FBCAB811}"/>
                </a:ext>
              </a:extLst>
            </p:cNvPr>
            <p:cNvSpPr/>
            <p:nvPr/>
          </p:nvSpPr>
          <p:spPr>
            <a:xfrm rot="9700478">
              <a:off x="5302581" y="450857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sp>
          <p:nvSpPr>
            <p:cNvPr id="34" name="Rektangel 33">
              <a:extLst>
                <a:ext uri="{FF2B5EF4-FFF2-40B4-BE49-F238E27FC236}">
                  <a16:creationId xmlns:a16="http://schemas.microsoft.com/office/drawing/2014/main" id="{8270157C-5136-49CE-A6CF-737774030B35}"/>
                </a:ext>
              </a:extLst>
            </p:cNvPr>
            <p:cNvSpPr/>
            <p:nvPr/>
          </p:nvSpPr>
          <p:spPr>
            <a:xfrm rot="15060000">
              <a:off x="4074545" y="370701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SEPTEMBER</a:t>
              </a:r>
            </a:p>
          </p:txBody>
        </p:sp>
        <p:sp>
          <p:nvSpPr>
            <p:cNvPr id="35" name="Rektangel 34">
              <a:extLst>
                <a:ext uri="{FF2B5EF4-FFF2-40B4-BE49-F238E27FC236}">
                  <a16:creationId xmlns:a16="http://schemas.microsoft.com/office/drawing/2014/main" id="{9DFD52B6-409F-4123-9126-AFD187BF8CDF}"/>
                </a:ext>
              </a:extLst>
            </p:cNvPr>
            <p:cNvSpPr/>
            <p:nvPr/>
          </p:nvSpPr>
          <p:spPr>
            <a:xfrm rot="13680000">
              <a:off x="4354962" y="418558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UGUST</a:t>
              </a:r>
            </a:p>
          </p:txBody>
        </p:sp>
        <p:sp>
          <p:nvSpPr>
            <p:cNvPr id="36" name="Rektangel 35">
              <a:extLst>
                <a:ext uri="{FF2B5EF4-FFF2-40B4-BE49-F238E27FC236}">
                  <a16:creationId xmlns:a16="http://schemas.microsoft.com/office/drawing/2014/main" id="{96E79CB1-75D3-4ED5-939C-8E5D27F3C7C1}"/>
                </a:ext>
              </a:extLst>
            </p:cNvPr>
            <p:cNvSpPr/>
            <p:nvPr/>
          </p:nvSpPr>
          <p:spPr>
            <a:xfrm rot="12083814">
              <a:off x="4876619" y="4481750"/>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gr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Tree>
    <p:extLst>
      <p:ext uri="{BB962C8B-B14F-4D97-AF65-F5344CB8AC3E}">
        <p14:creationId xmlns:p14="http://schemas.microsoft.com/office/powerpoint/2010/main" val="9471082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Årshjul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23" name="Gruppe 22">
            <a:extLst>
              <a:ext uri="{FF2B5EF4-FFF2-40B4-BE49-F238E27FC236}">
                <a16:creationId xmlns:a16="http://schemas.microsoft.com/office/drawing/2014/main" id="{27A1B2FD-F7D7-454E-AE0D-A59D178EC037}"/>
              </a:ext>
            </a:extLst>
          </p:cNvPr>
          <p:cNvGrpSpPr>
            <a:grpSpLocks noChangeAspect="1"/>
          </p:cNvGrpSpPr>
          <p:nvPr userDrawn="1"/>
        </p:nvGrpSpPr>
        <p:grpSpPr>
          <a:xfrm>
            <a:off x="6476372" y="1557336"/>
            <a:ext cx="4541916" cy="4535489"/>
            <a:chOff x="4091437" y="2084328"/>
            <a:chExt cx="4061428" cy="4055682"/>
          </a:xfrm>
        </p:grpSpPr>
        <p:grpSp>
          <p:nvGrpSpPr>
            <p:cNvPr id="24" name="Gruppe 23">
              <a:extLst>
                <a:ext uri="{FF2B5EF4-FFF2-40B4-BE49-F238E27FC236}">
                  <a16:creationId xmlns:a16="http://schemas.microsoft.com/office/drawing/2014/main" id="{810D3E80-1DCA-4224-83F2-FD5A03563DC4}"/>
                </a:ext>
              </a:extLst>
            </p:cNvPr>
            <p:cNvGrpSpPr/>
            <p:nvPr/>
          </p:nvGrpSpPr>
          <p:grpSpPr>
            <a:xfrm>
              <a:off x="4091437" y="2084328"/>
              <a:ext cx="4061428" cy="4055682"/>
              <a:chOff x="3743670" y="2085661"/>
              <a:chExt cx="4061428" cy="4055682"/>
            </a:xfrm>
          </p:grpSpPr>
          <p:grpSp>
            <p:nvGrpSpPr>
              <p:cNvPr id="37" name="Gruppe 36">
                <a:extLst>
                  <a:ext uri="{FF2B5EF4-FFF2-40B4-BE49-F238E27FC236}">
                    <a16:creationId xmlns:a16="http://schemas.microsoft.com/office/drawing/2014/main" id="{EC80E36A-569E-42D4-9F6B-24B68DCCCEA4}"/>
                  </a:ext>
                </a:extLst>
              </p:cNvPr>
              <p:cNvGrpSpPr>
                <a:grpSpLocks noChangeAspect="1"/>
              </p:cNvGrpSpPr>
              <p:nvPr/>
            </p:nvGrpSpPr>
            <p:grpSpPr>
              <a:xfrm>
                <a:off x="3743670" y="2085661"/>
                <a:ext cx="4032000" cy="4032000"/>
                <a:chOff x="3912698" y="2061978"/>
                <a:chExt cx="4068000" cy="4068000"/>
              </a:xfrm>
            </p:grpSpPr>
            <p:grpSp>
              <p:nvGrpSpPr>
                <p:cNvPr id="43" name="Gruppe 42">
                  <a:extLst>
                    <a:ext uri="{FF2B5EF4-FFF2-40B4-BE49-F238E27FC236}">
                      <a16:creationId xmlns:a16="http://schemas.microsoft.com/office/drawing/2014/main" id="{296D837A-AEF7-4FC6-9EF5-11C5D5B25930}"/>
                    </a:ext>
                  </a:extLst>
                </p:cNvPr>
                <p:cNvGrpSpPr/>
                <p:nvPr/>
              </p:nvGrpSpPr>
              <p:grpSpPr>
                <a:xfrm>
                  <a:off x="4011536" y="2168906"/>
                  <a:ext cx="3870324" cy="3855092"/>
                  <a:chOff x="3445118" y="2199702"/>
                  <a:chExt cx="3870324" cy="3855092"/>
                </a:xfrm>
              </p:grpSpPr>
              <p:sp>
                <p:nvSpPr>
                  <p:cNvPr id="45" name="Ligebenet trapez 44">
                    <a:extLst>
                      <a:ext uri="{FF2B5EF4-FFF2-40B4-BE49-F238E27FC236}">
                        <a16:creationId xmlns:a16="http://schemas.microsoft.com/office/drawing/2014/main" id="{B90D93B2-DD0F-4B57-AE8B-5E321A011687}"/>
                      </a:ext>
                    </a:extLst>
                  </p:cNvPr>
                  <p:cNvSpPr>
                    <a:spLocks noChangeAspect="1"/>
                  </p:cNvSpPr>
                  <p:nvPr/>
                </p:nvSpPr>
                <p:spPr>
                  <a:xfrm rot="11700000" flipV="1">
                    <a:off x="4597224" y="4078849"/>
                    <a:ext cx="1056711" cy="1975945"/>
                  </a:xfrm>
                  <a:prstGeom prst="trapezoid">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46" name="Gruppe 45">
                    <a:extLst>
                      <a:ext uri="{FF2B5EF4-FFF2-40B4-BE49-F238E27FC236}">
                        <a16:creationId xmlns:a16="http://schemas.microsoft.com/office/drawing/2014/main" id="{BA6F45B5-4623-4505-BD1D-C6BE0F6ECA17}"/>
                      </a:ext>
                    </a:extLst>
                  </p:cNvPr>
                  <p:cNvGrpSpPr/>
                  <p:nvPr/>
                </p:nvGrpSpPr>
                <p:grpSpPr>
                  <a:xfrm>
                    <a:off x="3445118" y="2199702"/>
                    <a:ext cx="3870324" cy="3590961"/>
                    <a:chOff x="3445118" y="2199702"/>
                    <a:chExt cx="3870324" cy="3590961"/>
                  </a:xfrm>
                </p:grpSpPr>
                <p:sp>
                  <p:nvSpPr>
                    <p:cNvPr id="48" name="Ligebenet trapez 47">
                      <a:extLst>
                        <a:ext uri="{FF2B5EF4-FFF2-40B4-BE49-F238E27FC236}">
                          <a16:creationId xmlns:a16="http://schemas.microsoft.com/office/drawing/2014/main" id="{8C93FC00-366D-4B80-BF3F-0060DB7CD1CE}"/>
                        </a:ext>
                      </a:extLst>
                    </p:cNvPr>
                    <p:cNvSpPr>
                      <a:spLocks noChangeAspect="1"/>
                    </p:cNvSpPr>
                    <p:nvPr/>
                  </p:nvSpPr>
                  <p:spPr>
                    <a:xfrm rot="6300000">
                      <a:off x="3919098" y="2888201"/>
                      <a:ext cx="1049386" cy="1975945"/>
                    </a:xfrm>
                    <a:prstGeom prst="trapezoid">
                      <a:avLst>
                        <a:gd name="adj" fmla="val 50000"/>
                      </a:avLst>
                    </a:prstGeom>
                    <a:solidFill>
                      <a:srgbClr val="664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9" name="Ligebenet trapez 48">
                      <a:extLst>
                        <a:ext uri="{FF2B5EF4-FFF2-40B4-BE49-F238E27FC236}">
                          <a16:creationId xmlns:a16="http://schemas.microsoft.com/office/drawing/2014/main" id="{A4611F4F-D094-4599-B183-B4B6B04D10A7}"/>
                        </a:ext>
                      </a:extLst>
                    </p:cNvPr>
                    <p:cNvSpPr>
                      <a:spLocks noChangeAspect="1"/>
                    </p:cNvSpPr>
                    <p:nvPr/>
                  </p:nvSpPr>
                  <p:spPr>
                    <a:xfrm rot="8100000">
                      <a:off x="4181859" y="2462885"/>
                      <a:ext cx="1049386" cy="1975945"/>
                    </a:xfrm>
                    <a:prstGeom prst="trapezoid">
                      <a:avLst>
                        <a:gd name="adj" fmla="val 50000"/>
                      </a:avLst>
                    </a:prstGeom>
                    <a:solidFill>
                      <a:srgbClr val="5E3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 name="Ligebenet trapez 49">
                      <a:extLst>
                        <a:ext uri="{FF2B5EF4-FFF2-40B4-BE49-F238E27FC236}">
                          <a16:creationId xmlns:a16="http://schemas.microsoft.com/office/drawing/2014/main" id="{368AD763-5CD5-4DED-BFEF-F1EAA893AD02}"/>
                        </a:ext>
                      </a:extLst>
                    </p:cNvPr>
                    <p:cNvSpPr>
                      <a:spLocks noChangeAspect="1"/>
                    </p:cNvSpPr>
                    <p:nvPr/>
                  </p:nvSpPr>
                  <p:spPr>
                    <a:xfrm rot="9900000">
                      <a:off x="4608048" y="2201804"/>
                      <a:ext cx="1049386" cy="1975945"/>
                    </a:xfrm>
                    <a:prstGeom prst="trapezoid">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 name="Ligebenet trapez 50">
                      <a:extLst>
                        <a:ext uri="{FF2B5EF4-FFF2-40B4-BE49-F238E27FC236}">
                          <a16:creationId xmlns:a16="http://schemas.microsoft.com/office/drawing/2014/main" id="{B88555C2-53A3-473F-A4DD-622E09BEC02F}"/>
                        </a:ext>
                      </a:extLst>
                    </p:cNvPr>
                    <p:cNvSpPr>
                      <a:spLocks noChangeAspect="1"/>
                    </p:cNvSpPr>
                    <p:nvPr/>
                  </p:nvSpPr>
                  <p:spPr>
                    <a:xfrm rot="15300000" flipH="1">
                      <a:off x="5802777" y="2886099"/>
                      <a:ext cx="1049386" cy="1975945"/>
                    </a:xfrm>
                    <a:prstGeom prst="trapezoid">
                      <a:avLst>
                        <a:gd name="adj" fmla="val 50000"/>
                      </a:avLst>
                    </a:prstGeom>
                    <a:solidFill>
                      <a:srgbClr val="CAC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2" name="Ligebenet trapez 51">
                      <a:extLst>
                        <a:ext uri="{FF2B5EF4-FFF2-40B4-BE49-F238E27FC236}">
                          <a16:creationId xmlns:a16="http://schemas.microsoft.com/office/drawing/2014/main" id="{11111305-2299-429E-A1DE-8186147E3084}"/>
                        </a:ext>
                      </a:extLst>
                    </p:cNvPr>
                    <p:cNvSpPr>
                      <a:spLocks noChangeAspect="1"/>
                    </p:cNvSpPr>
                    <p:nvPr/>
                  </p:nvSpPr>
                  <p:spPr>
                    <a:xfrm rot="13500000" flipH="1">
                      <a:off x="5540016" y="2460783"/>
                      <a:ext cx="1049386" cy="1975945"/>
                    </a:xfrm>
                    <a:prstGeom prst="trapezoid">
                      <a:avLst>
                        <a:gd name="adj" fmla="val 50000"/>
                      </a:avLst>
                    </a:prstGeom>
                    <a:solidFill>
                      <a:srgbClr val="D4D1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 name="Ligebenet trapez 52">
                      <a:extLst>
                        <a:ext uri="{FF2B5EF4-FFF2-40B4-BE49-F238E27FC236}">
                          <a16:creationId xmlns:a16="http://schemas.microsoft.com/office/drawing/2014/main" id="{1C19C01E-2AB6-4ABC-9AB9-B5F9B617BC9A}"/>
                        </a:ext>
                      </a:extLst>
                    </p:cNvPr>
                    <p:cNvSpPr>
                      <a:spLocks noChangeAspect="1"/>
                    </p:cNvSpPr>
                    <p:nvPr/>
                  </p:nvSpPr>
                  <p:spPr>
                    <a:xfrm rot="11700000" flipH="1">
                      <a:off x="5113827" y="2199702"/>
                      <a:ext cx="1049386" cy="1975945"/>
                    </a:xfrm>
                    <a:prstGeom prst="trapezoid">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 name="Ligebenet trapez 53">
                      <a:extLst>
                        <a:ext uri="{FF2B5EF4-FFF2-40B4-BE49-F238E27FC236}">
                          <a16:creationId xmlns:a16="http://schemas.microsoft.com/office/drawing/2014/main" id="{EDA9020E-360F-4A26-8411-CA190026DDDD}"/>
                        </a:ext>
                      </a:extLst>
                    </p:cNvPr>
                    <p:cNvSpPr>
                      <a:spLocks noChangeAspect="1"/>
                    </p:cNvSpPr>
                    <p:nvPr/>
                  </p:nvSpPr>
                  <p:spPr>
                    <a:xfrm rot="15300000" flipV="1">
                      <a:off x="3908398" y="3391504"/>
                      <a:ext cx="1049386" cy="1975945"/>
                    </a:xfrm>
                    <a:prstGeom prst="trapezoid">
                      <a:avLst>
                        <a:gd name="adj" fmla="val 50000"/>
                      </a:avLst>
                    </a:prstGeom>
                    <a:solidFill>
                      <a:srgbClr val="3342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5" name="Ligebenet trapez 54">
                      <a:extLst>
                        <a:ext uri="{FF2B5EF4-FFF2-40B4-BE49-F238E27FC236}">
                          <a16:creationId xmlns:a16="http://schemas.microsoft.com/office/drawing/2014/main" id="{FF38CA69-E484-4874-A0DE-F76321FA0B5C}"/>
                        </a:ext>
                      </a:extLst>
                    </p:cNvPr>
                    <p:cNvSpPr>
                      <a:spLocks noChangeAspect="1"/>
                    </p:cNvSpPr>
                    <p:nvPr/>
                  </p:nvSpPr>
                  <p:spPr>
                    <a:xfrm rot="13500000" flipV="1">
                      <a:off x="4171160" y="3816820"/>
                      <a:ext cx="1049386" cy="1975945"/>
                    </a:xfrm>
                    <a:prstGeom prst="trapezoid">
                      <a:avLst>
                        <a:gd name="adj" fmla="val 50000"/>
                      </a:avLst>
                    </a:prstGeom>
                    <a:solidFill>
                      <a:srgbClr val="374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 name="Ligebenet trapez 55">
                      <a:extLst>
                        <a:ext uri="{FF2B5EF4-FFF2-40B4-BE49-F238E27FC236}">
                          <a16:creationId xmlns:a16="http://schemas.microsoft.com/office/drawing/2014/main" id="{DE022FD3-31A3-4B0B-88C9-CB7FA89DBC7E}"/>
                        </a:ext>
                      </a:extLst>
                    </p:cNvPr>
                    <p:cNvSpPr>
                      <a:spLocks noChangeAspect="1"/>
                    </p:cNvSpPr>
                    <p:nvPr/>
                  </p:nvSpPr>
                  <p:spPr>
                    <a:xfrm rot="6300000" flipH="1" flipV="1">
                      <a:off x="5792078" y="3389402"/>
                      <a:ext cx="1049386" cy="1975945"/>
                    </a:xfrm>
                    <a:prstGeom prst="trapezoid">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7" name="Ligebenet trapez 56">
                      <a:extLst>
                        <a:ext uri="{FF2B5EF4-FFF2-40B4-BE49-F238E27FC236}">
                          <a16:creationId xmlns:a16="http://schemas.microsoft.com/office/drawing/2014/main" id="{3158EADB-CE91-4073-9F19-1E34EC9B4181}"/>
                        </a:ext>
                      </a:extLst>
                    </p:cNvPr>
                    <p:cNvSpPr>
                      <a:spLocks noChangeAspect="1"/>
                    </p:cNvSpPr>
                    <p:nvPr/>
                  </p:nvSpPr>
                  <p:spPr>
                    <a:xfrm rot="8100000" flipH="1" flipV="1">
                      <a:off x="5529317" y="3814718"/>
                      <a:ext cx="1049386" cy="1975945"/>
                    </a:xfrm>
                    <a:prstGeom prst="trapezoid">
                      <a:avLst>
                        <a:gd name="adj" fmla="val 50000"/>
                      </a:avLst>
                    </a:prstGeom>
                    <a:solidFill>
                      <a:srgbClr val="486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7" name="Ligebenet trapez 46">
                    <a:extLst>
                      <a:ext uri="{FF2B5EF4-FFF2-40B4-BE49-F238E27FC236}">
                        <a16:creationId xmlns:a16="http://schemas.microsoft.com/office/drawing/2014/main" id="{0E058831-5B40-484C-AAF3-D76326B0175D}"/>
                      </a:ext>
                    </a:extLst>
                  </p:cNvPr>
                  <p:cNvSpPr>
                    <a:spLocks noChangeAspect="1"/>
                  </p:cNvSpPr>
                  <p:nvPr/>
                </p:nvSpPr>
                <p:spPr>
                  <a:xfrm rot="9900000" flipH="1" flipV="1">
                    <a:off x="5103128" y="4066257"/>
                    <a:ext cx="1049386" cy="1975945"/>
                  </a:xfrm>
                  <a:prstGeom prst="trapezoid">
                    <a:avLst>
                      <a:gd name="adj" fmla="val 50000"/>
                    </a:avLst>
                  </a:prstGeom>
                  <a:solidFill>
                    <a:srgbClr val="4662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4" name="Blokbue 43">
                  <a:extLst>
                    <a:ext uri="{FF2B5EF4-FFF2-40B4-BE49-F238E27FC236}">
                      <a16:creationId xmlns:a16="http://schemas.microsoft.com/office/drawing/2014/main" id="{30606CF1-2BBE-4571-A89B-F5D6D3DC7A70}"/>
                    </a:ext>
                  </a:extLst>
                </p:cNvPr>
                <p:cNvSpPr>
                  <a:spLocks noChangeAspect="1"/>
                </p:cNvSpPr>
                <p:nvPr/>
              </p:nvSpPr>
              <p:spPr>
                <a:xfrm>
                  <a:off x="3912698" y="2061978"/>
                  <a:ext cx="4068000" cy="4068000"/>
                </a:xfrm>
                <a:prstGeom prst="blockArc">
                  <a:avLst>
                    <a:gd name="adj1" fmla="val 0"/>
                    <a:gd name="adj2" fmla="val 21582834"/>
                    <a:gd name="adj3" fmla="val 302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38" name="Blokbue 37">
                <a:extLst>
                  <a:ext uri="{FF2B5EF4-FFF2-40B4-BE49-F238E27FC236}">
                    <a16:creationId xmlns:a16="http://schemas.microsoft.com/office/drawing/2014/main" id="{06CCE944-BCA0-40AC-94DE-45F1682537FE}"/>
                  </a:ext>
                </a:extLst>
              </p:cNvPr>
              <p:cNvSpPr>
                <a:spLocks noChangeAspect="1"/>
              </p:cNvSpPr>
              <p:nvPr/>
            </p:nvSpPr>
            <p:spPr>
              <a:xfrm>
                <a:off x="4139670" y="2481661"/>
                <a:ext cx="3240000" cy="3240000"/>
              </a:xfrm>
              <a:prstGeom prst="blockArc">
                <a:avLst>
                  <a:gd name="adj1" fmla="val 0"/>
                  <a:gd name="adj2" fmla="val 21591805"/>
                  <a:gd name="adj3" fmla="val 408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39" name="Rektangel 38">
                <a:extLst>
                  <a:ext uri="{FF2B5EF4-FFF2-40B4-BE49-F238E27FC236}">
                    <a16:creationId xmlns:a16="http://schemas.microsoft.com/office/drawing/2014/main" id="{4DE42B09-7386-4787-B309-3BDB64705062}"/>
                  </a:ext>
                </a:extLst>
              </p:cNvPr>
              <p:cNvSpPr/>
              <p:nvPr/>
            </p:nvSpPr>
            <p:spPr>
              <a:xfrm>
                <a:off x="3815934" y="4030768"/>
                <a:ext cx="373757" cy="1384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39">
                <a:extLst>
                  <a:ext uri="{FF2B5EF4-FFF2-40B4-BE49-F238E27FC236}">
                    <a16:creationId xmlns:a16="http://schemas.microsoft.com/office/drawing/2014/main" id="{CAE149E8-4B47-41F1-8E25-E92C1656B47C}"/>
                  </a:ext>
                </a:extLst>
              </p:cNvPr>
              <p:cNvSpPr/>
              <p:nvPr/>
            </p:nvSpPr>
            <p:spPr>
              <a:xfrm>
                <a:off x="7245815" y="4030767"/>
                <a:ext cx="559283"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40">
                <a:extLst>
                  <a:ext uri="{FF2B5EF4-FFF2-40B4-BE49-F238E27FC236}">
                    <a16:creationId xmlns:a16="http://schemas.microsoft.com/office/drawing/2014/main" id="{48899A7E-2C06-4395-9DFF-68A108AF85A7}"/>
                  </a:ext>
                </a:extLst>
              </p:cNvPr>
              <p:cNvSpPr/>
              <p:nvPr/>
            </p:nvSpPr>
            <p:spPr>
              <a:xfrm rot="5400000">
                <a:off x="5489669" y="5800448"/>
                <a:ext cx="540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ktangel 41">
                <a:extLst>
                  <a:ext uri="{FF2B5EF4-FFF2-40B4-BE49-F238E27FC236}">
                    <a16:creationId xmlns:a16="http://schemas.microsoft.com/office/drawing/2014/main" id="{6CFC3A54-A885-4979-A0B1-8772C2D37493}"/>
                  </a:ext>
                </a:extLst>
              </p:cNvPr>
              <p:cNvSpPr/>
              <p:nvPr/>
            </p:nvSpPr>
            <p:spPr>
              <a:xfrm rot="5400000">
                <a:off x="5561669" y="2227068"/>
                <a:ext cx="396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5" name="Rektangel 24">
              <a:extLst>
                <a:ext uri="{FF2B5EF4-FFF2-40B4-BE49-F238E27FC236}">
                  <a16:creationId xmlns:a16="http://schemas.microsoft.com/office/drawing/2014/main" id="{83A8F8B9-E68E-436F-8F5B-C379884BE219}"/>
                </a:ext>
              </a:extLst>
            </p:cNvPr>
            <p:cNvSpPr/>
            <p:nvPr/>
          </p:nvSpPr>
          <p:spPr>
            <a:xfrm rot="18896412">
              <a:off x="4367547" y="267287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NOVEMBER</a:t>
              </a:r>
            </a:p>
          </p:txBody>
        </p:sp>
        <p:sp>
          <p:nvSpPr>
            <p:cNvPr id="26" name="Rektangel 25">
              <a:extLst>
                <a:ext uri="{FF2B5EF4-FFF2-40B4-BE49-F238E27FC236}">
                  <a16:creationId xmlns:a16="http://schemas.microsoft.com/office/drawing/2014/main" id="{ADD80487-73A9-47C6-A38B-8409C25E1E0E}"/>
                </a:ext>
              </a:extLst>
            </p:cNvPr>
            <p:cNvSpPr/>
            <p:nvPr/>
          </p:nvSpPr>
          <p:spPr>
            <a:xfrm rot="20783978">
              <a:off x="4817676" y="240004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DECEMBER</a:t>
              </a:r>
            </a:p>
          </p:txBody>
        </p:sp>
        <p:sp>
          <p:nvSpPr>
            <p:cNvPr id="27" name="Rektangel 26">
              <a:extLst>
                <a:ext uri="{FF2B5EF4-FFF2-40B4-BE49-F238E27FC236}">
                  <a16:creationId xmlns:a16="http://schemas.microsoft.com/office/drawing/2014/main" id="{0900154C-C805-4F85-BEDF-8D654703D908}"/>
                </a:ext>
              </a:extLst>
            </p:cNvPr>
            <p:cNvSpPr/>
            <p:nvPr/>
          </p:nvSpPr>
          <p:spPr>
            <a:xfrm rot="17255796">
              <a:off x="4094413" y="316135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OKTOBER</a:t>
              </a:r>
            </a:p>
          </p:txBody>
        </p:sp>
        <p:sp>
          <p:nvSpPr>
            <p:cNvPr id="28" name="Rektangel 27">
              <a:extLst>
                <a:ext uri="{FF2B5EF4-FFF2-40B4-BE49-F238E27FC236}">
                  <a16:creationId xmlns:a16="http://schemas.microsoft.com/office/drawing/2014/main" id="{0D4E3CEC-37B6-48E4-9D40-34EAEF8F065A}"/>
                </a:ext>
              </a:extLst>
            </p:cNvPr>
            <p:cNvSpPr/>
            <p:nvPr/>
          </p:nvSpPr>
          <p:spPr>
            <a:xfrm rot="840000">
              <a:off x="5381615" y="239510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ANUAR</a:t>
              </a:r>
            </a:p>
          </p:txBody>
        </p:sp>
        <p:sp>
          <p:nvSpPr>
            <p:cNvPr id="29" name="Rektangel 28">
              <a:extLst>
                <a:ext uri="{FF2B5EF4-FFF2-40B4-BE49-F238E27FC236}">
                  <a16:creationId xmlns:a16="http://schemas.microsoft.com/office/drawing/2014/main" id="{A5DC872F-FB34-4FDC-A574-FECCF6D12133}"/>
                </a:ext>
              </a:extLst>
            </p:cNvPr>
            <p:cNvSpPr/>
            <p:nvPr/>
          </p:nvSpPr>
          <p:spPr>
            <a:xfrm rot="4424261">
              <a:off x="6156268" y="318645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RTS</a:t>
              </a:r>
            </a:p>
          </p:txBody>
        </p:sp>
        <p:sp>
          <p:nvSpPr>
            <p:cNvPr id="30" name="Rektangel 29">
              <a:extLst>
                <a:ext uri="{FF2B5EF4-FFF2-40B4-BE49-F238E27FC236}">
                  <a16:creationId xmlns:a16="http://schemas.microsoft.com/office/drawing/2014/main" id="{393482D5-169E-4BEE-B90F-9F98A69F6478}"/>
                </a:ext>
              </a:extLst>
            </p:cNvPr>
            <p:cNvSpPr/>
            <p:nvPr/>
          </p:nvSpPr>
          <p:spPr>
            <a:xfrm rot="2690074">
              <a:off x="5909199" y="2719799"/>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FEBRUAR</a:t>
              </a:r>
            </a:p>
          </p:txBody>
        </p:sp>
        <p:sp>
          <p:nvSpPr>
            <p:cNvPr id="31" name="Rektangel 30">
              <a:extLst>
                <a:ext uri="{FF2B5EF4-FFF2-40B4-BE49-F238E27FC236}">
                  <a16:creationId xmlns:a16="http://schemas.microsoft.com/office/drawing/2014/main" id="{ACAF756E-0113-4181-BDEA-97E4125BD0AA}"/>
                </a:ext>
              </a:extLst>
            </p:cNvPr>
            <p:cNvSpPr/>
            <p:nvPr/>
          </p:nvSpPr>
          <p:spPr>
            <a:xfrm rot="6513171">
              <a:off x="6158022" y="366484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PRIL</a:t>
              </a:r>
            </a:p>
          </p:txBody>
        </p:sp>
        <p:sp>
          <p:nvSpPr>
            <p:cNvPr id="32" name="Rektangel 31">
              <a:extLst>
                <a:ext uri="{FF2B5EF4-FFF2-40B4-BE49-F238E27FC236}">
                  <a16:creationId xmlns:a16="http://schemas.microsoft.com/office/drawing/2014/main" id="{A58525FC-DF76-45DB-8BC5-4471FC77CAC2}"/>
                </a:ext>
              </a:extLst>
            </p:cNvPr>
            <p:cNvSpPr/>
            <p:nvPr/>
          </p:nvSpPr>
          <p:spPr>
            <a:xfrm rot="7929987">
              <a:off x="5883345" y="420246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J</a:t>
              </a:r>
            </a:p>
          </p:txBody>
        </p:sp>
        <p:sp>
          <p:nvSpPr>
            <p:cNvPr id="33" name="Rektangel 32">
              <a:extLst>
                <a:ext uri="{FF2B5EF4-FFF2-40B4-BE49-F238E27FC236}">
                  <a16:creationId xmlns:a16="http://schemas.microsoft.com/office/drawing/2014/main" id="{11340F6B-13D3-4D4E-8F2C-85A4FBCAB811}"/>
                </a:ext>
              </a:extLst>
            </p:cNvPr>
            <p:cNvSpPr/>
            <p:nvPr/>
          </p:nvSpPr>
          <p:spPr>
            <a:xfrm rot="9700478">
              <a:off x="5302581" y="450857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sp>
          <p:nvSpPr>
            <p:cNvPr id="34" name="Rektangel 33">
              <a:extLst>
                <a:ext uri="{FF2B5EF4-FFF2-40B4-BE49-F238E27FC236}">
                  <a16:creationId xmlns:a16="http://schemas.microsoft.com/office/drawing/2014/main" id="{8270157C-5136-49CE-A6CF-737774030B35}"/>
                </a:ext>
              </a:extLst>
            </p:cNvPr>
            <p:cNvSpPr/>
            <p:nvPr/>
          </p:nvSpPr>
          <p:spPr>
            <a:xfrm rot="15060000">
              <a:off x="4074545" y="370701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SEPTEMBER</a:t>
              </a:r>
            </a:p>
          </p:txBody>
        </p:sp>
        <p:sp>
          <p:nvSpPr>
            <p:cNvPr id="35" name="Rektangel 34">
              <a:extLst>
                <a:ext uri="{FF2B5EF4-FFF2-40B4-BE49-F238E27FC236}">
                  <a16:creationId xmlns:a16="http://schemas.microsoft.com/office/drawing/2014/main" id="{9DFD52B6-409F-4123-9126-AFD187BF8CDF}"/>
                </a:ext>
              </a:extLst>
            </p:cNvPr>
            <p:cNvSpPr/>
            <p:nvPr/>
          </p:nvSpPr>
          <p:spPr>
            <a:xfrm rot="13680000">
              <a:off x="4354962" y="418558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UGUST</a:t>
              </a:r>
            </a:p>
          </p:txBody>
        </p:sp>
        <p:sp>
          <p:nvSpPr>
            <p:cNvPr id="36" name="Rektangel 35">
              <a:extLst>
                <a:ext uri="{FF2B5EF4-FFF2-40B4-BE49-F238E27FC236}">
                  <a16:creationId xmlns:a16="http://schemas.microsoft.com/office/drawing/2014/main" id="{96E79CB1-75D3-4ED5-939C-8E5D27F3C7C1}"/>
                </a:ext>
              </a:extLst>
            </p:cNvPr>
            <p:cNvSpPr/>
            <p:nvPr/>
          </p:nvSpPr>
          <p:spPr>
            <a:xfrm rot="12083814">
              <a:off x="4876619" y="4481750"/>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gr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Tree>
    <p:extLst>
      <p:ext uri="{BB962C8B-B14F-4D97-AF65-F5344CB8AC3E}">
        <p14:creationId xmlns:p14="http://schemas.microsoft.com/office/powerpoint/2010/main" val="2785964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ommunekort Danmark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53A23577-9AFD-41A6-81E4-8BC1B1DF17F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978982" y="1665288"/>
            <a:ext cx="3768349" cy="4316410"/>
          </a:xfrm>
          <a:prstGeom prst="rect">
            <a:avLst/>
          </a:prstGeom>
        </p:spPr>
      </p:pic>
    </p:spTree>
    <p:extLst>
      <p:ext uri="{BB962C8B-B14F-4D97-AF65-F5344CB8AC3E}">
        <p14:creationId xmlns:p14="http://schemas.microsoft.com/office/powerpoint/2010/main" val="34050196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ommunekort Danmark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D51F2A3A-875D-46DB-9B29-79E9C67BF2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978982" y="1665288"/>
            <a:ext cx="3768349" cy="4316410"/>
          </a:xfrm>
          <a:prstGeom prst="rect">
            <a:avLst/>
          </a:prstGeom>
        </p:spPr>
      </p:pic>
    </p:spTree>
    <p:extLst>
      <p:ext uri="{BB962C8B-B14F-4D97-AF65-F5344CB8AC3E}">
        <p14:creationId xmlns:p14="http://schemas.microsoft.com/office/powerpoint/2010/main" val="30422325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ommunekort Sjælland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8" name="Grafik 7">
            <a:extLst>
              <a:ext uri="{FF2B5EF4-FFF2-40B4-BE49-F238E27FC236}">
                <a16:creationId xmlns:a16="http://schemas.microsoft.com/office/drawing/2014/main" id="{20F7EDF0-D297-49B9-BAA0-A5DE77E2632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77910" y="1671294"/>
            <a:ext cx="3109090" cy="4307023"/>
          </a:xfrm>
          <a:prstGeom prst="rect">
            <a:avLst/>
          </a:prstGeom>
        </p:spPr>
      </p:pic>
    </p:spTree>
    <p:extLst>
      <p:ext uri="{BB962C8B-B14F-4D97-AF65-F5344CB8AC3E}">
        <p14:creationId xmlns:p14="http://schemas.microsoft.com/office/powerpoint/2010/main" val="19863366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ommunekort Sjælland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62" name="Grafik 61">
            <a:extLst>
              <a:ext uri="{FF2B5EF4-FFF2-40B4-BE49-F238E27FC236}">
                <a16:creationId xmlns:a16="http://schemas.microsoft.com/office/drawing/2014/main" id="{B236292A-F899-47C8-8F84-83BBA8FBB8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77910" y="1671294"/>
            <a:ext cx="3109090" cy="4307023"/>
          </a:xfrm>
          <a:prstGeom prst="rect">
            <a:avLst/>
          </a:prstGeom>
        </p:spPr>
      </p:pic>
    </p:spTree>
    <p:extLst>
      <p:ext uri="{BB962C8B-B14F-4D97-AF65-F5344CB8AC3E}">
        <p14:creationId xmlns:p14="http://schemas.microsoft.com/office/powerpoint/2010/main" val="19366359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ommunekort Hovedstaden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F1FE8A81-96A7-4D7D-81B4-0965502F6C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229252" y="1669434"/>
            <a:ext cx="3154755" cy="4313360"/>
          </a:xfrm>
          <a:prstGeom prst="rect">
            <a:avLst/>
          </a:prstGeom>
        </p:spPr>
      </p:pic>
    </p:spTree>
    <p:extLst>
      <p:ext uri="{BB962C8B-B14F-4D97-AF65-F5344CB8AC3E}">
        <p14:creationId xmlns:p14="http://schemas.microsoft.com/office/powerpoint/2010/main" val="31352411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ommunekort Hovedstaden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F14E2AD1-A299-4E42-9FDA-1BC87E8334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229252" y="1669434"/>
            <a:ext cx="3154755" cy="4313360"/>
          </a:xfrm>
          <a:prstGeom prst="rect">
            <a:avLst/>
          </a:prstGeom>
        </p:spPr>
      </p:pic>
    </p:spTree>
    <p:extLst>
      <p:ext uri="{BB962C8B-B14F-4D97-AF65-F5344CB8AC3E}">
        <p14:creationId xmlns:p14="http://schemas.microsoft.com/office/powerpoint/2010/main" val="42287760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51C552-0AC0-452A-A07B-7639EFCB8347}"/>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88B8D1A-A814-4D50-A6FB-3EAA3CFA7EBD}"/>
              </a:ext>
            </a:extLst>
          </p:cNvPr>
          <p:cNvSpPr>
            <a:spLocks noGrp="1"/>
          </p:cNvSpPr>
          <p:nvPr>
            <p:ph type="dt" sz="half" idx="10"/>
          </p:nvPr>
        </p:nvSpPr>
        <p:spPr/>
        <p:txBody>
          <a:bodyPr/>
          <a:lstStyle/>
          <a:p>
            <a:fld id="{8D6163D2-E473-462E-A95A-A41E93034AF4}" type="datetime1">
              <a:rPr lang="da-DK" smtClean="0"/>
              <a:t>17-02-2026</a:t>
            </a:fld>
            <a:endParaRPr lang="da-DK"/>
          </a:p>
        </p:txBody>
      </p:sp>
      <p:sp>
        <p:nvSpPr>
          <p:cNvPr id="4" name="Pladsholder til sidefod 3">
            <a:extLst>
              <a:ext uri="{FF2B5EF4-FFF2-40B4-BE49-F238E27FC236}">
                <a16:creationId xmlns:a16="http://schemas.microsoft.com/office/drawing/2014/main" id="{0F8D9FBC-A889-4662-B531-240131326F4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FED61A0D-A451-4415-B38E-51873C5CB898}"/>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760591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rb kort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8A9ED6E8-0428-4C58-9F17-CBC5492405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12906" y="1687440"/>
            <a:ext cx="5799597" cy="4100135"/>
          </a:xfrm>
          <a:prstGeom prst="rect">
            <a:avLst/>
          </a:prstGeom>
        </p:spPr>
      </p:pic>
    </p:spTree>
    <p:extLst>
      <p:ext uri="{BB962C8B-B14F-4D97-AF65-F5344CB8AC3E}">
        <p14:creationId xmlns:p14="http://schemas.microsoft.com/office/powerpoint/2010/main" val="33282097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rb kort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65A4D94C-E523-47E4-8E04-7644B9E5B92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12906" y="1687440"/>
            <a:ext cx="5799597" cy="4100135"/>
          </a:xfrm>
          <a:prstGeom prst="rect">
            <a:avLst/>
          </a:prstGeom>
        </p:spPr>
      </p:pic>
    </p:spTree>
    <p:extLst>
      <p:ext uri="{BB962C8B-B14F-4D97-AF65-F5344CB8AC3E}">
        <p14:creationId xmlns:p14="http://schemas.microsoft.com/office/powerpoint/2010/main" val="41236963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ådhus 2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7" name="Grafik 6">
            <a:extLst>
              <a:ext uri="{FF2B5EF4-FFF2-40B4-BE49-F238E27FC236}">
                <a16:creationId xmlns:a16="http://schemas.microsoft.com/office/drawing/2014/main" id="{3FEEE8A4-332F-4893-8C43-7DD4AA8E34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946437" y="1865333"/>
            <a:ext cx="4596233" cy="4333737"/>
          </a:xfrm>
          <a:prstGeom prst="rect">
            <a:avLst/>
          </a:prstGeom>
        </p:spPr>
      </p:pic>
    </p:spTree>
    <p:extLst>
      <p:ext uri="{BB962C8B-B14F-4D97-AF65-F5344CB8AC3E}">
        <p14:creationId xmlns:p14="http://schemas.microsoft.com/office/powerpoint/2010/main" val="14611045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ådhus 2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3" name="Grafik 12">
            <a:extLst>
              <a:ext uri="{FF2B5EF4-FFF2-40B4-BE49-F238E27FC236}">
                <a16:creationId xmlns:a16="http://schemas.microsoft.com/office/drawing/2014/main" id="{C8F0EF9A-246E-439E-ABE0-BAE9199C5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946437" y="1865333"/>
            <a:ext cx="4596233" cy="4333737"/>
          </a:xfrm>
          <a:prstGeom prst="rect">
            <a:avLst/>
          </a:prstGeom>
        </p:spPr>
      </p:pic>
    </p:spTree>
    <p:extLst>
      <p:ext uri="{BB962C8B-B14F-4D97-AF65-F5344CB8AC3E}">
        <p14:creationId xmlns:p14="http://schemas.microsoft.com/office/powerpoint/2010/main" val="39002148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rb slot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66825933-B23B-4C50-A4A6-48E8864A988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73315" y="2336774"/>
            <a:ext cx="5386848" cy="2836297"/>
          </a:xfrm>
          <a:prstGeom prst="rect">
            <a:avLst/>
          </a:prstGeom>
        </p:spPr>
      </p:pic>
    </p:spTree>
    <p:extLst>
      <p:ext uri="{BB962C8B-B14F-4D97-AF65-F5344CB8AC3E}">
        <p14:creationId xmlns:p14="http://schemas.microsoft.com/office/powerpoint/2010/main" val="38058251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rb slot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BD7D81A7-7107-46B3-8E06-D7C676E3E5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73315" y="2336774"/>
            <a:ext cx="5386848" cy="2836297"/>
          </a:xfrm>
          <a:prstGeom prst="rect">
            <a:avLst/>
          </a:prstGeom>
        </p:spPr>
      </p:pic>
    </p:spTree>
    <p:extLst>
      <p:ext uri="{BB962C8B-B14F-4D97-AF65-F5344CB8AC3E}">
        <p14:creationId xmlns:p14="http://schemas.microsoft.com/office/powerpoint/2010/main" val="23884700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Zootårnet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2B170374-1426-4FC8-BDDC-4646087624E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06518" y="1665288"/>
            <a:ext cx="3000224" cy="4245696"/>
          </a:xfrm>
          <a:prstGeom prst="rect">
            <a:avLst/>
          </a:prstGeom>
        </p:spPr>
      </p:pic>
      <p:pic>
        <p:nvPicPr>
          <p:cNvPr id="29" name="Grafik 28" descr="Ugle">
            <a:extLst>
              <a:ext uri="{FF2B5EF4-FFF2-40B4-BE49-F238E27FC236}">
                <a16:creationId xmlns:a16="http://schemas.microsoft.com/office/drawing/2014/main" id="{C05F324A-31D5-4E90-97CC-4CF153FCE51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55768" y="2452299"/>
            <a:ext cx="145495" cy="145495"/>
          </a:xfrm>
          <a:prstGeom prst="rect">
            <a:avLst/>
          </a:prstGeom>
        </p:spPr>
      </p:pic>
    </p:spTree>
    <p:extLst>
      <p:ext uri="{BB962C8B-B14F-4D97-AF65-F5344CB8AC3E}">
        <p14:creationId xmlns:p14="http://schemas.microsoft.com/office/powerpoint/2010/main" val="28901023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Zootårnet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A05DA9EE-C089-458C-A1EE-5A4E75D5EDA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06518" y="1665288"/>
            <a:ext cx="3000224" cy="4245696"/>
          </a:xfrm>
          <a:prstGeom prst="rect">
            <a:avLst/>
          </a:prstGeom>
        </p:spPr>
      </p:pic>
      <p:pic>
        <p:nvPicPr>
          <p:cNvPr id="13" name="Grafik 12" descr="Ugle">
            <a:extLst>
              <a:ext uri="{FF2B5EF4-FFF2-40B4-BE49-F238E27FC236}">
                <a16:creationId xmlns:a16="http://schemas.microsoft.com/office/drawing/2014/main" id="{9ADBDF2F-796E-4720-B43A-00034068B701}"/>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55768" y="2452299"/>
            <a:ext cx="145495" cy="145495"/>
          </a:xfrm>
          <a:prstGeom prst="rect">
            <a:avLst/>
          </a:prstGeom>
        </p:spPr>
      </p:pic>
    </p:spTree>
    <p:extLst>
      <p:ext uri="{BB962C8B-B14F-4D97-AF65-F5344CB8AC3E}">
        <p14:creationId xmlns:p14="http://schemas.microsoft.com/office/powerpoint/2010/main" val="41808159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B-hallen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B6DBFB32-BC92-4075-BC3A-E29C132436D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22334" y="1798498"/>
            <a:ext cx="5672656" cy="4008587"/>
          </a:xfrm>
          <a:prstGeom prst="rect">
            <a:avLst/>
          </a:prstGeom>
        </p:spPr>
      </p:pic>
    </p:spTree>
    <p:extLst>
      <p:ext uri="{BB962C8B-B14F-4D97-AF65-F5344CB8AC3E}">
        <p14:creationId xmlns:p14="http://schemas.microsoft.com/office/powerpoint/2010/main" val="28790074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B-hallen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971E43D3-B9A8-448E-84D6-EAF1186A097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22334" y="1798498"/>
            <a:ext cx="5672656" cy="4008587"/>
          </a:xfrm>
          <a:prstGeom prst="rect">
            <a:avLst/>
          </a:prstGeom>
        </p:spPr>
      </p:pic>
    </p:spTree>
    <p:extLst>
      <p:ext uri="{BB962C8B-B14F-4D97-AF65-F5344CB8AC3E}">
        <p14:creationId xmlns:p14="http://schemas.microsoft.com/office/powerpoint/2010/main" val="186445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725F8E3-A483-430E-909F-845FA72CDC1C}"/>
              </a:ext>
            </a:extLst>
          </p:cNvPr>
          <p:cNvSpPr>
            <a:spLocks noGrp="1"/>
          </p:cNvSpPr>
          <p:nvPr>
            <p:ph type="dt" sz="half" idx="10"/>
          </p:nvPr>
        </p:nvSpPr>
        <p:spPr/>
        <p:txBody>
          <a:bodyPr/>
          <a:lstStyle/>
          <a:p>
            <a:fld id="{2C5B2782-183B-46C6-BF8E-0BAE9FD7FFB4}" type="datetime1">
              <a:rPr lang="da-DK" smtClean="0"/>
              <a:t>17-02-2026</a:t>
            </a:fld>
            <a:endParaRPr lang="da-DK"/>
          </a:p>
        </p:txBody>
      </p:sp>
      <p:sp>
        <p:nvSpPr>
          <p:cNvPr id="3" name="Pladsholder til sidefod 2">
            <a:extLst>
              <a:ext uri="{FF2B5EF4-FFF2-40B4-BE49-F238E27FC236}">
                <a16:creationId xmlns:a16="http://schemas.microsoft.com/office/drawing/2014/main" id="{4E107BB0-45BB-42CD-A223-A03858A17764}"/>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270285A7-8B6F-4643-A926-8AC5C19D933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361800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UB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05F76742-0D16-4A91-82D3-EFBA9A82064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918941" y="1011355"/>
            <a:ext cx="9616989" cy="6795853"/>
          </a:xfrm>
          <a:prstGeom prst="rect">
            <a:avLst/>
          </a:prstGeom>
        </p:spPr>
      </p:pic>
    </p:spTree>
    <p:extLst>
      <p:ext uri="{BB962C8B-B14F-4D97-AF65-F5344CB8AC3E}">
        <p14:creationId xmlns:p14="http://schemas.microsoft.com/office/powerpoint/2010/main" val="767765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UB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C4B6CAFF-8EFE-40FB-B628-23F2C40A9D4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918941" y="1011355"/>
            <a:ext cx="9616989" cy="6795853"/>
          </a:xfrm>
          <a:prstGeom prst="rect">
            <a:avLst/>
          </a:prstGeom>
        </p:spPr>
      </p:pic>
    </p:spTree>
    <p:extLst>
      <p:ext uri="{BB962C8B-B14F-4D97-AF65-F5344CB8AC3E}">
        <p14:creationId xmlns:p14="http://schemas.microsoft.com/office/powerpoint/2010/main" val="11112475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unddel indgang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89F10532-9833-4C8A-8F3E-F5B49568F2F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534025" y="3043024"/>
            <a:ext cx="6486525" cy="1614090"/>
          </a:xfrm>
          <a:prstGeom prst="rect">
            <a:avLst/>
          </a:prstGeom>
        </p:spPr>
      </p:pic>
    </p:spTree>
    <p:extLst>
      <p:ext uri="{BB962C8B-B14F-4D97-AF65-F5344CB8AC3E}">
        <p14:creationId xmlns:p14="http://schemas.microsoft.com/office/powerpoint/2010/main" val="5699397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unddel indgang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EEE9237A-9561-4CE5-93D7-A38A5B110B6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534025" y="3043024"/>
            <a:ext cx="6486525" cy="1614090"/>
          </a:xfrm>
          <a:prstGeom prst="rect">
            <a:avLst/>
          </a:prstGeom>
        </p:spPr>
      </p:pic>
    </p:spTree>
    <p:extLst>
      <p:ext uri="{BB962C8B-B14F-4D97-AF65-F5344CB8AC3E}">
        <p14:creationId xmlns:p14="http://schemas.microsoft.com/office/powerpoint/2010/main" val="25865376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a:solidFill>
                  <a:srgbClr val="00502D"/>
                </a:solidFill>
                <a:latin typeface="Segoe UI" panose="020B0502040204020203" pitchFamily="34" charset="0"/>
                <a:cs typeface="Segoe UI" panose="020B0502040204020203" pitchFamily="34" charset="0"/>
              </a:rPr>
              <a:t>grøn</a:t>
            </a:r>
            <a:endParaRPr lang="da-DK" sz="32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a:t>1.1</a:t>
            </a:r>
            <a:endParaRPr lang="da-DK"/>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a:t>Agendapunkt</a:t>
            </a:r>
          </a:p>
        </p:txBody>
      </p:sp>
    </p:spTree>
    <p:extLst>
      <p:ext uri="{BB962C8B-B14F-4D97-AF65-F5344CB8AC3E}">
        <p14:creationId xmlns:p14="http://schemas.microsoft.com/office/powerpoint/2010/main" val="8576907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a:t>1.1</a:t>
            </a:r>
            <a:endParaRPr lang="da-DK"/>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a:solidFill>
                  <a:srgbClr val="00502D"/>
                </a:solidFill>
                <a:latin typeface="Segoe UI" panose="020B0502040204020203" pitchFamily="34" charset="0"/>
                <a:cs typeface="Segoe UI" panose="020B0502040204020203" pitchFamily="34" charset="0"/>
              </a:rPr>
              <a:t>grøn</a:t>
            </a:r>
            <a:endParaRPr lang="da-DK" sz="32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a:t>Note: *)</a:t>
            </a:r>
          </a:p>
        </p:txBody>
      </p:sp>
    </p:spTree>
    <p:extLst>
      <p:ext uri="{BB962C8B-B14F-4D97-AF65-F5344CB8AC3E}">
        <p14:creationId xmlns:p14="http://schemas.microsoft.com/office/powerpoint/2010/main" val="219268213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a:t>1.1</a:t>
            </a:r>
            <a:endParaRPr lang="da-DK"/>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a:solidFill>
                  <a:srgbClr val="00502D"/>
                </a:solidFill>
                <a:latin typeface="Segoe UI" panose="020B0502040204020203" pitchFamily="34" charset="0"/>
                <a:cs typeface="Segoe UI" panose="020B0502040204020203" pitchFamily="34" charset="0"/>
              </a:rPr>
              <a:t>grøn</a:t>
            </a:r>
            <a:endParaRPr lang="da-DK" sz="32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a:t>Note: *)</a:t>
            </a:r>
          </a:p>
        </p:txBody>
      </p:sp>
    </p:spTree>
    <p:extLst>
      <p:ext uri="{BB962C8B-B14F-4D97-AF65-F5344CB8AC3E}">
        <p14:creationId xmlns:p14="http://schemas.microsoft.com/office/powerpoint/2010/main" val="27994922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3068417"/>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852881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123" descr="Presserum">
            <a:extLst>
              <a:ext uri="{FF2B5EF4-FFF2-40B4-BE49-F238E27FC236}">
                <a16:creationId xmlns:a16="http://schemas.microsoft.com/office/drawing/2014/main" id="{5270C00D-9716-4F4C-89B1-0B719AE538D6}"/>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14665"/>
          <a:stretch/>
        </p:blipFill>
        <p:spPr bwMode="auto">
          <a:xfrm>
            <a:off x="0" y="0"/>
            <a:ext cx="12192000" cy="6910086"/>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1182065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23310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9970" name="Picture 2" descr="https://www.frederiksberg.dk/sites/default/files/2017-01/frb-have-eftermiddag.jpg">
            <a:extLst>
              <a:ext uri="{FF2B5EF4-FFF2-40B4-BE49-F238E27FC236}">
                <a16:creationId xmlns:a16="http://schemas.microsoft.com/office/drawing/2014/main" id="{ED773A70-52BE-42A8-8EF8-0D7E97B7B1F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922" b="23078"/>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771046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506D25-F5F4-4240-AAF9-785860A1749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8F157AE4-3E2B-41AE-B9B3-59C02DD04D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8F808147-A133-4CE2-AEBC-6DF16E398A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A847E6DA-B74B-4C31-A154-7E7255C5600E}"/>
              </a:ext>
            </a:extLst>
          </p:cNvPr>
          <p:cNvSpPr>
            <a:spLocks noGrp="1"/>
          </p:cNvSpPr>
          <p:nvPr>
            <p:ph type="dt" sz="half" idx="10"/>
          </p:nvPr>
        </p:nvSpPr>
        <p:spPr/>
        <p:txBody>
          <a:bodyPr/>
          <a:lstStyle/>
          <a:p>
            <a:fld id="{AF7DBE71-2F64-4D81-9B4F-E512AE43A393}" type="datetime1">
              <a:rPr lang="da-DK" smtClean="0"/>
              <a:t>17-02-2026</a:t>
            </a:fld>
            <a:endParaRPr lang="da-DK"/>
          </a:p>
        </p:txBody>
      </p:sp>
      <p:sp>
        <p:nvSpPr>
          <p:cNvPr id="6" name="Pladsholder til sidefod 5">
            <a:extLst>
              <a:ext uri="{FF2B5EF4-FFF2-40B4-BE49-F238E27FC236}">
                <a16:creationId xmlns:a16="http://schemas.microsoft.com/office/drawing/2014/main" id="{13FD698D-AF54-4D21-B24A-2073635183A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5D7BF10-704D-4381-AE04-6A10E1F2C432}"/>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1607880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988729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2018" name="Picture 2" descr="https://www.frederiksberg.dk/sites/default/files/2018-11/frederiksberg_have_vinter_0.jpg">
            <a:extLst>
              <a:ext uri="{FF2B5EF4-FFF2-40B4-BE49-F238E27FC236}">
                <a16:creationId xmlns:a16="http://schemas.microsoft.com/office/drawing/2014/main" id="{8804EF0A-91A0-4D06-A8B8-68F5E1E14690}"/>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348" b="14054"/>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3018343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ersion 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311602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lede 7">
            <a:extLst>
              <a:ext uri="{FF2B5EF4-FFF2-40B4-BE49-F238E27FC236}">
                <a16:creationId xmlns:a16="http://schemas.microsoft.com/office/drawing/2014/main" id="{A4AD7337-ADAA-4FC0-B470-2CEE3087285B}"/>
              </a:ext>
            </a:extLst>
          </p:cNvPr>
          <p:cNvPicPr>
            <a:picLocks noChangeAspect="1"/>
          </p:cNvPicPr>
          <p:nvPr userDrawn="1"/>
        </p:nvPicPr>
        <p:blipFill rotWithShape="1">
          <a:blip r:embed="rId5"/>
          <a:srcRect t="2385" b="11492"/>
          <a:stretch/>
        </p:blipFill>
        <p:spPr>
          <a:xfrm>
            <a:off x="-1" y="0"/>
            <a:ext cx="12192001" cy="6858000"/>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rgbClr val="BFBFBF">
              <a:alpha val="67000"/>
            </a:srgbClr>
          </a:solidFill>
        </p:spPr>
        <p:txBody>
          <a:bodyPr lIns="180000" anchor="ctr" anchorCtr="0"/>
          <a:lstStyle>
            <a:lvl1pPr marL="0" indent="0" algn="l">
              <a:buNone/>
              <a:defRPr sz="4000" b="1">
                <a:solidFill>
                  <a:schemeClr val="accent1"/>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7599004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ersion 5">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3798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a:extLst>
              <a:ext uri="{FF2B5EF4-FFF2-40B4-BE49-F238E27FC236}">
                <a16:creationId xmlns:a16="http://schemas.microsoft.com/office/drawing/2014/main" id="{8D3F554F-E105-44A1-94F3-47526C28CCE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53" t="9004" r="8889" b="13235"/>
          <a:stretch/>
        </p:blipFill>
        <p:spPr>
          <a:xfrm>
            <a:off x="0" y="0"/>
            <a:ext cx="12192000" cy="6885383"/>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chemeClr val="accent1">
              <a:alpha val="62000"/>
            </a:schemeClr>
          </a:solidFill>
        </p:spPr>
        <p:txBody>
          <a:bodyPr lIns="180000" anchor="ctr" anchorCtr="0"/>
          <a:lstStyle>
            <a:lvl1pPr marL="0" indent="0" algn="l">
              <a:buNone/>
              <a:defRPr sz="40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1108779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52027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168961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7309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23340496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om versio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4E996D1-B45B-42E5-A004-71E5234287BE}"/>
              </a:ext>
            </a:extLst>
          </p:cNvPr>
          <p:cNvGraphicFramePr>
            <a:graphicFrameLocks noChangeAspect="1"/>
          </p:cNvGraphicFramePr>
          <p:nvPr userDrawn="1">
            <p:custDataLst>
              <p:tags r:id="rId1"/>
            </p:custDataLst>
            <p:extLst>
              <p:ext uri="{D42A27DB-BD31-4B8C-83A1-F6EECF244321}">
                <p14:modId xmlns:p14="http://schemas.microsoft.com/office/powerpoint/2010/main" val="341900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kt 2" hidden="1">
                        <a:extLst>
                          <a:ext uri="{FF2B5EF4-FFF2-40B4-BE49-F238E27FC236}">
                            <a16:creationId xmlns:a16="http://schemas.microsoft.com/office/drawing/2014/main" id="{54E996D1-B45B-42E5-A004-71E5234287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lede 3" descr="Frb_logo_rgb.png">
            <a:extLst>
              <a:ext uri="{FF2B5EF4-FFF2-40B4-BE49-F238E27FC236}">
                <a16:creationId xmlns:a16="http://schemas.microsoft.com/office/drawing/2014/main" id="{B3AEE825-B8CA-44C9-9AB7-ECE60AA95B95}"/>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202985568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374859465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005733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1222204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04283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2585002137"/>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30762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2670830657"/>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E4EDE-88F9-42EA-9A02-236305F80AEF}"/>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76216368-37CE-4514-AA29-32F76B8B18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4F2622B-7D92-4065-AD95-0007F35589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4A520C64-0F3B-4521-9D8E-88565A83ADF2}"/>
              </a:ext>
            </a:extLst>
          </p:cNvPr>
          <p:cNvSpPr>
            <a:spLocks noGrp="1"/>
          </p:cNvSpPr>
          <p:nvPr>
            <p:ph type="dt" sz="half" idx="10"/>
          </p:nvPr>
        </p:nvSpPr>
        <p:spPr/>
        <p:txBody>
          <a:bodyPr/>
          <a:lstStyle/>
          <a:p>
            <a:fld id="{BF2F9033-194E-4FA9-8ECF-E5A79C181ED8}" type="datetime1">
              <a:rPr lang="da-DK" smtClean="0"/>
              <a:t>17-02-2026</a:t>
            </a:fld>
            <a:endParaRPr lang="da-DK"/>
          </a:p>
        </p:txBody>
      </p:sp>
      <p:sp>
        <p:nvSpPr>
          <p:cNvPr id="6" name="Pladsholder til sidefod 5">
            <a:extLst>
              <a:ext uri="{FF2B5EF4-FFF2-40B4-BE49-F238E27FC236}">
                <a16:creationId xmlns:a16="http://schemas.microsoft.com/office/drawing/2014/main" id="{C63FE7C7-8B13-4884-8E47-DC947163660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94491FD3-8136-47DB-87B8-5F1588E5F4D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1745543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44654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07680425"/>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chemeClr val="accent4"/>
          </a:solidFill>
          <a:ln>
            <a:solidFill>
              <a:schemeClr val="accent4"/>
            </a:solid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chemeClr val="accent4"/>
                </a:solidFill>
              </a:defRPr>
            </a:lvl1pPr>
          </a:lstStyle>
          <a:p>
            <a:pPr lvl="0"/>
            <a:r>
              <a:rPr lang="da-DK" dirty="0"/>
              <a:t>Agendapunkt</a:t>
            </a:r>
          </a:p>
        </p:txBody>
      </p:sp>
    </p:spTree>
    <p:extLst>
      <p:ext uri="{BB962C8B-B14F-4D97-AF65-F5344CB8AC3E}">
        <p14:creationId xmlns:p14="http://schemas.microsoft.com/office/powerpoint/2010/main" val="25613718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chemeClr val="accent4"/>
          </a:solidFill>
          <a:ln>
            <a:solidFill>
              <a:schemeClr val="accent4"/>
            </a:solid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chemeClr val="accent4"/>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2537110624"/>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732434997"/>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9096894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lvl1pPr>
              <a:defRPr/>
            </a:lvl1pPr>
          </a:lstStyle>
          <a:p>
            <a:pPr>
              <a:defRPr/>
            </a:pPr>
            <a:fld id="{B4E091CF-67BD-45B7-8818-6AA2C4398D48}" type="datetimeFigureOut">
              <a:rPr lang="da-DK"/>
              <a:pPr>
                <a:defRPr/>
              </a:pPr>
              <a:t>17-02-2026</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fld id="{EF8D8872-8247-4EFC-89E8-18FF806EE697}" type="slidenum">
              <a:rPr lang="da-DK" altLang="da-DK"/>
              <a:pPr/>
              <a:t>‹nr.›</a:t>
            </a:fld>
            <a:endParaRPr lang="da-DK" altLang="da-DK"/>
          </a:p>
        </p:txBody>
      </p:sp>
    </p:spTree>
    <p:extLst>
      <p:ext uri="{BB962C8B-B14F-4D97-AF65-F5344CB8AC3E}">
        <p14:creationId xmlns:p14="http://schemas.microsoft.com/office/powerpoint/2010/main" val="40964140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Version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4" name="Picture 123" descr="Presserum">
            <a:extLst>
              <a:ext uri="{FF2B5EF4-FFF2-40B4-BE49-F238E27FC236}">
                <a16:creationId xmlns:a16="http://schemas.microsoft.com/office/drawing/2014/main" id="{5270C00D-9716-4F4C-89B1-0B719AE538D6}"/>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14665"/>
          <a:stretch/>
        </p:blipFill>
        <p:spPr bwMode="auto">
          <a:xfrm>
            <a:off x="0" y="0"/>
            <a:ext cx="12192000" cy="6910086"/>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3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1500" b="0" dirty="0"/>
          </a:p>
          <a:p>
            <a:pPr lvl="0"/>
            <a:r>
              <a:rPr lang="da-DK" sz="15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118445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D1FAB2-3CCA-A318-F78A-EF0BC800CBC5}"/>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6248F291-C0D8-7D6E-FE62-45DD0040B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D31AD4E0-1003-714D-508F-60E41147724A}"/>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5" name="Pladsholder til sidefod 4">
            <a:extLst>
              <a:ext uri="{FF2B5EF4-FFF2-40B4-BE49-F238E27FC236}">
                <a16:creationId xmlns:a16="http://schemas.microsoft.com/office/drawing/2014/main" id="{C3D18DA5-2D11-E5CC-21F3-853BB8A74B70}"/>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EE2DA3B9-DF8B-4B7E-3D86-F864165CF5BB}"/>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59868063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BFDF75-8613-BBC3-3B49-54D50D3ED8E7}"/>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3F028B4B-13A7-9AD1-DCEF-9C00B7A01744}"/>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B6C830D0-6EF5-76B2-8F85-6F51B3E5155A}"/>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5" name="Pladsholder til sidefod 4">
            <a:extLst>
              <a:ext uri="{FF2B5EF4-FFF2-40B4-BE49-F238E27FC236}">
                <a16:creationId xmlns:a16="http://schemas.microsoft.com/office/drawing/2014/main" id="{E328A42D-52CC-873A-393C-9BAA7885877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227FAA5-91A2-34AE-D898-CC337B69E989}"/>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149118064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D4011B-7FAB-31B6-D32A-427ED43F7682}"/>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753D31E5-733A-D0B2-2396-C0C27C93B1B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3C933A19-1D52-CDEE-AFD2-673DA325DFE0}"/>
              </a:ext>
            </a:extLst>
          </p:cNvPr>
          <p:cNvSpPr>
            <a:spLocks noGrp="1"/>
          </p:cNvSpPr>
          <p:nvPr>
            <p:ph type="dt" sz="half" idx="10"/>
          </p:nvPr>
        </p:nvSpPr>
        <p:spPr/>
        <p:txBody>
          <a:bodyPr/>
          <a:lstStyle/>
          <a:p>
            <a:fld id="{53AE3C71-5AC9-4E0C-BE8A-8A0568144C52}" type="datetimeFigureOut">
              <a:rPr lang="da-DK" smtClean="0"/>
              <a:t>17-02-2026</a:t>
            </a:fld>
            <a:endParaRPr lang="da-DK"/>
          </a:p>
        </p:txBody>
      </p:sp>
      <p:sp>
        <p:nvSpPr>
          <p:cNvPr id="5" name="Pladsholder til sidefod 4">
            <a:extLst>
              <a:ext uri="{FF2B5EF4-FFF2-40B4-BE49-F238E27FC236}">
                <a16:creationId xmlns:a16="http://schemas.microsoft.com/office/drawing/2014/main" id="{2C27624C-383E-C64E-E098-A72FF4D27DB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BB5CE1BD-C87F-78C8-19FB-F626BF3BE381}"/>
              </a:ext>
            </a:extLst>
          </p:cNvPr>
          <p:cNvSpPr>
            <a:spLocks noGrp="1"/>
          </p:cNvSpPr>
          <p:nvPr>
            <p:ph type="sldNum" sz="quarter" idx="12"/>
          </p:nvPr>
        </p:nvSpPr>
        <p:spPr/>
        <p:txBody>
          <a:bodyPr/>
          <a:lstStyle/>
          <a:p>
            <a:fld id="{B7A16B0E-1F3A-4A3F-8CDD-7E5E37CA8F99}" type="slidenum">
              <a:rPr lang="da-DK" smtClean="0"/>
              <a:t>‹nr.›</a:t>
            </a:fld>
            <a:endParaRPr lang="da-DK"/>
          </a:p>
        </p:txBody>
      </p:sp>
    </p:spTree>
    <p:extLst>
      <p:ext uri="{BB962C8B-B14F-4D97-AF65-F5344CB8AC3E}">
        <p14:creationId xmlns:p14="http://schemas.microsoft.com/office/powerpoint/2010/main" val="2135941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heme" Target="../theme/theme10.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11.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oleObject" Target="../embeddings/oleObject7.bin"/><Relationship Id="rId5" Type="http://schemas.openxmlformats.org/officeDocument/2006/relationships/slideLayout" Target="../slideLayouts/slideLayout21.xml"/><Relationship Id="rId10" Type="http://schemas.openxmlformats.org/officeDocument/2006/relationships/tags" Target="../tags/tag7.x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oleObject" Target="../embeddings/oleObject1.bin"/><Relationship Id="rId2" Type="http://schemas.openxmlformats.org/officeDocument/2006/relationships/slideLayout" Target="../slideLayouts/slideLayout26.xml"/><Relationship Id="rId16" Type="http://schemas.openxmlformats.org/officeDocument/2006/relationships/tags" Target="../tags/tag1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4.xml"/><Relationship Id="rId10" Type="http://schemas.openxmlformats.org/officeDocument/2006/relationships/slideLayout" Target="../slideLayouts/slideLayout34.xml"/><Relationship Id="rId19" Type="http://schemas.openxmlformats.org/officeDocument/2006/relationships/image" Target="../media/image9.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image" Target="../media/image1.emf"/><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oleObject" Target="../embeddings/oleObject1.bin"/><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tags" Target="../tags/tag31.xml"/><Relationship Id="rId40" Type="http://schemas.openxmlformats.org/officeDocument/2006/relationships/image" Target="../media/image9.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theme" Target="../theme/theme5.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8" Type="http://schemas.openxmlformats.org/officeDocument/2006/relationships/slideLayout" Target="../slideLayouts/slideLayout46.xml"/><Relationship Id="rId3"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6.xml"/><Relationship Id="rId7" Type="http://schemas.openxmlformats.org/officeDocument/2006/relationships/oleObject" Target="../embeddings/oleObject19.bin"/><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ags" Target="../tags/tag67.xml"/><Relationship Id="rId5" Type="http://schemas.openxmlformats.org/officeDocument/2006/relationships/theme" Target="../theme/theme6.xml"/><Relationship Id="rId4" Type="http://schemas.openxmlformats.org/officeDocument/2006/relationships/slideLayout" Target="../slideLayouts/slideLayout77.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emf"/><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oleObject" Target="../embeddings/oleObject7.bin"/><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ags" Target="../tags/tag72.xml"/><Relationship Id="rId5" Type="http://schemas.openxmlformats.org/officeDocument/2006/relationships/slideLayout" Target="../slideLayouts/slideLayout82.xml"/><Relationship Id="rId10" Type="http://schemas.openxmlformats.org/officeDocument/2006/relationships/theme" Target="../theme/theme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9.xml"/><Relationship Id="rId7" Type="http://schemas.openxmlformats.org/officeDocument/2006/relationships/oleObject" Target="../embeddings/oleObject1.bin"/><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tags" Target="../tags/tag82.xml"/><Relationship Id="rId5" Type="http://schemas.openxmlformats.org/officeDocument/2006/relationships/theme" Target="../theme/theme8.xml"/><Relationship Id="rId4" Type="http://schemas.openxmlformats.org/officeDocument/2006/relationships/slideLayout" Target="../slideLayouts/slideLayout90.xml"/><Relationship Id="rId9"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87.xml"/><Relationship Id="rId3" Type="http://schemas.openxmlformats.org/officeDocument/2006/relationships/slideLayout" Target="../slideLayouts/slideLayout93.xml"/><Relationship Id="rId7" Type="http://schemas.openxmlformats.org/officeDocument/2006/relationships/theme" Target="../theme/theme9.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image" Target="../media/image2.png"/><Relationship Id="rId5" Type="http://schemas.openxmlformats.org/officeDocument/2006/relationships/slideLayout" Target="../slideLayouts/slideLayout95.xml"/><Relationship Id="rId10" Type="http://schemas.openxmlformats.org/officeDocument/2006/relationships/image" Target="../media/image1.emf"/><Relationship Id="rId4" Type="http://schemas.openxmlformats.org/officeDocument/2006/relationships/slideLayout" Target="../slideLayouts/slideLayout9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BD3FCA50-75F4-47CB-8895-E59CF2DDD6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13BF105-A10D-4925-915F-2C451A2E40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C6909CD-8FA0-49CB-B0C8-784F0FF7C7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F3597D-D950-4968-A31E-1F0A8966E8BE}" type="datetime1">
              <a:rPr lang="da-DK" smtClean="0"/>
              <a:t>17-02-2026</a:t>
            </a:fld>
            <a:endParaRPr lang="da-DK"/>
          </a:p>
        </p:txBody>
      </p:sp>
      <p:sp>
        <p:nvSpPr>
          <p:cNvPr id="5" name="Pladsholder til sidefod 4">
            <a:extLst>
              <a:ext uri="{FF2B5EF4-FFF2-40B4-BE49-F238E27FC236}">
                <a16:creationId xmlns:a16="http://schemas.microsoft.com/office/drawing/2014/main" id="{5AE98CA8-CE34-4953-B8EB-9171A7D92D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C4489F3A-4DCC-4B3A-AAED-4731DC0995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F1C15F-B3FA-4AB0-8D16-C156FEF94E53}" type="slidenum">
              <a:rPr lang="da-DK" smtClean="0"/>
              <a:t>‹nr.›</a:t>
            </a:fld>
            <a:endParaRPr lang="da-DK"/>
          </a:p>
        </p:txBody>
      </p:sp>
    </p:spTree>
    <p:extLst>
      <p:ext uri="{BB962C8B-B14F-4D97-AF65-F5344CB8AC3E}">
        <p14:creationId xmlns:p14="http://schemas.microsoft.com/office/powerpoint/2010/main" val="10493865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74E1340F-4670-D580-7A40-2F8720ADDD0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843B55A5-7EBC-B4A2-0207-0423544E75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17FE632-224F-3D33-7009-05362106F0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AE3C71-5AC9-4E0C-BE8A-8A0568144C52}" type="datetimeFigureOut">
              <a:rPr lang="da-DK" smtClean="0"/>
              <a:t>17-02-2026</a:t>
            </a:fld>
            <a:endParaRPr lang="da-DK"/>
          </a:p>
        </p:txBody>
      </p:sp>
      <p:sp>
        <p:nvSpPr>
          <p:cNvPr id="5" name="Pladsholder til sidefod 4">
            <a:extLst>
              <a:ext uri="{FF2B5EF4-FFF2-40B4-BE49-F238E27FC236}">
                <a16:creationId xmlns:a16="http://schemas.microsoft.com/office/drawing/2014/main" id="{AEFBE9E8-E2C0-F816-FF04-BDEAC5ACA17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9C052ACA-7AED-1867-CC31-C579236D080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A16B0E-1F3A-4A3F-8CDD-7E5E37CA8F99}" type="slidenum">
              <a:rPr lang="da-DK" smtClean="0"/>
              <a:t>‹nr.›</a:t>
            </a:fld>
            <a:endParaRPr lang="da-DK"/>
          </a:p>
        </p:txBody>
      </p:sp>
    </p:spTree>
    <p:extLst>
      <p:ext uri="{BB962C8B-B14F-4D97-AF65-F5344CB8AC3E}">
        <p14:creationId xmlns:p14="http://schemas.microsoft.com/office/powerpoint/2010/main" val="3035521393"/>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B1C73A93-2D8C-8B2F-5563-C64F12E263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BC44D359-3495-7CFC-7CC0-F303DE52F0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B10B9F12-341C-64BA-3D21-D7874D7B3F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9B8575E-05A1-4FE1-9E3A-6C3A95FC521E}" type="datetimeFigureOut">
              <a:rPr lang="da-DK" smtClean="0"/>
              <a:t>17-02-2026</a:t>
            </a:fld>
            <a:endParaRPr lang="da-DK"/>
          </a:p>
        </p:txBody>
      </p:sp>
      <p:sp>
        <p:nvSpPr>
          <p:cNvPr id="5" name="Pladsholder til sidefod 4">
            <a:extLst>
              <a:ext uri="{FF2B5EF4-FFF2-40B4-BE49-F238E27FC236}">
                <a16:creationId xmlns:a16="http://schemas.microsoft.com/office/drawing/2014/main" id="{B7C78E4D-9C28-DF4D-E24D-42BD606CDC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1445386D-F9EB-58F4-15F5-F3039C0D79A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364627C-FD5C-41D6-97AE-9FB5B1FC4082}" type="slidenum">
              <a:rPr lang="da-DK" smtClean="0"/>
              <a:t>‹nr.›</a:t>
            </a:fld>
            <a:endParaRPr lang="da-DK"/>
          </a:p>
        </p:txBody>
      </p:sp>
    </p:spTree>
    <p:extLst>
      <p:ext uri="{BB962C8B-B14F-4D97-AF65-F5344CB8AC3E}">
        <p14:creationId xmlns:p14="http://schemas.microsoft.com/office/powerpoint/2010/main" val="418675310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419072191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5" imgH="416" progId="TCLayout.ActiveDocument.1">
                  <p:embed/>
                </p:oleObj>
              </mc:Choice>
              <mc:Fallback>
                <p:oleObj name="think-cell Slide" r:id="rId11" imgW="415" imgH="416" progId="TCLayout.ActiveDocument.1">
                  <p:embed/>
                  <p:pic>
                    <p:nvPicPr>
                      <p:cNvPr id="12" name="Objekt 11" hidden="1"/>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5697222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5" imgH="416" progId="TCLayout.ActiveDocument.1">
                  <p:embed/>
                </p:oleObj>
              </mc:Choice>
              <mc:Fallback>
                <p:oleObj name="think-cell Slide" r:id="rId17" imgW="415" imgH="416" progId="TCLayout.ActiveDocument.1">
                  <p:embed/>
                  <p:pic>
                    <p:nvPicPr>
                      <p:cNvPr id="8" name="Objekt 7" hidden="1"/>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4" name="Billede 3">
            <a:extLst>
              <a:ext uri="{FF2B5EF4-FFF2-40B4-BE49-F238E27FC236}">
                <a16:creationId xmlns:a16="http://schemas.microsoft.com/office/drawing/2014/main" id="{D26D40B4-4FC3-497D-B9FA-0D8F00B619EB}"/>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589167" y="6254838"/>
            <a:ext cx="1966679" cy="451251"/>
          </a:xfrm>
          <a:prstGeom prst="rect">
            <a:avLst/>
          </a:prstGeom>
        </p:spPr>
      </p:pic>
    </p:spTree>
    <p:extLst>
      <p:ext uri="{BB962C8B-B14F-4D97-AF65-F5344CB8AC3E}">
        <p14:creationId xmlns:p14="http://schemas.microsoft.com/office/powerpoint/2010/main" val="3915208371"/>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5" imgH="416" progId="TCLayout.ActiveDocument.1">
                  <p:embed/>
                </p:oleObj>
              </mc:Choice>
              <mc:Fallback>
                <p:oleObj name="think-cell Slide" r:id="rId38" imgW="415" imgH="416" progId="TCLayout.ActiveDocument.1">
                  <p:embed/>
                  <p:pic>
                    <p:nvPicPr>
                      <p:cNvPr id="8" name="Objekt 7" hidden="1"/>
                      <p:cNvPicPr/>
                      <p:nvPr/>
                    </p:nvPicPr>
                    <p:blipFill>
                      <a:blip r:embed="rId39"/>
                      <a:stretch>
                        <a:fillRect/>
                      </a:stretch>
                    </p:blipFill>
                    <p:spPr>
                      <a:xfrm>
                        <a:off x="1588" y="1588"/>
                        <a:ext cx="1588" cy="1588"/>
                      </a:xfrm>
                      <a:prstGeom prst="rect">
                        <a:avLst/>
                      </a:prstGeom>
                    </p:spPr>
                  </p:pic>
                </p:oleObj>
              </mc:Fallback>
            </mc:AlternateContent>
          </a:graphicData>
        </a:graphic>
      </p:graphicFrame>
      <p:pic>
        <p:nvPicPr>
          <p:cNvPr id="4" name="Billede 3">
            <a:extLst>
              <a:ext uri="{FF2B5EF4-FFF2-40B4-BE49-F238E27FC236}">
                <a16:creationId xmlns:a16="http://schemas.microsoft.com/office/drawing/2014/main" id="{D26D40B4-4FC3-497D-B9FA-0D8F00B619EB}"/>
              </a:ext>
            </a:extLst>
          </p:cNvPr>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9589167" y="6254838"/>
            <a:ext cx="1966679" cy="451251"/>
          </a:xfrm>
          <a:prstGeom prst="rect">
            <a:avLst/>
          </a:prstGeom>
        </p:spPr>
      </p:pic>
    </p:spTree>
    <p:extLst>
      <p:ext uri="{BB962C8B-B14F-4D97-AF65-F5344CB8AC3E}">
        <p14:creationId xmlns:p14="http://schemas.microsoft.com/office/powerpoint/2010/main" val="423434916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8" name="Objekt 7"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9"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a:latin typeface="+mn-lt"/>
            </a:endParaRPr>
          </a:p>
        </p:txBody>
      </p:sp>
    </p:spTree>
    <p:extLst>
      <p:ext uri="{BB962C8B-B14F-4D97-AF65-F5344CB8AC3E}">
        <p14:creationId xmlns:p14="http://schemas.microsoft.com/office/powerpoint/2010/main" val="831764934"/>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1"/>
            </p:custDataLst>
            <p:extLst>
              <p:ext uri="{D42A27DB-BD31-4B8C-83A1-F6EECF244321}">
                <p14:modId xmlns:p14="http://schemas.microsoft.com/office/powerpoint/2010/main" val="44062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12" name="Objekt 11" hidden="1"/>
                      <p:cNvPicPr/>
                      <p:nvPr/>
                    </p:nvPicPr>
                    <p:blipFill>
                      <a:blip r:embed="rId1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43886293"/>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6"/>
            </p:custDataLst>
            <p:extLst>
              <p:ext uri="{D42A27DB-BD31-4B8C-83A1-F6EECF244321}">
                <p14:modId xmlns:p14="http://schemas.microsoft.com/office/powerpoint/2010/main" val="199147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8" name="Objekt 7"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9"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18687528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5" imgH="416" progId="TCLayout.ActiveDocument.1">
                  <p:embed/>
                </p:oleObj>
              </mc:Choice>
              <mc:Fallback>
                <p:oleObj name="think-cell Slide" r:id="rId9" imgW="415" imgH="416" progId="TCLayout.ActiveDocument.1">
                  <p:embed/>
                  <p:pic>
                    <p:nvPicPr>
                      <p:cNvPr id="8" name="Objekt 7" hidden="1"/>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1"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793688541"/>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portals.clio.me/dk/boernehaveklassen/emner/matematik/begreber/penge/" TargetMode="External"/><Relationship Id="rId2" Type="http://schemas.openxmlformats.org/officeDocument/2006/relationships/image" Target="../media/image49.jpg"/><Relationship Id="rId1" Type="http://schemas.openxmlformats.org/officeDocument/2006/relationships/slideLayout" Target="../slideLayouts/slideLayout98.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108.xml"/><Relationship Id="rId4" Type="http://schemas.openxmlformats.org/officeDocument/2006/relationships/hyperlink" Target="https://print-freecalendar.com/dl/one-page-calendar-2026-with-usa-holidays-sunday-start-landscape-en-us" TargetMode="Externa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0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9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festlinjen.dk/at-slaa-soem-i/" TargetMode="External"/><Relationship Id="rId2" Type="http://schemas.openxmlformats.org/officeDocument/2006/relationships/image" Target="../media/image51.jpg"/><Relationship Id="rId1" Type="http://schemas.openxmlformats.org/officeDocument/2006/relationships/slideLayout" Target="../slideLayouts/slideLayout98.xml"/></Relationships>
</file>

<file path=ppt/slides/_rels/slide1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52.jpeg"/><Relationship Id="rId7" Type="http://schemas.openxmlformats.org/officeDocument/2006/relationships/diagramColors" Target="../diagrams/colors3.xml"/><Relationship Id="rId2" Type="http://schemas.openxmlformats.org/officeDocument/2006/relationships/notesSlide" Target="../notesSlides/notesSlide11.xml"/><Relationship Id="rId1" Type="http://schemas.openxmlformats.org/officeDocument/2006/relationships/slideLayout" Target="../slideLayouts/slideLayout98.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9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98.xml"/><Relationship Id="rId4" Type="http://schemas.openxmlformats.org/officeDocument/2006/relationships/hyperlink" Target="https://human.libretexts.org/Courses/Chabot_College/SPA_1A:_Beginning_Spanish/02:_Capitulo__2/2.10:_Gramatica-_El_verbo_estar__preposiciones___Donde"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98.xml"/><Relationship Id="rId4" Type="http://schemas.openxmlformats.org/officeDocument/2006/relationships/hyperlink" Target="https://aftale-dk.com/aftale-kontrakt-skabelon/"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1.xml.rels><?xml version="1.0" encoding="UTF-8" standalone="yes"?>
<Relationships xmlns="http://schemas.openxmlformats.org/package/2006/relationships"><Relationship Id="rId3" Type="http://schemas.openxmlformats.org/officeDocument/2006/relationships/hyperlink" Target="https://dsr.dk/fag-og-udvikling/sygeplejersken/fagbladet-sygeplejersken/sygeplejersken-argang-2019-nr-12/historier-fra-det-virkelige-liv/" TargetMode="External"/><Relationship Id="rId2" Type="http://schemas.openxmlformats.org/officeDocument/2006/relationships/image" Target="../media/image63.png"/><Relationship Id="rId1" Type="http://schemas.openxmlformats.org/officeDocument/2006/relationships/slideLayout" Target="../slideLayouts/slideLayout9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65.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115.xml"/><Relationship Id="rId5" Type="http://schemas.openxmlformats.org/officeDocument/2006/relationships/image" Target="../media/image68.png"/><Relationship Id="rId4" Type="http://schemas.openxmlformats.org/officeDocument/2006/relationships/image" Target="../media/image67.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3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informazioneoggi.it/2022/06/30/ferie-estive-come-pianificarle-e-utilizzarle/" TargetMode="External"/><Relationship Id="rId2" Type="http://schemas.openxmlformats.org/officeDocument/2006/relationships/image" Target="../media/image47.jpg"/><Relationship Id="rId1" Type="http://schemas.openxmlformats.org/officeDocument/2006/relationships/slideLayout" Target="../slideLayouts/slideLayout98.xml"/></Relationships>
</file>

<file path=ppt/slides/_rels/slide9.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7.xml"/><Relationship Id="rId1" Type="http://schemas.openxmlformats.org/officeDocument/2006/relationships/slideLayout" Target="../slideLayouts/slideLayout98.xml"/><Relationship Id="rId4" Type="http://schemas.openxmlformats.org/officeDocument/2006/relationships/hyperlink" Target="https://blog.hani-ibrahim.de/en/impressum.html/paragraph-feature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0" name="Rectangle 39">
            <a:extLst>
              <a:ext uri="{FF2B5EF4-FFF2-40B4-BE49-F238E27FC236}">
                <a16:creationId xmlns:a16="http://schemas.microsoft.com/office/drawing/2014/main" id="{0B3B9DBC-97CC-4A18-B4A6-66E2402922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F4492644-1D84-449E-94E4-5FC5C873D3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227"/>
            <a:ext cx="12188952" cy="455189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BBBABABA-6CDF-45F0-9A4B-1FAA4462A3B0}"/>
              </a:ext>
            </a:extLst>
          </p:cNvPr>
          <p:cNvSpPr>
            <a:spLocks noGrp="1"/>
          </p:cNvSpPr>
          <p:nvPr>
            <p:ph type="ctrTitle"/>
          </p:nvPr>
        </p:nvSpPr>
        <p:spPr>
          <a:xfrm>
            <a:off x="795342" y="637953"/>
            <a:ext cx="8272458" cy="3189507"/>
          </a:xfrm>
        </p:spPr>
        <p:txBody>
          <a:bodyPr>
            <a:normAutofit/>
          </a:bodyPr>
          <a:lstStyle/>
          <a:p>
            <a:pPr algn="l"/>
            <a:r>
              <a:rPr lang="da-DK" sz="8000" dirty="0">
                <a:solidFill>
                  <a:srgbClr val="FFFFFF"/>
                </a:solidFill>
              </a:rPr>
              <a:t>TR-møde Frederiksberg</a:t>
            </a:r>
          </a:p>
        </p:txBody>
      </p:sp>
      <p:sp>
        <p:nvSpPr>
          <p:cNvPr id="44" name="Freeform 6">
            <a:extLst>
              <a:ext uri="{FF2B5EF4-FFF2-40B4-BE49-F238E27FC236}">
                <a16:creationId xmlns:a16="http://schemas.microsoft.com/office/drawing/2014/main" id="{94EE1A74-DEBF-434E-8B5E-7AB296ECBE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7747" y="4208147"/>
            <a:ext cx="339126" cy="1938528"/>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7">
            <a:extLst>
              <a:ext uri="{FF2B5EF4-FFF2-40B4-BE49-F238E27FC236}">
                <a16:creationId xmlns:a16="http://schemas.microsoft.com/office/drawing/2014/main" id="{8C7C4D4B-92D9-4FA4-A294-749E8574FF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8739" y="4098333"/>
            <a:ext cx="201857" cy="1874520"/>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Rectangle 8">
            <a:extLst>
              <a:ext uri="{FF2B5EF4-FFF2-40B4-BE49-F238E27FC236}">
                <a16:creationId xmlns:a16="http://schemas.microsoft.com/office/drawing/2014/main" id="{BADA3358-2A3F-41B0-A458-6FD1DB3AF9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048" y="4098334"/>
            <a:ext cx="893301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Undertitel 2">
            <a:extLst>
              <a:ext uri="{FF2B5EF4-FFF2-40B4-BE49-F238E27FC236}">
                <a16:creationId xmlns:a16="http://schemas.microsoft.com/office/drawing/2014/main" id="{CE5BF6C3-7E5F-4F97-A443-E94353FEDA53}"/>
              </a:ext>
            </a:extLst>
          </p:cNvPr>
          <p:cNvSpPr>
            <a:spLocks noGrp="1"/>
          </p:cNvSpPr>
          <p:nvPr>
            <p:ph type="subTitle" idx="1"/>
          </p:nvPr>
        </p:nvSpPr>
        <p:spPr>
          <a:xfrm>
            <a:off x="795342" y="4377268"/>
            <a:ext cx="7970903" cy="1280582"/>
          </a:xfrm>
        </p:spPr>
        <p:txBody>
          <a:bodyPr anchor="t">
            <a:normAutofit/>
          </a:bodyPr>
          <a:lstStyle/>
          <a:p>
            <a:pPr algn="l"/>
            <a:r>
              <a:rPr lang="da-DK" sz="3200" dirty="0">
                <a:solidFill>
                  <a:srgbClr val="FEFFFF"/>
                </a:solidFill>
              </a:rPr>
              <a:t>Onsdag 18/2 2026</a:t>
            </a:r>
          </a:p>
        </p:txBody>
      </p:sp>
      <p:sp>
        <p:nvSpPr>
          <p:cNvPr id="50" name="Rectangle 8">
            <a:extLst>
              <a:ext uri="{FF2B5EF4-FFF2-40B4-BE49-F238E27FC236}">
                <a16:creationId xmlns:a16="http://schemas.microsoft.com/office/drawing/2014/main" id="{E4737216-37B2-43AD-AB08-05BFCCEFC9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9066873" y="4377267"/>
            <a:ext cx="312207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8948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F58D2D-E931-6785-337D-DCB63A98A286}"/>
              </a:ext>
            </a:extLst>
          </p:cNvPr>
          <p:cNvSpPr>
            <a:spLocks noGrp="1"/>
          </p:cNvSpPr>
          <p:nvPr>
            <p:ph type="title"/>
          </p:nvPr>
        </p:nvSpPr>
        <p:spPr/>
        <p:txBody>
          <a:bodyPr/>
          <a:lstStyle/>
          <a:p>
            <a:pPr algn="ctr"/>
            <a:r>
              <a:rPr lang="da-DK" b="1" dirty="0"/>
              <a:t>Adgang til ferie med løn  </a:t>
            </a:r>
          </a:p>
        </p:txBody>
      </p:sp>
      <p:pic>
        <p:nvPicPr>
          <p:cNvPr id="5" name="Pladsholder til indhold 4" descr="Et billede, der indeholder tekst, Pengehåndtering, kontanter, penge&#10;&#10;AI-genereret indhold kan være ukorrekt.">
            <a:extLst>
              <a:ext uri="{FF2B5EF4-FFF2-40B4-BE49-F238E27FC236}">
                <a16:creationId xmlns:a16="http://schemas.microsoft.com/office/drawing/2014/main" id="{187B9A10-5538-8951-1551-E8499028817D}"/>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953500" y="0"/>
            <a:ext cx="3048000" cy="2898648"/>
          </a:xfrm>
        </p:spPr>
      </p:pic>
      <p:sp>
        <p:nvSpPr>
          <p:cNvPr id="6" name="Tekstfelt 5">
            <a:extLst>
              <a:ext uri="{FF2B5EF4-FFF2-40B4-BE49-F238E27FC236}">
                <a16:creationId xmlns:a16="http://schemas.microsoft.com/office/drawing/2014/main" id="{01CB92AB-C54B-2276-A53A-4A13F2245571}"/>
              </a:ext>
            </a:extLst>
          </p:cNvPr>
          <p:cNvSpPr txBox="1"/>
          <p:nvPr/>
        </p:nvSpPr>
        <p:spPr>
          <a:xfrm>
            <a:off x="1447800" y="3076575"/>
            <a:ext cx="9791699" cy="252376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solidFill>
                <a:effectLst/>
                <a:uLnTx/>
                <a:uFillTx/>
                <a:latin typeface="Calibri" panose="020F0502020204030204"/>
                <a:ea typeface="+mn-ea"/>
                <a:cs typeface="+mn-cs"/>
              </a:rPr>
              <a:t>Man optjener 2,08 feriedage om måneden hele år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solidFill>
                <a:effectLst/>
                <a:uLnTx/>
                <a:uFillTx/>
                <a:latin typeface="Calibri" panose="020F0502020204030204"/>
                <a:ea typeface="+mn-ea"/>
                <a:cs typeface="+mn-cs"/>
              </a:rPr>
              <a:t>Man optjener sine feriedage samtidig med man har adgang til at holde dem (samtidighedsferi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solidFill>
                <a:effectLst/>
                <a:uLnTx/>
                <a:uFillTx/>
                <a:latin typeface="Calibri" panose="020F0502020204030204"/>
                <a:ea typeface="+mn-ea"/>
                <a:cs typeface="+mn-cs"/>
              </a:rPr>
              <a:t>Ved overgang til nyt job udbetales ikke-holdt ferie til feriegir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prstClr val="black"/>
                </a:solidFill>
                <a:effectLst/>
                <a:uLnTx/>
                <a:uFillTx/>
                <a:latin typeface="Calibri" panose="020F0502020204030204"/>
                <a:ea typeface="+mn-ea"/>
                <a:cs typeface="+mn-cs"/>
              </a:rPr>
              <a:t>      - Man kan hæve feriepengene via Borger.dk og afholde ferie uden løn for dis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6954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DB350032-D47D-569D-19E4-0A745D33B6CD}"/>
              </a:ext>
            </a:extLst>
          </p:cNvPr>
          <p:cNvSpPr>
            <a:spLocks noGrp="1" noChangeArrowheads="1"/>
          </p:cNvSpPr>
          <p:nvPr>
            <p:ph type="title"/>
          </p:nvPr>
        </p:nvSpPr>
        <p:spPr/>
        <p:txBody>
          <a:bodyPr/>
          <a:lstStyle/>
          <a:p>
            <a:pPr algn="ctr" eaLnBrk="1" hangingPunct="1">
              <a:defRPr/>
            </a:pPr>
            <a:r>
              <a:rPr lang="da-DK" b="1" dirty="0"/>
              <a:t>Perioder i ferieåret</a:t>
            </a:r>
          </a:p>
        </p:txBody>
      </p:sp>
      <p:sp>
        <p:nvSpPr>
          <p:cNvPr id="9219" name="Rectangle 3">
            <a:extLst>
              <a:ext uri="{FF2B5EF4-FFF2-40B4-BE49-F238E27FC236}">
                <a16:creationId xmlns:a16="http://schemas.microsoft.com/office/drawing/2014/main" id="{31F1D52C-57AD-5698-7694-0D8A3BE34465}"/>
              </a:ext>
            </a:extLst>
          </p:cNvPr>
          <p:cNvSpPr>
            <a:spLocks noGrp="1" noChangeArrowheads="1"/>
          </p:cNvSpPr>
          <p:nvPr>
            <p:ph type="body" sz="half" idx="1"/>
          </p:nvPr>
        </p:nvSpPr>
        <p:spPr>
          <a:xfrm>
            <a:off x="841248" y="1600200"/>
            <a:ext cx="10625328" cy="4533900"/>
          </a:xfrm>
        </p:spPr>
        <p:txBody>
          <a:bodyPr>
            <a:normAutofit/>
          </a:bodyPr>
          <a:lstStyle/>
          <a:p>
            <a:pPr eaLnBrk="1" hangingPunct="1">
              <a:lnSpc>
                <a:spcPct val="90000"/>
              </a:lnSpc>
              <a:defRPr/>
            </a:pPr>
            <a:endParaRPr lang="da-DK" sz="2400" dirty="0"/>
          </a:p>
          <a:p>
            <a:pPr eaLnBrk="1" hangingPunct="1">
              <a:lnSpc>
                <a:spcPct val="90000"/>
              </a:lnSpc>
              <a:defRPr/>
            </a:pPr>
            <a:r>
              <a:rPr lang="da-DK" sz="2400" dirty="0">
                <a:solidFill>
                  <a:srgbClr val="FF0000"/>
                </a:solidFill>
              </a:rPr>
              <a:t>Optjening</a:t>
            </a:r>
            <a:r>
              <a:rPr lang="da-DK" sz="2400" dirty="0"/>
              <a:t>såret = Ferieåret: 1. september – 31. august</a:t>
            </a:r>
          </a:p>
          <a:p>
            <a:pPr marL="0" indent="0">
              <a:buNone/>
              <a:defRPr/>
            </a:pPr>
            <a:r>
              <a:rPr lang="da-DK" sz="2400" dirty="0"/>
              <a:t>    </a:t>
            </a:r>
          </a:p>
          <a:p>
            <a:pPr eaLnBrk="1" hangingPunct="1">
              <a:lnSpc>
                <a:spcPct val="90000"/>
              </a:lnSpc>
              <a:buFont typeface="Arial" panose="020B0604020202020204" pitchFamily="34" charset="0"/>
              <a:buChar char="•"/>
              <a:defRPr/>
            </a:pPr>
            <a:r>
              <a:rPr lang="da-DK" sz="2400" dirty="0"/>
              <a:t> </a:t>
            </a:r>
            <a:r>
              <a:rPr lang="da-DK" sz="2400" dirty="0">
                <a:solidFill>
                  <a:srgbClr val="00B050"/>
                </a:solidFill>
              </a:rPr>
              <a:t>Ferieafholdelse</a:t>
            </a:r>
            <a:r>
              <a:rPr lang="da-DK" sz="2400" dirty="0"/>
              <a:t>sperioden = Ferieåret + 4 mdr. = 1. september – 31. december</a:t>
            </a:r>
          </a:p>
          <a:p>
            <a:pPr marL="0" indent="0" eaLnBrk="1" hangingPunct="1">
              <a:lnSpc>
                <a:spcPct val="90000"/>
              </a:lnSpc>
              <a:buNone/>
              <a:defRPr/>
            </a:pPr>
            <a:endParaRPr lang="da-DK" sz="2400" dirty="0"/>
          </a:p>
          <a:p>
            <a:pPr eaLnBrk="1" hangingPunct="1">
              <a:lnSpc>
                <a:spcPct val="90000"/>
              </a:lnSpc>
              <a:buFont typeface="Arial" panose="020B0604020202020204" pitchFamily="34" charset="0"/>
              <a:buChar char="•"/>
              <a:defRPr/>
            </a:pPr>
            <a:r>
              <a:rPr lang="da-DK" sz="2400" dirty="0"/>
              <a:t> </a:t>
            </a:r>
            <a:r>
              <a:rPr lang="da-DK" sz="2400" dirty="0">
                <a:solidFill>
                  <a:srgbClr val="FFC000"/>
                </a:solidFill>
              </a:rPr>
              <a:t>Hovedferien</a:t>
            </a:r>
            <a:r>
              <a:rPr lang="da-DK" sz="2400" dirty="0"/>
              <a:t> (3 uger) mellem 1. maj - 30. september</a:t>
            </a:r>
          </a:p>
          <a:p>
            <a:pPr marL="0" indent="0" eaLnBrk="1" hangingPunct="1">
              <a:lnSpc>
                <a:spcPct val="90000"/>
              </a:lnSpc>
              <a:buNone/>
              <a:defRPr/>
            </a:pPr>
            <a:endParaRPr lang="da-DK" sz="2400" dirty="0"/>
          </a:p>
          <a:p>
            <a:pPr eaLnBrk="1" hangingPunct="1">
              <a:lnSpc>
                <a:spcPct val="90000"/>
              </a:lnSpc>
              <a:buFont typeface="Arial" panose="020B0604020202020204" pitchFamily="34" charset="0"/>
              <a:buChar char="•"/>
              <a:defRPr/>
            </a:pPr>
            <a:r>
              <a:rPr lang="da-DK" sz="2400" dirty="0">
                <a:solidFill>
                  <a:srgbClr val="0070C0"/>
                </a:solidFill>
              </a:rPr>
              <a:t>Restferie</a:t>
            </a:r>
            <a:r>
              <a:rPr lang="da-DK" sz="2400" dirty="0"/>
              <a:t> afholdes udenfor hovedferieperioden</a:t>
            </a:r>
          </a:p>
          <a:p>
            <a:pPr marL="0" indent="0" eaLnBrk="1" hangingPunct="1">
              <a:lnSpc>
                <a:spcPct val="90000"/>
              </a:lnSpc>
              <a:buNone/>
              <a:defRPr/>
            </a:pPr>
            <a:endParaRPr lang="da-DK" sz="2400" dirty="0"/>
          </a:p>
        </p:txBody>
      </p:sp>
      <p:pic>
        <p:nvPicPr>
          <p:cNvPr id="7" name="Billede 6" descr="Et billede, der indeholder tekst, skærmbillede, Font/skrifttype, nummer/tal&#10;&#10;AI-genereret indhold kan være ukorrekt.">
            <a:extLst>
              <a:ext uri="{FF2B5EF4-FFF2-40B4-BE49-F238E27FC236}">
                <a16:creationId xmlns:a16="http://schemas.microsoft.com/office/drawing/2014/main" id="{E72BB696-CEB5-CC49-E0B2-20F91CF2A22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rot="810597">
            <a:off x="8701682" y="274638"/>
            <a:ext cx="2399134" cy="1853647"/>
          </a:xfrm>
          <a:prstGeom prst="rect">
            <a:avLst/>
          </a:prstGeom>
        </p:spPr>
      </p:pic>
    </p:spTree>
    <p:extLst>
      <p:ext uri="{BB962C8B-B14F-4D97-AF65-F5344CB8AC3E}">
        <p14:creationId xmlns:p14="http://schemas.microsoft.com/office/powerpoint/2010/main" val="5873178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225" name="Rectangle 9224">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18" name="Rectangle 2">
            <a:extLst>
              <a:ext uri="{FF2B5EF4-FFF2-40B4-BE49-F238E27FC236}">
                <a16:creationId xmlns:a16="http://schemas.microsoft.com/office/drawing/2014/main" id="{D5CDB9DA-2D65-F68A-3E07-97560E4708A4}"/>
              </a:ext>
            </a:extLst>
          </p:cNvPr>
          <p:cNvSpPr>
            <a:spLocks noGrp="1" noChangeArrowheads="1"/>
          </p:cNvSpPr>
          <p:nvPr>
            <p:ph type="title"/>
          </p:nvPr>
        </p:nvSpPr>
        <p:spPr>
          <a:xfrm>
            <a:off x="635000" y="640823"/>
            <a:ext cx="3418659" cy="5583148"/>
          </a:xfrm>
        </p:spPr>
        <p:txBody>
          <a:bodyPr vert="horz" lIns="91440" tIns="45720" rIns="91440" bIns="45720" rtlCol="0" anchor="ctr">
            <a:normAutofit/>
          </a:bodyPr>
          <a:lstStyle/>
          <a:p>
            <a:pPr>
              <a:defRPr/>
            </a:pPr>
            <a:r>
              <a:rPr lang="en-US" sz="5400" b="1" kern="1200" dirty="0">
                <a:solidFill>
                  <a:schemeClr val="tx1"/>
                </a:solidFill>
                <a:latin typeface="+mj-lt"/>
                <a:ea typeface="+mj-ea"/>
                <a:cs typeface="+mj-cs"/>
              </a:rPr>
              <a:t> </a:t>
            </a:r>
            <a:r>
              <a:rPr lang="en-US" sz="5400" b="1" kern="1200" dirty="0" err="1">
                <a:solidFill>
                  <a:schemeClr val="tx1"/>
                </a:solidFill>
                <a:latin typeface="+mj-lt"/>
                <a:ea typeface="+mj-ea"/>
                <a:cs typeface="+mj-cs"/>
              </a:rPr>
              <a:t>Hvordan</a:t>
            </a:r>
            <a:r>
              <a:rPr lang="en-US" sz="5400" b="1" kern="1200" dirty="0">
                <a:solidFill>
                  <a:schemeClr val="tx1"/>
                </a:solidFill>
                <a:latin typeface="+mj-lt"/>
                <a:ea typeface="+mj-ea"/>
                <a:cs typeface="+mj-cs"/>
              </a:rPr>
              <a:t> </a:t>
            </a:r>
            <a:r>
              <a:rPr lang="en-US" sz="5400" b="1" kern="1200" dirty="0" err="1">
                <a:solidFill>
                  <a:schemeClr val="tx1"/>
                </a:solidFill>
                <a:latin typeface="+mj-lt"/>
                <a:ea typeface="+mj-ea"/>
                <a:cs typeface="+mj-cs"/>
              </a:rPr>
              <a:t>og</a:t>
            </a:r>
            <a:r>
              <a:rPr lang="en-US" sz="5400" b="1" kern="1200" dirty="0">
                <a:solidFill>
                  <a:schemeClr val="tx1"/>
                </a:solidFill>
                <a:latin typeface="+mj-lt"/>
                <a:ea typeface="+mj-ea"/>
                <a:cs typeface="+mj-cs"/>
              </a:rPr>
              <a:t> </a:t>
            </a:r>
            <a:r>
              <a:rPr lang="en-US" sz="5400" b="1" kern="1200" dirty="0" err="1">
                <a:solidFill>
                  <a:schemeClr val="tx1"/>
                </a:solidFill>
                <a:latin typeface="+mj-lt"/>
                <a:ea typeface="+mj-ea"/>
                <a:cs typeface="+mj-cs"/>
              </a:rPr>
              <a:t>hvor</a:t>
            </a:r>
            <a:r>
              <a:rPr lang="en-US" sz="5400" b="1" kern="1200" dirty="0">
                <a:solidFill>
                  <a:schemeClr val="tx1"/>
                </a:solidFill>
                <a:latin typeface="+mj-lt"/>
                <a:ea typeface="+mj-ea"/>
                <a:cs typeface="+mj-cs"/>
              </a:rPr>
              <a:t> </a:t>
            </a:r>
            <a:r>
              <a:rPr lang="en-US" sz="5400" b="1" kern="1200" dirty="0" err="1">
                <a:solidFill>
                  <a:schemeClr val="tx1"/>
                </a:solidFill>
                <a:latin typeface="+mj-lt"/>
                <a:ea typeface="+mj-ea"/>
                <a:cs typeface="+mj-cs"/>
              </a:rPr>
              <a:t>placeres</a:t>
            </a:r>
            <a:r>
              <a:rPr lang="en-US" sz="5400" b="1" kern="1200" dirty="0">
                <a:solidFill>
                  <a:schemeClr val="tx1"/>
                </a:solidFill>
                <a:latin typeface="+mj-lt"/>
                <a:ea typeface="+mj-ea"/>
                <a:cs typeface="+mj-cs"/>
              </a:rPr>
              <a:t> </a:t>
            </a:r>
            <a:r>
              <a:rPr lang="en-US" sz="5400" b="1" kern="1200" dirty="0" err="1">
                <a:solidFill>
                  <a:schemeClr val="tx1"/>
                </a:solidFill>
                <a:latin typeface="+mj-lt"/>
                <a:ea typeface="+mj-ea"/>
                <a:cs typeface="+mj-cs"/>
              </a:rPr>
              <a:t>ferien</a:t>
            </a:r>
            <a:endParaRPr lang="en-US" sz="5400" b="1" kern="1200" dirty="0">
              <a:solidFill>
                <a:schemeClr val="tx1"/>
              </a:solidFill>
              <a:latin typeface="+mj-lt"/>
              <a:ea typeface="+mj-ea"/>
              <a:cs typeface="+mj-cs"/>
            </a:endParaRPr>
          </a:p>
        </p:txBody>
      </p:sp>
      <p:sp>
        <p:nvSpPr>
          <p:cNvPr id="9227"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sX0" fmla="*/ 0 w 5410200"/>
              <a:gd name="csY0" fmla="*/ 0 h 18288"/>
              <a:gd name="csX1" fmla="*/ 568071 w 5410200"/>
              <a:gd name="csY1" fmla="*/ 0 h 18288"/>
              <a:gd name="csX2" fmla="*/ 1298448 w 5410200"/>
              <a:gd name="csY2" fmla="*/ 0 h 18288"/>
              <a:gd name="csX3" fmla="*/ 1920621 w 5410200"/>
              <a:gd name="csY3" fmla="*/ 0 h 18288"/>
              <a:gd name="csX4" fmla="*/ 2488692 w 5410200"/>
              <a:gd name="csY4" fmla="*/ 0 h 18288"/>
              <a:gd name="csX5" fmla="*/ 3219069 w 5410200"/>
              <a:gd name="csY5" fmla="*/ 0 h 18288"/>
              <a:gd name="csX6" fmla="*/ 3895344 w 5410200"/>
              <a:gd name="csY6" fmla="*/ 0 h 18288"/>
              <a:gd name="csX7" fmla="*/ 4571619 w 5410200"/>
              <a:gd name="csY7" fmla="*/ 0 h 18288"/>
              <a:gd name="csX8" fmla="*/ 5410200 w 5410200"/>
              <a:gd name="csY8" fmla="*/ 0 h 18288"/>
              <a:gd name="csX9" fmla="*/ 5410200 w 5410200"/>
              <a:gd name="csY9" fmla="*/ 18288 h 18288"/>
              <a:gd name="csX10" fmla="*/ 4842129 w 5410200"/>
              <a:gd name="csY10" fmla="*/ 18288 h 18288"/>
              <a:gd name="csX11" fmla="*/ 4328160 w 5410200"/>
              <a:gd name="csY11" fmla="*/ 18288 h 18288"/>
              <a:gd name="csX12" fmla="*/ 3597783 w 5410200"/>
              <a:gd name="csY12" fmla="*/ 18288 h 18288"/>
              <a:gd name="csX13" fmla="*/ 3029712 w 5410200"/>
              <a:gd name="csY13" fmla="*/ 18288 h 18288"/>
              <a:gd name="csX14" fmla="*/ 2299335 w 5410200"/>
              <a:gd name="csY14" fmla="*/ 18288 h 18288"/>
              <a:gd name="csX15" fmla="*/ 1514856 w 5410200"/>
              <a:gd name="csY15" fmla="*/ 18288 h 18288"/>
              <a:gd name="csX16" fmla="*/ 892683 w 5410200"/>
              <a:gd name="csY16" fmla="*/ 18288 h 18288"/>
              <a:gd name="csX17" fmla="*/ 0 w 5410200"/>
              <a:gd name="csY17" fmla="*/ 18288 h 18288"/>
              <a:gd name="csX18" fmla="*/ 0 w 5410200"/>
              <a:gd name="csY18" fmla="*/ 0 h 182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9221" name="Rectangle 3">
            <a:extLst>
              <a:ext uri="{FF2B5EF4-FFF2-40B4-BE49-F238E27FC236}">
                <a16:creationId xmlns:a16="http://schemas.microsoft.com/office/drawing/2014/main" id="{009ACBBB-DCC6-FDC0-D566-CBD8BCD59CBC}"/>
              </a:ext>
            </a:extLst>
          </p:cNvPr>
          <p:cNvGraphicFramePr/>
          <p:nvPr>
            <p:extLst>
              <p:ext uri="{D42A27DB-BD31-4B8C-83A1-F6EECF244321}">
                <p14:modId xmlns:p14="http://schemas.microsoft.com/office/powerpoint/2010/main" val="3094970309"/>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355669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5B822AE0-D59F-0153-E0BE-C5511C7A0CCB}"/>
              </a:ext>
            </a:extLst>
          </p:cNvPr>
          <p:cNvSpPr>
            <a:spLocks noGrp="1"/>
          </p:cNvSpPr>
          <p:nvPr>
            <p:ph type="title"/>
          </p:nvPr>
        </p:nvSpPr>
        <p:spPr>
          <a:xfrm>
            <a:off x="686834" y="1153572"/>
            <a:ext cx="3200400" cy="4461163"/>
          </a:xfrm>
        </p:spPr>
        <p:txBody>
          <a:bodyPr>
            <a:normAutofit/>
          </a:bodyPr>
          <a:lstStyle/>
          <a:p>
            <a:pPr>
              <a:defRPr/>
            </a:pPr>
            <a:r>
              <a:rPr lang="da-DK" b="1">
                <a:solidFill>
                  <a:srgbClr val="FFFFFF"/>
                </a:solidFill>
              </a:rPr>
              <a:t>Aftale om 6. ferieuge </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Pladsholder til indhold 2">
            <a:extLst>
              <a:ext uri="{FF2B5EF4-FFF2-40B4-BE49-F238E27FC236}">
                <a16:creationId xmlns:a16="http://schemas.microsoft.com/office/drawing/2014/main" id="{38433EC5-3532-E882-9795-C08B7CCBB2B2}"/>
              </a:ext>
            </a:extLst>
          </p:cNvPr>
          <p:cNvSpPr>
            <a:spLocks noGrp="1"/>
          </p:cNvSpPr>
          <p:nvPr>
            <p:ph idx="1"/>
          </p:nvPr>
        </p:nvSpPr>
        <p:spPr>
          <a:xfrm>
            <a:off x="3976778" y="379562"/>
            <a:ext cx="7377022" cy="5797401"/>
          </a:xfrm>
        </p:spPr>
        <p:txBody>
          <a:bodyPr anchor="ctr">
            <a:normAutofit/>
          </a:bodyPr>
          <a:lstStyle/>
          <a:p>
            <a:pPr>
              <a:defRPr/>
            </a:pPr>
            <a:r>
              <a:rPr lang="da-DK" dirty="0"/>
              <a:t>6. ferieuge er </a:t>
            </a:r>
            <a:r>
              <a:rPr lang="da-DK" b="1" i="1" dirty="0"/>
              <a:t>ikke</a:t>
            </a:r>
            <a:r>
              <a:rPr lang="da-DK" dirty="0"/>
              <a:t> overgået til samtidighedsferie </a:t>
            </a:r>
          </a:p>
          <a:p>
            <a:pPr marL="0" indent="0">
              <a:buNone/>
              <a:defRPr/>
            </a:pPr>
            <a:endParaRPr lang="da-DK" dirty="0"/>
          </a:p>
          <a:p>
            <a:pPr>
              <a:defRPr/>
            </a:pPr>
            <a:r>
              <a:rPr lang="da-DK" dirty="0"/>
              <a:t>6. ferieuge skal derfor fortsat optjenes og afholdes forskudt</a:t>
            </a:r>
          </a:p>
          <a:p>
            <a:pPr marL="0" indent="0">
              <a:buNone/>
              <a:defRPr/>
            </a:pPr>
            <a:endParaRPr lang="da-DK" dirty="0"/>
          </a:p>
          <a:p>
            <a:pPr>
              <a:defRPr/>
            </a:pPr>
            <a:r>
              <a:rPr lang="da-DK" dirty="0"/>
              <a:t>Optjenes i kalenderår: 01.01 – 31.12</a:t>
            </a:r>
          </a:p>
          <a:p>
            <a:pPr>
              <a:defRPr/>
            </a:pPr>
            <a:endParaRPr lang="da-DK" dirty="0"/>
          </a:p>
          <a:p>
            <a:pPr>
              <a:defRPr/>
            </a:pPr>
            <a:r>
              <a:rPr lang="da-DK" dirty="0"/>
              <a:t>Afholdes i periode: 01.05 – 30.04</a:t>
            </a:r>
          </a:p>
          <a:p>
            <a:pPr>
              <a:defRPr/>
            </a:pPr>
            <a:endParaRPr lang="da-DK" dirty="0"/>
          </a:p>
          <a:p>
            <a:pPr>
              <a:defRPr/>
            </a:pPr>
            <a:r>
              <a:rPr lang="da-DK" dirty="0"/>
              <a:t>Kan vælges udbetalt (meddeles senest 01.10 året før)</a:t>
            </a:r>
          </a:p>
          <a:p>
            <a:pPr marL="0" indent="0">
              <a:buNone/>
              <a:defRPr/>
            </a:pPr>
            <a:endParaRPr lang="da-DK" dirty="0"/>
          </a:p>
        </p:txBody>
      </p:sp>
    </p:spTree>
    <p:extLst>
      <p:ext uri="{BB962C8B-B14F-4D97-AF65-F5344CB8AC3E}">
        <p14:creationId xmlns:p14="http://schemas.microsoft.com/office/powerpoint/2010/main" val="36342849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536" name="Rectangle 22535">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538" name="Rectangle 22537">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534" name="Rectangle 22539">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535" name="Rectangle 22541">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543" name="Freeform: Shape 22543">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545" name="Rectangle 22545">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530" name="Rectangle 2">
            <a:extLst>
              <a:ext uri="{FF2B5EF4-FFF2-40B4-BE49-F238E27FC236}">
                <a16:creationId xmlns:a16="http://schemas.microsoft.com/office/drawing/2014/main" id="{B970A269-1505-510C-BEB3-EFF013437DA9}"/>
              </a:ext>
            </a:extLst>
          </p:cNvPr>
          <p:cNvSpPr>
            <a:spLocks noGrp="1" noChangeArrowheads="1"/>
          </p:cNvSpPr>
          <p:nvPr>
            <p:ph type="title"/>
          </p:nvPr>
        </p:nvSpPr>
        <p:spPr>
          <a:xfrm>
            <a:off x="586478" y="1683756"/>
            <a:ext cx="3115265" cy="2396359"/>
          </a:xfrm>
        </p:spPr>
        <p:txBody>
          <a:bodyPr anchor="b">
            <a:normAutofit/>
          </a:bodyPr>
          <a:lstStyle/>
          <a:p>
            <a:pPr algn="r"/>
            <a:r>
              <a:rPr lang="da-DK" sz="4000">
                <a:solidFill>
                  <a:srgbClr val="FFFFFF"/>
                </a:solidFill>
              </a:rPr>
              <a:t>Arbejdsgivers varsling af ferie </a:t>
            </a:r>
          </a:p>
        </p:txBody>
      </p:sp>
      <p:graphicFrame>
        <p:nvGraphicFramePr>
          <p:cNvPr id="22532" name="Pladsholder til indhold 4">
            <a:extLst>
              <a:ext uri="{FF2B5EF4-FFF2-40B4-BE49-F238E27FC236}">
                <a16:creationId xmlns:a16="http://schemas.microsoft.com/office/drawing/2014/main" id="{BA263FEE-0335-4732-9DAE-0B4AF682C7D0}"/>
              </a:ext>
            </a:extLst>
          </p:cNvPr>
          <p:cNvGraphicFramePr>
            <a:graphicFrameLocks noGrp="1"/>
          </p:cNvGraphicFramePr>
          <p:nvPr>
            <p:ph idx="1"/>
            <p:extLst>
              <p:ext uri="{D42A27DB-BD31-4B8C-83A1-F6EECF244321}">
                <p14:modId xmlns:p14="http://schemas.microsoft.com/office/powerpoint/2010/main" val="868467393"/>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5495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8">
            <a:extLst>
              <a:ext uri="{FF2B5EF4-FFF2-40B4-BE49-F238E27FC236}">
                <a16:creationId xmlns:a16="http://schemas.microsoft.com/office/drawing/2014/main" id="{D009D6D5-DAC2-4A8B-A17A-E206B9012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E7A3E1E9-771A-DED1-86FA-85A7DFA4352B}"/>
              </a:ext>
            </a:extLst>
          </p:cNvPr>
          <p:cNvSpPr>
            <a:spLocks noGrp="1"/>
          </p:cNvSpPr>
          <p:nvPr>
            <p:ph type="title"/>
          </p:nvPr>
        </p:nvSpPr>
        <p:spPr>
          <a:xfrm>
            <a:off x="838201" y="365125"/>
            <a:ext cx="5251316" cy="1807305"/>
          </a:xfrm>
        </p:spPr>
        <p:txBody>
          <a:bodyPr>
            <a:normAutofit/>
          </a:bodyPr>
          <a:lstStyle/>
          <a:p>
            <a:r>
              <a:rPr lang="da-DK" b="1"/>
              <a:t>Når ferieønsker er godkendt af ledelse</a:t>
            </a:r>
            <a:endParaRPr lang="da-DK"/>
          </a:p>
        </p:txBody>
      </p:sp>
      <p:sp>
        <p:nvSpPr>
          <p:cNvPr id="3" name="Pladsholder til indhold 2">
            <a:extLst>
              <a:ext uri="{FF2B5EF4-FFF2-40B4-BE49-F238E27FC236}">
                <a16:creationId xmlns:a16="http://schemas.microsoft.com/office/drawing/2014/main" id="{263EC2C8-5BB2-5537-7A68-59315039E71D}"/>
              </a:ext>
            </a:extLst>
          </p:cNvPr>
          <p:cNvSpPr>
            <a:spLocks noGrp="1"/>
          </p:cNvSpPr>
          <p:nvPr>
            <p:ph idx="1"/>
          </p:nvPr>
        </p:nvSpPr>
        <p:spPr>
          <a:xfrm>
            <a:off x="838200" y="2333297"/>
            <a:ext cx="4619621" cy="3843666"/>
          </a:xfrm>
        </p:spPr>
        <p:txBody>
          <a:bodyPr>
            <a:normAutofit/>
          </a:bodyPr>
          <a:lstStyle/>
          <a:p>
            <a:pPr marL="0" marR="0" lvl="0" indent="0" algn="l" defTabSz="914400" rtl="0" eaLnBrk="1" fontAlgn="auto" latinLnBrk="0" hangingPunct="1">
              <a:lnSpc>
                <a:spcPct val="90000"/>
              </a:lnSpc>
              <a:spcBef>
                <a:spcPts val="1000"/>
              </a:spcBef>
              <a:spcAft>
                <a:spcPts val="0"/>
              </a:spcAft>
              <a:buClrTx/>
              <a:buSzTx/>
              <a:buNone/>
              <a:tabLst/>
              <a:defRPr/>
            </a:pPr>
            <a:endParaRPr lang="da-DK" sz="2000" dirty="0"/>
          </a:p>
          <a:p>
            <a:pPr marL="0" marR="0" lvl="0" indent="0" algn="l" defTabSz="914400" rtl="0" eaLnBrk="1" fontAlgn="auto" latinLnBrk="0" hangingPunct="1">
              <a:lnSpc>
                <a:spcPct val="90000"/>
              </a:lnSpc>
              <a:spcBef>
                <a:spcPts val="1000"/>
              </a:spcBef>
              <a:spcAft>
                <a:spcPts val="0"/>
              </a:spcAft>
              <a:buClrTx/>
              <a:buSzTx/>
              <a:buNone/>
              <a:tabLst/>
              <a:defRPr/>
            </a:pPr>
            <a:r>
              <a:rPr lang="da-DK" sz="2000" dirty="0"/>
              <a:t>Kan ledelsen ikke annullere eller ændre på ferien. </a:t>
            </a:r>
            <a:r>
              <a:rPr kumimoji="0" lang="da-DK" sz="2000" b="0" i="0" u="none" strike="noStrike" kern="1200" cap="none" spc="0" normalizeH="0" baseline="0" noProof="0" dirty="0">
                <a:ln>
                  <a:noFill/>
                </a:ln>
                <a:solidFill>
                  <a:prstClr val="black"/>
                </a:solidFill>
                <a:effectLst/>
                <a:uLnTx/>
                <a:uFillTx/>
                <a:latin typeface="Calibri" panose="020F0502020204030204"/>
                <a:ea typeface="+mn-ea"/>
                <a:cs typeface="+mn-cs"/>
              </a:rPr>
              <a:t>Kun force majeure situationer kan ændre på godkendt ferie.</a:t>
            </a:r>
            <a:endParaRPr lang="da-DK" sz="2000" dirty="0"/>
          </a:p>
          <a:p>
            <a:pPr marL="0" indent="0">
              <a:buNone/>
            </a:pPr>
            <a:endParaRPr lang="da-DK" sz="2000" dirty="0"/>
          </a:p>
          <a:p>
            <a:pPr marL="0" indent="0">
              <a:buNone/>
            </a:pPr>
            <a:r>
              <a:rPr lang="da-DK" sz="2000" dirty="0"/>
              <a:t>Den ansatte kan ikke selv beslutte, at den skal flyttes eller annulleres.</a:t>
            </a:r>
          </a:p>
          <a:p>
            <a:pPr marL="514350" indent="-514350">
              <a:buAutoNum type="arabicPeriod" startAt="2"/>
            </a:pPr>
            <a:endParaRPr lang="da-DK" sz="2000" dirty="0"/>
          </a:p>
          <a:p>
            <a:pPr marL="514350" indent="-514350">
              <a:buFont typeface="+mj-lt"/>
              <a:buAutoNum type="arabicPeriod"/>
            </a:pPr>
            <a:endParaRPr lang="da-DK" sz="2000" dirty="0"/>
          </a:p>
        </p:txBody>
      </p:sp>
      <p:pic>
        <p:nvPicPr>
          <p:cNvPr id="4" name="Billede 3" descr="Et billede, der indeholder værktøj, hammer, sky, håndværktøj&#10;&#10;AI-genereret indhold kan være ukorrekt.">
            <a:extLst>
              <a:ext uri="{FF2B5EF4-FFF2-40B4-BE49-F238E27FC236}">
                <a16:creationId xmlns:a16="http://schemas.microsoft.com/office/drawing/2014/main" id="{CBAAC9D2-5996-7EC2-1640-4B302FDBB373}"/>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27782" r="27441" b="-1"/>
          <a:stretch>
            <a:fillRect/>
          </a:stretch>
        </p:blipFill>
        <p:spPr>
          <a:xfrm>
            <a:off x="6229215"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Tree>
    <p:extLst>
      <p:ext uri="{BB962C8B-B14F-4D97-AF65-F5344CB8AC3E}">
        <p14:creationId xmlns:p14="http://schemas.microsoft.com/office/powerpoint/2010/main" val="3750263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3268" name="Picture 53267" descr="Et billede, der indeholder kunst, Farverigt&#10;&#10;AI-genereret indhold kan være ukorrekt.">
            <a:extLst>
              <a:ext uri="{FF2B5EF4-FFF2-40B4-BE49-F238E27FC236}">
                <a16:creationId xmlns:a16="http://schemas.microsoft.com/office/drawing/2014/main" id="{4022ED43-CD4C-9414-6F41-13F5BBFE07FD}"/>
              </a:ext>
            </a:extLst>
          </p:cNvPr>
          <p:cNvPicPr>
            <a:picLocks noChangeAspect="1"/>
          </p:cNvPicPr>
          <p:nvPr/>
        </p:nvPicPr>
        <p:blipFill>
          <a:blip r:embed="rId3">
            <a:duotone>
              <a:schemeClr val="bg2">
                <a:shade val="45000"/>
                <a:satMod val="135000"/>
              </a:schemeClr>
              <a:prstClr val="white"/>
            </a:duotone>
          </a:blip>
          <a:srcRect/>
          <a:stretch>
            <a:fillRect/>
          </a:stretch>
        </p:blipFill>
        <p:spPr>
          <a:xfrm>
            <a:off x="20" y="10"/>
            <a:ext cx="12191980" cy="6857990"/>
          </a:xfrm>
          <a:prstGeom prst="rect">
            <a:avLst/>
          </a:prstGeom>
        </p:spPr>
      </p:pic>
      <p:sp>
        <p:nvSpPr>
          <p:cNvPr id="53272" name="Rectangle 53271">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250" name="Rectangle 2">
            <a:extLst>
              <a:ext uri="{FF2B5EF4-FFF2-40B4-BE49-F238E27FC236}">
                <a16:creationId xmlns:a16="http://schemas.microsoft.com/office/drawing/2014/main" id="{00555BE6-74C0-9429-7432-F17595A7ED67}"/>
              </a:ext>
            </a:extLst>
          </p:cNvPr>
          <p:cNvSpPr>
            <a:spLocks noGrp="1" noChangeArrowheads="1"/>
          </p:cNvSpPr>
          <p:nvPr>
            <p:ph type="title"/>
          </p:nvPr>
        </p:nvSpPr>
        <p:spPr>
          <a:xfrm>
            <a:off x="838200" y="365125"/>
            <a:ext cx="10515600" cy="1325563"/>
          </a:xfrm>
        </p:spPr>
        <p:txBody>
          <a:bodyPr>
            <a:normAutofit/>
          </a:bodyPr>
          <a:lstStyle/>
          <a:p>
            <a:pPr eaLnBrk="1" hangingPunct="1">
              <a:defRPr/>
            </a:pPr>
            <a:r>
              <a:rPr lang="da-DK" b="1"/>
              <a:t>Feriens start og feriens afslutning</a:t>
            </a:r>
          </a:p>
        </p:txBody>
      </p:sp>
      <p:graphicFrame>
        <p:nvGraphicFramePr>
          <p:cNvPr id="53253" name="Rectangle 3">
            <a:extLst>
              <a:ext uri="{FF2B5EF4-FFF2-40B4-BE49-F238E27FC236}">
                <a16:creationId xmlns:a16="http://schemas.microsoft.com/office/drawing/2014/main" id="{EDA9EA86-67BB-3B70-1466-E0742134BCD6}"/>
              </a:ext>
            </a:extLst>
          </p:cNvPr>
          <p:cNvGraphicFramePr/>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62697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8">
            <a:extLst>
              <a:ext uri="{FF2B5EF4-FFF2-40B4-BE49-F238E27FC236}">
                <a16:creationId xmlns:a16="http://schemas.microsoft.com/office/drawing/2014/main" id="{2659FDB4-FCBE-4A89-B46D-43D4FA5446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313"/>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4EC479EA-1782-CC7C-CD2E-05295A19EBA0}"/>
              </a:ext>
            </a:extLst>
          </p:cNvPr>
          <p:cNvSpPr>
            <a:spLocks noGrp="1"/>
          </p:cNvSpPr>
          <p:nvPr>
            <p:ph type="title"/>
          </p:nvPr>
        </p:nvSpPr>
        <p:spPr>
          <a:xfrm>
            <a:off x="479393" y="1070800"/>
            <a:ext cx="4330729" cy="5583126"/>
          </a:xfrm>
        </p:spPr>
        <p:txBody>
          <a:bodyPr>
            <a:normAutofit/>
          </a:bodyPr>
          <a:lstStyle/>
          <a:p>
            <a:r>
              <a:rPr lang="da-DK" sz="3600" b="1" dirty="0"/>
              <a:t>Sygdom opstået</a:t>
            </a:r>
            <a:br>
              <a:rPr lang="da-DK" sz="3600" b="1" dirty="0"/>
            </a:br>
            <a:r>
              <a:rPr lang="da-DK" sz="3600" b="1" dirty="0"/>
              <a:t>før ferien påbegyndes </a:t>
            </a:r>
          </a:p>
        </p:txBody>
      </p:sp>
      <p:cxnSp>
        <p:nvCxnSpPr>
          <p:cNvPr id="14" name="Straight Connector 10">
            <a:extLst>
              <a:ext uri="{FF2B5EF4-FFF2-40B4-BE49-F238E27FC236}">
                <a16:creationId xmlns:a16="http://schemas.microsoft.com/office/drawing/2014/main" id="{C8F51B3F-8331-4E4A-AE96-D47B1006EEA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28053" y="1132114"/>
            <a:ext cx="0" cy="5717573"/>
          </a:xfrm>
          <a:prstGeom prst="line">
            <a:avLst/>
          </a:prstGeom>
          <a:ln w="25400" cap="sq">
            <a:gradFill flip="none" rotWithShape="1">
              <a:gsLst>
                <a:gs pos="0">
                  <a:schemeClr val="accent1"/>
                </a:gs>
                <a:gs pos="100000">
                  <a:schemeClr val="accent2"/>
                </a:gs>
              </a:gsLst>
              <a:lin ang="16200000" scaled="1"/>
              <a:tileRect/>
            </a:gradFill>
            <a:bevel/>
          </a:ln>
        </p:spPr>
        <p:style>
          <a:lnRef idx="1">
            <a:schemeClr val="accent1"/>
          </a:lnRef>
          <a:fillRef idx="0">
            <a:schemeClr val="accent1"/>
          </a:fillRef>
          <a:effectRef idx="0">
            <a:schemeClr val="accent1"/>
          </a:effectRef>
          <a:fontRef idx="minor">
            <a:schemeClr val="tx1"/>
          </a:fontRef>
        </p:style>
      </p:cxnSp>
      <p:graphicFrame>
        <p:nvGraphicFramePr>
          <p:cNvPr id="15" name="Pladsholder til indhold 2">
            <a:extLst>
              <a:ext uri="{FF2B5EF4-FFF2-40B4-BE49-F238E27FC236}">
                <a16:creationId xmlns:a16="http://schemas.microsoft.com/office/drawing/2014/main" id="{94032156-FDA6-C857-A314-D79E9D922D1D}"/>
              </a:ext>
            </a:extLst>
          </p:cNvPr>
          <p:cNvGraphicFramePr>
            <a:graphicFrameLocks noGrp="1"/>
          </p:cNvGraphicFramePr>
          <p:nvPr>
            <p:ph idx="1"/>
          </p:nvPr>
        </p:nvGraphicFramePr>
        <p:xfrm>
          <a:off x="5108535" y="1070800"/>
          <a:ext cx="6245265" cy="55893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119521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305" name="Rectangle 12304">
            <a:extLst>
              <a:ext uri="{FF2B5EF4-FFF2-40B4-BE49-F238E27FC236}">
                <a16:creationId xmlns:a16="http://schemas.microsoft.com/office/drawing/2014/main" id="{0E3596DD-156A-473E-9BB3-C6A29F7574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07" name="Freeform: Shape 12306">
            <a:extLst>
              <a:ext uri="{FF2B5EF4-FFF2-40B4-BE49-F238E27FC236}">
                <a16:creationId xmlns:a16="http://schemas.microsoft.com/office/drawing/2014/main" id="{2C46C4D6-C474-4E92-B52E-944C1118F7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962785" cy="6858000"/>
          </a:xfrm>
          <a:custGeom>
            <a:avLst/>
            <a:gdLst>
              <a:gd name="connsiteX0" fmla="*/ 1044839 w 5962785"/>
              <a:gd name="connsiteY0" fmla="*/ 0 h 6858000"/>
              <a:gd name="connsiteX1" fmla="*/ 5962785 w 5962785"/>
              <a:gd name="connsiteY1" fmla="*/ 0 h 6858000"/>
              <a:gd name="connsiteX2" fmla="*/ 5962785 w 5962785"/>
              <a:gd name="connsiteY2" fmla="*/ 6858000 h 6858000"/>
              <a:gd name="connsiteX3" fmla="*/ 1469886 w 5962785"/>
              <a:gd name="connsiteY3" fmla="*/ 6858000 h 6858000"/>
              <a:gd name="connsiteX4" fmla="*/ 1416006 w 5962785"/>
              <a:gd name="connsiteY4" fmla="*/ 6823984 h 6858000"/>
              <a:gd name="connsiteX5" fmla="*/ 1232473 w 5962785"/>
              <a:gd name="connsiteY5" fmla="*/ 6733873 h 6858000"/>
              <a:gd name="connsiteX6" fmla="*/ 1075471 w 5962785"/>
              <a:gd name="connsiteY6" fmla="*/ 6503186 h 6858000"/>
              <a:gd name="connsiteX7" fmla="*/ 1020229 w 5962785"/>
              <a:gd name="connsiteY7" fmla="*/ 6438306 h 6858000"/>
              <a:gd name="connsiteX8" fmla="*/ 883579 w 5962785"/>
              <a:gd name="connsiteY8" fmla="*/ 6351798 h 6858000"/>
              <a:gd name="connsiteX9" fmla="*/ 645167 w 5962785"/>
              <a:gd name="connsiteY9" fmla="*/ 6167969 h 6858000"/>
              <a:gd name="connsiteX10" fmla="*/ 732391 w 5962785"/>
              <a:gd name="connsiteY10" fmla="*/ 6124716 h 6858000"/>
              <a:gd name="connsiteX11" fmla="*/ 985339 w 5962785"/>
              <a:gd name="connsiteY11" fmla="*/ 6236455 h 6858000"/>
              <a:gd name="connsiteX12" fmla="*/ 1168509 w 5962785"/>
              <a:gd name="connsiteY12" fmla="*/ 6265291 h 6858000"/>
              <a:gd name="connsiteX13" fmla="*/ 909746 w 5962785"/>
              <a:gd name="connsiteY13" fmla="*/ 6070649 h 6858000"/>
              <a:gd name="connsiteX14" fmla="*/ 659704 w 5962785"/>
              <a:gd name="connsiteY14" fmla="*/ 5818335 h 6858000"/>
              <a:gd name="connsiteX15" fmla="*/ 851597 w 5962785"/>
              <a:gd name="connsiteY15" fmla="*/ 5865193 h 6858000"/>
              <a:gd name="connsiteX16" fmla="*/ 860319 w 5962785"/>
              <a:gd name="connsiteY16" fmla="*/ 5832753 h 6858000"/>
              <a:gd name="connsiteX17" fmla="*/ 691686 w 5962785"/>
              <a:gd name="connsiteY17" fmla="*/ 5533581 h 6858000"/>
              <a:gd name="connsiteX18" fmla="*/ 610278 w 5962785"/>
              <a:gd name="connsiteY18" fmla="*/ 5411029 h 6858000"/>
              <a:gd name="connsiteX19" fmla="*/ 238123 w 5962785"/>
              <a:gd name="connsiteY19" fmla="*/ 5046976 h 6858000"/>
              <a:gd name="connsiteX20" fmla="*/ 592833 w 5962785"/>
              <a:gd name="connsiteY20" fmla="*/ 5209177 h 6858000"/>
              <a:gd name="connsiteX21" fmla="*/ 226494 w 5962785"/>
              <a:gd name="connsiteY21" fmla="*/ 4855939 h 6858000"/>
              <a:gd name="connsiteX22" fmla="*/ 49139 w 5962785"/>
              <a:gd name="connsiteY22" fmla="*/ 4726177 h 6858000"/>
              <a:gd name="connsiteX23" fmla="*/ 5527 w 5962785"/>
              <a:gd name="connsiteY23" fmla="*/ 4650483 h 6858000"/>
              <a:gd name="connsiteX24" fmla="*/ 84029 w 5962785"/>
              <a:gd name="connsiteY24" fmla="*/ 4632460 h 6858000"/>
              <a:gd name="connsiteX25" fmla="*/ 325347 w 5962785"/>
              <a:gd name="connsiteY25" fmla="*/ 4661296 h 6858000"/>
              <a:gd name="connsiteX26" fmla="*/ 25879 w 5962785"/>
              <a:gd name="connsiteY26" fmla="*/ 4423401 h 6858000"/>
              <a:gd name="connsiteX27" fmla="*/ 249753 w 5962785"/>
              <a:gd name="connsiteY27" fmla="*/ 4459446 h 6858000"/>
              <a:gd name="connsiteX28" fmla="*/ 313718 w 5962785"/>
              <a:gd name="connsiteY28" fmla="*/ 4365729 h 6858000"/>
              <a:gd name="connsiteX29" fmla="*/ 418386 w 5962785"/>
              <a:gd name="connsiteY29" fmla="*/ 4214341 h 6858000"/>
              <a:gd name="connsiteX30" fmla="*/ 491072 w 5962785"/>
              <a:gd name="connsiteY30" fmla="*/ 4131438 h 6858000"/>
              <a:gd name="connsiteX31" fmla="*/ 520147 w 5962785"/>
              <a:gd name="connsiteY31" fmla="*/ 3864706 h 6858000"/>
              <a:gd name="connsiteX32" fmla="*/ 459090 w 5962785"/>
              <a:gd name="connsiteY32" fmla="*/ 3572743 h 6858000"/>
              <a:gd name="connsiteX33" fmla="*/ 290458 w 5962785"/>
              <a:gd name="connsiteY33" fmla="*/ 3424959 h 6858000"/>
              <a:gd name="connsiteX34" fmla="*/ 339884 w 5962785"/>
              <a:gd name="connsiteY34" fmla="*/ 3259153 h 6858000"/>
              <a:gd name="connsiteX35" fmla="*/ 697501 w 5962785"/>
              <a:gd name="connsiteY35" fmla="*/ 3360078 h 6858000"/>
              <a:gd name="connsiteX36" fmla="*/ 165437 w 5962785"/>
              <a:gd name="connsiteY36" fmla="*/ 2967190 h 6858000"/>
              <a:gd name="connsiteX37" fmla="*/ 255568 w 5962785"/>
              <a:gd name="connsiteY37" fmla="*/ 2949167 h 6858000"/>
              <a:gd name="connsiteX38" fmla="*/ 578296 w 5962785"/>
              <a:gd name="connsiteY38" fmla="*/ 2725691 h 6858000"/>
              <a:gd name="connsiteX39" fmla="*/ 595740 w 5962785"/>
              <a:gd name="connsiteY39" fmla="*/ 2714876 h 6858000"/>
              <a:gd name="connsiteX40" fmla="*/ 650982 w 5962785"/>
              <a:gd name="connsiteY40" fmla="*/ 2574301 h 6858000"/>
              <a:gd name="connsiteX41" fmla="*/ 825429 w 5962785"/>
              <a:gd name="connsiteY41" fmla="*/ 2552674 h 6858000"/>
              <a:gd name="connsiteX42" fmla="*/ 970802 w 5962785"/>
              <a:gd name="connsiteY42" fmla="*/ 2585115 h 6858000"/>
              <a:gd name="connsiteX43" fmla="*/ 1127805 w 5962785"/>
              <a:gd name="connsiteY43" fmla="*/ 2545465 h 6858000"/>
              <a:gd name="connsiteX44" fmla="*/ 1267362 w 5962785"/>
              <a:gd name="connsiteY44" fmla="*/ 2563488 h 6858000"/>
              <a:gd name="connsiteX45" fmla="*/ 1386568 w 5962785"/>
              <a:gd name="connsiteY45" fmla="*/ 2538257 h 6858000"/>
              <a:gd name="connsiteX46" fmla="*/ 1270270 w 5962785"/>
              <a:gd name="connsiteY46" fmla="*/ 2419309 h 6858000"/>
              <a:gd name="connsiteX47" fmla="*/ 1107453 w 5962785"/>
              <a:gd name="connsiteY47" fmla="*/ 2419309 h 6858000"/>
              <a:gd name="connsiteX48" fmla="*/ 991154 w 5962785"/>
              <a:gd name="connsiteY48" fmla="*/ 2343615 h 6858000"/>
              <a:gd name="connsiteX49" fmla="*/ 880671 w 5962785"/>
              <a:gd name="connsiteY49" fmla="*/ 2206645 h 6858000"/>
              <a:gd name="connsiteX50" fmla="*/ 491072 w 5962785"/>
              <a:gd name="connsiteY50" fmla="*/ 1986771 h 6858000"/>
              <a:gd name="connsiteX51" fmla="*/ 421293 w 5962785"/>
              <a:gd name="connsiteY51" fmla="*/ 1903868 h 6858000"/>
              <a:gd name="connsiteX52" fmla="*/ 1531941 w 5962785"/>
              <a:gd name="connsiteY52" fmla="*/ 2224667 h 6858000"/>
              <a:gd name="connsiteX53" fmla="*/ 1188861 w 5962785"/>
              <a:gd name="connsiteY53" fmla="*/ 2091301 h 6858000"/>
              <a:gd name="connsiteX54" fmla="*/ 1421458 w 5962785"/>
              <a:gd name="connsiteY54" fmla="*/ 2116532 h 6858000"/>
              <a:gd name="connsiteX55" fmla="*/ 1549386 w 5962785"/>
              <a:gd name="connsiteY55" fmla="*/ 2026420 h 6858000"/>
              <a:gd name="connsiteX56" fmla="*/ 1549386 w 5962785"/>
              <a:gd name="connsiteY56" fmla="*/ 1997584 h 6858000"/>
              <a:gd name="connsiteX57" fmla="*/ 1453440 w 5962785"/>
              <a:gd name="connsiteY57" fmla="*/ 1914682 h 6858000"/>
              <a:gd name="connsiteX58" fmla="*/ 1398198 w 5962785"/>
              <a:gd name="connsiteY58" fmla="*/ 1860614 h 6858000"/>
              <a:gd name="connsiteX59" fmla="*/ 1247011 w 5962785"/>
              <a:gd name="connsiteY59" fmla="*/ 1665972 h 6858000"/>
              <a:gd name="connsiteX60" fmla="*/ 1354586 w 5962785"/>
              <a:gd name="connsiteY60" fmla="*/ 1644345 h 6858000"/>
              <a:gd name="connsiteX61" fmla="*/ 1395290 w 5962785"/>
              <a:gd name="connsiteY61" fmla="*/ 1604696 h 6858000"/>
              <a:gd name="connsiteX62" fmla="*/ 1366216 w 5962785"/>
              <a:gd name="connsiteY62" fmla="*/ 1547025 h 6858000"/>
              <a:gd name="connsiteX63" fmla="*/ 1031858 w 5962785"/>
              <a:gd name="connsiteY63" fmla="*/ 1370405 h 6858000"/>
              <a:gd name="connsiteX64" fmla="*/ 1005692 w 5962785"/>
              <a:gd name="connsiteY64" fmla="*/ 1233435 h 6858000"/>
              <a:gd name="connsiteX65" fmla="*/ 1069655 w 5962785"/>
              <a:gd name="connsiteY65" fmla="*/ 1211808 h 6858000"/>
              <a:gd name="connsiteX66" fmla="*/ 1142342 w 5962785"/>
              <a:gd name="connsiteY66" fmla="*/ 1222621 h 6858000"/>
              <a:gd name="connsiteX67" fmla="*/ 1084193 w 5962785"/>
              <a:gd name="connsiteY67" fmla="*/ 1114487 h 6858000"/>
              <a:gd name="connsiteX68" fmla="*/ 848689 w 5962785"/>
              <a:gd name="connsiteY68" fmla="*/ 1006353 h 6858000"/>
              <a:gd name="connsiteX69" fmla="*/ 805077 w 5962785"/>
              <a:gd name="connsiteY69" fmla="*/ 948681 h 6858000"/>
              <a:gd name="connsiteX70" fmla="*/ 863226 w 5962785"/>
              <a:gd name="connsiteY70" fmla="*/ 919844 h 6858000"/>
              <a:gd name="connsiteX71" fmla="*/ 906838 w 5962785"/>
              <a:gd name="connsiteY71" fmla="*/ 909031 h 6858000"/>
              <a:gd name="connsiteX72" fmla="*/ 5527 w 5962785"/>
              <a:gd name="connsiteY72" fmla="*/ 458471 h 6858000"/>
              <a:gd name="connsiteX73" fmla="*/ 209049 w 5962785"/>
              <a:gd name="connsiteY73" fmla="*/ 454867 h 6858000"/>
              <a:gd name="connsiteX74" fmla="*/ 409664 w 5962785"/>
              <a:gd name="connsiteY74" fmla="*/ 526956 h 6858000"/>
              <a:gd name="connsiteX75" fmla="*/ 621908 w 5962785"/>
              <a:gd name="connsiteY75" fmla="*/ 516143 h 6858000"/>
              <a:gd name="connsiteX76" fmla="*/ 822522 w 5962785"/>
              <a:gd name="connsiteY76" fmla="*/ 552188 h 6858000"/>
              <a:gd name="connsiteX77" fmla="*/ 996969 w 5962785"/>
              <a:gd name="connsiteY77" fmla="*/ 552188 h 6858000"/>
              <a:gd name="connsiteX78" fmla="*/ 834151 w 5962785"/>
              <a:gd name="connsiteY78" fmla="*/ 498120 h 6858000"/>
              <a:gd name="connsiteX79" fmla="*/ 773095 w 5962785"/>
              <a:gd name="connsiteY79" fmla="*/ 408008 h 6858000"/>
              <a:gd name="connsiteX80" fmla="*/ 793447 w 5962785"/>
              <a:gd name="connsiteY80" fmla="*/ 325106 h 6858000"/>
              <a:gd name="connsiteX81" fmla="*/ 860319 w 5962785"/>
              <a:gd name="connsiteY81" fmla="*/ 350336 h 6858000"/>
              <a:gd name="connsiteX82" fmla="*/ 938820 w 5962785"/>
              <a:gd name="connsiteY82" fmla="*/ 444054 h 6858000"/>
              <a:gd name="connsiteX83" fmla="*/ 956265 w 5962785"/>
              <a:gd name="connsiteY83" fmla="*/ 386381 h 6858000"/>
              <a:gd name="connsiteX84" fmla="*/ 1002784 w 5962785"/>
              <a:gd name="connsiteY84" fmla="*/ 343127 h 6858000"/>
              <a:gd name="connsiteX85" fmla="*/ 1270270 w 5962785"/>
              <a:gd name="connsiteY85" fmla="*/ 364755 h 6858000"/>
              <a:gd name="connsiteX86" fmla="*/ 1092915 w 5962785"/>
              <a:gd name="connsiteY86" fmla="*/ 180926 h 6858000"/>
              <a:gd name="connsiteX87" fmla="*/ 979525 w 5962785"/>
              <a:gd name="connsiteY87" fmla="*/ 152090 h 6858000"/>
              <a:gd name="connsiteX88" fmla="*/ 953358 w 5962785"/>
              <a:gd name="connsiteY88" fmla="*/ 76396 h 6858000"/>
              <a:gd name="connsiteX89" fmla="*/ 1005692 w 5962785"/>
              <a:gd name="connsiteY89" fmla="*/ 58373 h 6858000"/>
              <a:gd name="connsiteX90" fmla="*/ 1267362 w 5962785"/>
              <a:gd name="connsiteY90" fmla="*/ 123254 h 6858000"/>
              <a:gd name="connsiteX91" fmla="*/ 1310975 w 5962785"/>
              <a:gd name="connsiteY91" fmla="*/ 98023 h 6858000"/>
              <a:gd name="connsiteX92" fmla="*/ 1159787 w 5962785"/>
              <a:gd name="connsiteY92" fmla="*/ 435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solidFill>
            <a:schemeClr val="bg2">
              <a:alpha val="50000"/>
            </a:schemeClr>
          </a:solidFill>
          <a:ln w="32707" cap="flat">
            <a:noFill/>
            <a:prstDash val="solid"/>
            <a:miter/>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90" name="Rectangle 2">
            <a:extLst>
              <a:ext uri="{FF2B5EF4-FFF2-40B4-BE49-F238E27FC236}">
                <a16:creationId xmlns:a16="http://schemas.microsoft.com/office/drawing/2014/main" id="{58AF6CC2-6B32-C0F4-3AFA-E015EBDAA18C}"/>
              </a:ext>
            </a:extLst>
          </p:cNvPr>
          <p:cNvSpPr>
            <a:spLocks noGrp="1" noChangeArrowheads="1"/>
          </p:cNvSpPr>
          <p:nvPr>
            <p:ph type="title"/>
          </p:nvPr>
        </p:nvSpPr>
        <p:spPr>
          <a:xfrm>
            <a:off x="1037128" y="681038"/>
            <a:ext cx="5058871" cy="1800526"/>
          </a:xfrm>
        </p:spPr>
        <p:txBody>
          <a:bodyPr>
            <a:normAutofit/>
          </a:bodyPr>
          <a:lstStyle/>
          <a:p>
            <a:pPr eaLnBrk="1" hangingPunct="1">
              <a:defRPr/>
            </a:pPr>
            <a:r>
              <a:rPr lang="da-DK" b="1" dirty="0"/>
              <a:t>Sygdom under ferien</a:t>
            </a:r>
          </a:p>
        </p:txBody>
      </p:sp>
      <p:sp>
        <p:nvSpPr>
          <p:cNvPr id="12306" name="Rectangle 3">
            <a:extLst>
              <a:ext uri="{FF2B5EF4-FFF2-40B4-BE49-F238E27FC236}">
                <a16:creationId xmlns:a16="http://schemas.microsoft.com/office/drawing/2014/main" id="{689149F8-57D1-22E0-ABCA-B37DA1FE6102}"/>
              </a:ext>
            </a:extLst>
          </p:cNvPr>
          <p:cNvSpPr>
            <a:spLocks noGrp="1" noChangeArrowheads="1"/>
          </p:cNvSpPr>
          <p:nvPr>
            <p:ph type="body" idx="1"/>
          </p:nvPr>
        </p:nvSpPr>
        <p:spPr>
          <a:xfrm>
            <a:off x="838201" y="2623381"/>
            <a:ext cx="3888528" cy="3553581"/>
          </a:xfrm>
        </p:spPr>
        <p:txBody>
          <a:bodyPr>
            <a:normAutofit/>
          </a:bodyPr>
          <a:lstStyle/>
          <a:p>
            <a:pPr eaLnBrk="1" hangingPunct="1">
              <a:defRPr/>
            </a:pPr>
            <a:r>
              <a:rPr lang="da-DK" sz="2000" dirty="0"/>
              <a:t> Erstatningsferie fra 6. sygedag i ferieåret</a:t>
            </a:r>
          </a:p>
          <a:p>
            <a:pPr eaLnBrk="1" hangingPunct="1">
              <a:defRPr/>
            </a:pPr>
            <a:endParaRPr lang="da-DK" sz="2000" dirty="0"/>
          </a:p>
          <a:p>
            <a:pPr eaLnBrk="1" hangingPunct="1">
              <a:defRPr/>
            </a:pPr>
            <a:r>
              <a:rPr lang="da-DK" sz="2000" dirty="0"/>
              <a:t>Sygemelding til arbejdsgiver 1. sygedag i ferien.</a:t>
            </a:r>
          </a:p>
          <a:p>
            <a:pPr marL="0" indent="0" eaLnBrk="1" hangingPunct="1">
              <a:buNone/>
              <a:defRPr/>
            </a:pPr>
            <a:endParaRPr lang="da-DK" sz="2000" dirty="0"/>
          </a:p>
          <a:p>
            <a:pPr eaLnBrk="1" hangingPunct="1">
              <a:defRPr/>
            </a:pPr>
            <a:r>
              <a:rPr lang="da-DK" sz="2000" dirty="0"/>
              <a:t> Sygdom skal kunne dokumenteres ved lægeerklæring</a:t>
            </a:r>
          </a:p>
          <a:p>
            <a:pPr eaLnBrk="1" hangingPunct="1">
              <a:defRPr/>
            </a:pPr>
            <a:r>
              <a:rPr lang="da-DK" sz="2000" dirty="0"/>
              <a:t>- </a:t>
            </a:r>
            <a:r>
              <a:rPr lang="da-DK" sz="2000" dirty="0">
                <a:solidFill>
                  <a:srgbClr val="FF0000"/>
                </a:solidFill>
              </a:rPr>
              <a:t>denne erklæring skal man selv indhente </a:t>
            </a:r>
            <a:r>
              <a:rPr lang="da-DK" sz="2000" b="1" dirty="0">
                <a:solidFill>
                  <a:srgbClr val="FF0000"/>
                </a:solidFill>
              </a:rPr>
              <a:t>OG</a:t>
            </a:r>
            <a:r>
              <a:rPr lang="da-DK" sz="2000" dirty="0">
                <a:solidFill>
                  <a:srgbClr val="FF0000"/>
                </a:solidFill>
              </a:rPr>
              <a:t> betale</a:t>
            </a:r>
          </a:p>
          <a:p>
            <a:pPr marL="0" indent="0" eaLnBrk="1" hangingPunct="1">
              <a:buNone/>
              <a:defRPr/>
            </a:pPr>
            <a:endParaRPr lang="da-DK" sz="2000" dirty="0"/>
          </a:p>
          <a:p>
            <a:pPr marL="0" indent="0" eaLnBrk="1" hangingPunct="1">
              <a:buNone/>
              <a:defRPr/>
            </a:pPr>
            <a:endParaRPr lang="da-DK" sz="2000" dirty="0"/>
          </a:p>
        </p:txBody>
      </p:sp>
      <p:pic>
        <p:nvPicPr>
          <p:cNvPr id="4" name="Billede 3" descr="Et billede, der indeholder tegneserie, clipart, tegning, illustration/afbildning&#10;&#10;AI-genereret indhold kan være ukorrekt.">
            <a:extLst>
              <a:ext uri="{FF2B5EF4-FFF2-40B4-BE49-F238E27FC236}">
                <a16:creationId xmlns:a16="http://schemas.microsoft.com/office/drawing/2014/main" id="{53A969F9-252A-3C0F-830C-3AFF2F94619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1166" r="-2" b="7626"/>
          <a:stretch>
            <a:fillRect/>
          </a:stretch>
        </p:blipFill>
        <p:spPr>
          <a:xfrm>
            <a:off x="6800986" y="1158182"/>
            <a:ext cx="4747547" cy="4569980"/>
          </a:xfrm>
          <a:prstGeom prst="rect">
            <a:avLst/>
          </a:prstGeom>
        </p:spPr>
      </p:pic>
    </p:spTree>
    <p:extLst>
      <p:ext uri="{BB962C8B-B14F-4D97-AF65-F5344CB8AC3E}">
        <p14:creationId xmlns:p14="http://schemas.microsoft.com/office/powerpoint/2010/main" val="7694693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a:extLst>
              <a:ext uri="{FF2B5EF4-FFF2-40B4-BE49-F238E27FC236}">
                <a16:creationId xmlns:a16="http://schemas.microsoft.com/office/drawing/2014/main" id="{90608BA1-479B-B3F2-BC50-AACB44FA32B3}"/>
              </a:ext>
            </a:extLst>
          </p:cNvPr>
          <p:cNvSpPr>
            <a:spLocks noGrp="1" noChangeArrowheads="1"/>
          </p:cNvSpPr>
          <p:nvPr>
            <p:ph type="title"/>
          </p:nvPr>
        </p:nvSpPr>
        <p:spPr/>
        <p:txBody>
          <a:bodyPr/>
          <a:lstStyle/>
          <a:p>
            <a:pPr algn="ctr" eaLnBrk="1" hangingPunct="1">
              <a:defRPr/>
            </a:pPr>
            <a:r>
              <a:rPr lang="da-DK" sz="4000" b="1" dirty="0"/>
              <a:t>Overførsel af ferie </a:t>
            </a:r>
            <a:br>
              <a:rPr lang="da-DK" sz="4000" b="1" dirty="0"/>
            </a:br>
            <a:r>
              <a:rPr lang="da-DK" sz="4000" b="1" dirty="0"/>
              <a:t> udover 4 uger efter eget ønske</a:t>
            </a:r>
          </a:p>
        </p:txBody>
      </p:sp>
      <p:sp>
        <p:nvSpPr>
          <p:cNvPr id="95235" name="Rectangle 3">
            <a:extLst>
              <a:ext uri="{FF2B5EF4-FFF2-40B4-BE49-F238E27FC236}">
                <a16:creationId xmlns:a16="http://schemas.microsoft.com/office/drawing/2014/main" id="{70E2EC81-C7C7-7212-5049-84C7538D63A0}"/>
              </a:ext>
            </a:extLst>
          </p:cNvPr>
          <p:cNvSpPr>
            <a:spLocks noGrp="1" noChangeArrowheads="1"/>
          </p:cNvSpPr>
          <p:nvPr>
            <p:ph type="body" idx="1"/>
          </p:nvPr>
        </p:nvSpPr>
        <p:spPr/>
        <p:txBody>
          <a:bodyPr/>
          <a:lstStyle/>
          <a:p>
            <a:pPr eaLnBrk="1" hangingPunct="1">
              <a:defRPr/>
            </a:pPr>
            <a:r>
              <a:rPr lang="da-DK" sz="2400" dirty="0"/>
              <a:t>Aftale med arbejdsgiver – efter initiativ fra den ansatte</a:t>
            </a:r>
          </a:p>
          <a:p>
            <a:pPr eaLnBrk="1" hangingPunct="1">
              <a:defRPr/>
            </a:pPr>
            <a:endParaRPr lang="da-DK" sz="2400" dirty="0"/>
          </a:p>
          <a:p>
            <a:pPr eaLnBrk="1" hangingPunct="1">
              <a:defRPr/>
            </a:pPr>
            <a:r>
              <a:rPr lang="da-DK" sz="2400" b="1" dirty="0">
                <a:solidFill>
                  <a:srgbClr val="FF0000"/>
                </a:solidFill>
              </a:rPr>
              <a:t>Skriftlig</a:t>
            </a:r>
            <a:r>
              <a:rPr lang="da-DK" sz="2400" dirty="0"/>
              <a:t> aftale indgås inden ferieafholdelsesperiodens udløb 31.12 </a:t>
            </a:r>
          </a:p>
          <a:p>
            <a:pPr eaLnBrk="1" hangingPunct="1">
              <a:defRPr/>
            </a:pPr>
            <a:endParaRPr lang="da-DK" sz="2400" dirty="0"/>
          </a:p>
          <a:p>
            <a:pPr eaLnBrk="1" hangingPunct="1">
              <a:defRPr/>
            </a:pPr>
            <a:r>
              <a:rPr lang="da-DK" sz="2400" dirty="0"/>
              <a:t>Overført ferie afholdes først</a:t>
            </a:r>
          </a:p>
          <a:p>
            <a:pPr marL="0" indent="0" eaLnBrk="1" hangingPunct="1">
              <a:buNone/>
              <a:defRPr/>
            </a:pPr>
            <a:endParaRPr lang="da-DK" sz="2400" dirty="0"/>
          </a:p>
        </p:txBody>
      </p:sp>
      <p:pic>
        <p:nvPicPr>
          <p:cNvPr id="3" name="Billede 2" descr="Et billede, der indeholder cirkel, Font/skrifttype, Grafik, hvid&#10;&#10;AI-genereret indhold kan være ukorrekt.">
            <a:extLst>
              <a:ext uri="{FF2B5EF4-FFF2-40B4-BE49-F238E27FC236}">
                <a16:creationId xmlns:a16="http://schemas.microsoft.com/office/drawing/2014/main" id="{A51F56DC-0C17-EC02-E634-6B7C30CC4966}"/>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315810" y="2871463"/>
            <a:ext cx="4876190" cy="3883020"/>
          </a:xfrm>
          <a:prstGeom prst="rect">
            <a:avLst/>
          </a:prstGeom>
        </p:spPr>
      </p:pic>
    </p:spTree>
    <p:extLst>
      <p:ext uri="{BB962C8B-B14F-4D97-AF65-F5344CB8AC3E}">
        <p14:creationId xmlns:p14="http://schemas.microsoft.com/office/powerpoint/2010/main" val="18125792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A3DF8B7-5057-417D-A865-5EA4F4E816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6273" y="2329593"/>
            <a:ext cx="2307822" cy="43942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Billede 6" descr="Et billede, der indeholder tekst&#10;&#10;Automatisk genereret beskrivelse">
            <a:extLst>
              <a:ext uri="{FF2B5EF4-FFF2-40B4-BE49-F238E27FC236}">
                <a16:creationId xmlns:a16="http://schemas.microsoft.com/office/drawing/2014/main" id="{D0742618-3093-49C3-B637-1418C1AA2D36}"/>
              </a:ext>
            </a:extLst>
          </p:cNvPr>
          <p:cNvPicPr>
            <a:picLocks noChangeAspect="1"/>
          </p:cNvPicPr>
          <p:nvPr/>
        </p:nvPicPr>
        <p:blipFill rotWithShape="1">
          <a:blip r:embed="rId4">
            <a:extLst>
              <a:ext uri="{28A0092B-C50C-407E-A947-70E740481C1C}">
                <a14:useLocalDpi xmlns:a14="http://schemas.microsoft.com/office/drawing/2010/main" val="0"/>
              </a:ext>
            </a:extLst>
          </a:blip>
          <a:srcRect t="-610" r="-2" b="-2"/>
          <a:stretch/>
        </p:blipFill>
        <p:spPr>
          <a:xfrm>
            <a:off x="3142843" y="2322569"/>
            <a:ext cx="2023243" cy="4401265"/>
          </a:xfrm>
          <a:prstGeom prst="rect">
            <a:avLst/>
          </a:prstGeom>
          <a:ln>
            <a:solidFill>
              <a:schemeClr val="bg1"/>
            </a:solidFill>
          </a:ln>
        </p:spPr>
      </p:pic>
      <p:sp>
        <p:nvSpPr>
          <p:cNvPr id="10" name="Tekstfelt 9">
            <a:extLst>
              <a:ext uri="{FF2B5EF4-FFF2-40B4-BE49-F238E27FC236}">
                <a16:creationId xmlns:a16="http://schemas.microsoft.com/office/drawing/2014/main" id="{CCEC6648-4917-4472-85E1-C71F5290319E}"/>
              </a:ext>
            </a:extLst>
          </p:cNvPr>
          <p:cNvSpPr txBox="1"/>
          <p:nvPr/>
        </p:nvSpPr>
        <p:spPr>
          <a:xfrm>
            <a:off x="2538839" y="-46182"/>
            <a:ext cx="7098631" cy="707886"/>
          </a:xfrm>
          <a:prstGeom prst="rect">
            <a:avLst/>
          </a:prstGeom>
          <a:noFill/>
        </p:spPr>
        <p:txBody>
          <a:bodyPr wrap="square" rtlCol="0">
            <a:spAutoFit/>
          </a:bodyPr>
          <a:lstStyle/>
          <a:p>
            <a:r>
              <a:rPr lang="da-DK" sz="4000" dirty="0">
                <a:solidFill>
                  <a:srgbClr val="FFFF00"/>
                </a:solidFill>
                <a:highlight>
                  <a:srgbClr val="000000"/>
                </a:highlight>
              </a:rPr>
              <a:t>Sådan tjekker du ind til TR-mødet</a:t>
            </a:r>
          </a:p>
        </p:txBody>
      </p:sp>
      <p:sp>
        <p:nvSpPr>
          <p:cNvPr id="11" name="Tekstfelt 10">
            <a:extLst>
              <a:ext uri="{FF2B5EF4-FFF2-40B4-BE49-F238E27FC236}">
                <a16:creationId xmlns:a16="http://schemas.microsoft.com/office/drawing/2014/main" id="{0EDA8F05-B26A-4686-94A4-5537B7870541}"/>
              </a:ext>
            </a:extLst>
          </p:cNvPr>
          <p:cNvSpPr txBox="1"/>
          <p:nvPr/>
        </p:nvSpPr>
        <p:spPr>
          <a:xfrm>
            <a:off x="145884" y="659001"/>
            <a:ext cx="2493300" cy="1569660"/>
          </a:xfrm>
          <a:prstGeom prst="rect">
            <a:avLst/>
          </a:prstGeom>
          <a:noFill/>
        </p:spPr>
        <p:txBody>
          <a:bodyPr wrap="square" rtlCol="0">
            <a:spAutoFit/>
          </a:bodyPr>
          <a:lstStyle/>
          <a:p>
            <a:pPr algn="ctr"/>
            <a:r>
              <a:rPr lang="da-DK" sz="2400" dirty="0">
                <a:solidFill>
                  <a:srgbClr val="FFFF00"/>
                </a:solidFill>
                <a:highlight>
                  <a:srgbClr val="000000"/>
                </a:highlight>
              </a:rPr>
              <a:t>1. Åben kamera/ QR-appen, skan koden og tryk på </a:t>
            </a:r>
            <a:r>
              <a:rPr lang="da-DK" sz="2400" dirty="0" err="1">
                <a:solidFill>
                  <a:srgbClr val="FFFF00"/>
                </a:solidFill>
                <a:highlight>
                  <a:srgbClr val="000000"/>
                </a:highlight>
              </a:rPr>
              <a:t>popup</a:t>
            </a:r>
            <a:r>
              <a:rPr lang="da-DK" sz="2400" dirty="0">
                <a:solidFill>
                  <a:srgbClr val="FFFF00"/>
                </a:solidFill>
                <a:highlight>
                  <a:srgbClr val="000000"/>
                </a:highlight>
              </a:rPr>
              <a:t>-vinduet</a:t>
            </a:r>
          </a:p>
        </p:txBody>
      </p:sp>
      <p:sp>
        <p:nvSpPr>
          <p:cNvPr id="19" name="Pil: nedad 18">
            <a:extLst>
              <a:ext uri="{FF2B5EF4-FFF2-40B4-BE49-F238E27FC236}">
                <a16:creationId xmlns:a16="http://schemas.microsoft.com/office/drawing/2014/main" id="{4A43F9DA-396B-402A-8006-22D1386D0634}"/>
              </a:ext>
            </a:extLst>
          </p:cNvPr>
          <p:cNvSpPr/>
          <p:nvPr/>
        </p:nvSpPr>
        <p:spPr>
          <a:xfrm>
            <a:off x="3786857" y="4383061"/>
            <a:ext cx="159602" cy="990721"/>
          </a:xfrm>
          <a:prstGeom prst="downArrow">
            <a:avLst/>
          </a:prstGeom>
          <a:solidFill>
            <a:srgbClr val="FF00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Tekstfelt 23">
            <a:extLst>
              <a:ext uri="{FF2B5EF4-FFF2-40B4-BE49-F238E27FC236}">
                <a16:creationId xmlns:a16="http://schemas.microsoft.com/office/drawing/2014/main" id="{E6E1581E-FFD1-44CF-9EBD-67AF2E316234}"/>
              </a:ext>
            </a:extLst>
          </p:cNvPr>
          <p:cNvSpPr txBox="1"/>
          <p:nvPr/>
        </p:nvSpPr>
        <p:spPr>
          <a:xfrm>
            <a:off x="3007578" y="659001"/>
            <a:ext cx="2283937" cy="1200329"/>
          </a:xfrm>
          <a:prstGeom prst="rect">
            <a:avLst/>
          </a:prstGeom>
          <a:noFill/>
        </p:spPr>
        <p:txBody>
          <a:bodyPr wrap="square" rtlCol="0">
            <a:spAutoFit/>
          </a:bodyPr>
          <a:lstStyle/>
          <a:p>
            <a:pPr algn="ctr"/>
            <a:r>
              <a:rPr lang="da-DK" sz="2400" dirty="0">
                <a:solidFill>
                  <a:srgbClr val="FFFF00"/>
                </a:solidFill>
                <a:highlight>
                  <a:srgbClr val="000000"/>
                </a:highlight>
              </a:rPr>
              <a:t>2. </a:t>
            </a:r>
            <a:r>
              <a:rPr lang="da-DK" sz="2400" dirty="0" err="1">
                <a:solidFill>
                  <a:srgbClr val="FFFF00"/>
                </a:solidFill>
                <a:highlight>
                  <a:srgbClr val="000000"/>
                </a:highlight>
              </a:rPr>
              <a:t>Scroll</a:t>
            </a:r>
            <a:r>
              <a:rPr lang="da-DK" sz="2400" dirty="0">
                <a:solidFill>
                  <a:srgbClr val="FFFF00"/>
                </a:solidFill>
                <a:highlight>
                  <a:srgbClr val="000000"/>
                </a:highlight>
              </a:rPr>
              <a:t> helt ned i bunden og tryk </a:t>
            </a:r>
          </a:p>
          <a:p>
            <a:pPr algn="ctr"/>
            <a:r>
              <a:rPr lang="da-DK" sz="2400" dirty="0">
                <a:solidFill>
                  <a:srgbClr val="FFFF00"/>
                </a:solidFill>
                <a:highlight>
                  <a:srgbClr val="000000"/>
                </a:highlight>
              </a:rPr>
              <a:t>”</a:t>
            </a:r>
            <a:r>
              <a:rPr lang="da-DK" sz="2400" dirty="0">
                <a:solidFill>
                  <a:srgbClr val="00B0F0"/>
                </a:solidFill>
                <a:highlight>
                  <a:srgbClr val="000000"/>
                </a:highlight>
              </a:rPr>
              <a:t>TILMELD MIG</a:t>
            </a:r>
            <a:r>
              <a:rPr lang="da-DK" sz="2400" dirty="0">
                <a:solidFill>
                  <a:srgbClr val="FFFF00"/>
                </a:solidFill>
                <a:highlight>
                  <a:srgbClr val="000000"/>
                </a:highlight>
              </a:rPr>
              <a:t>”</a:t>
            </a:r>
          </a:p>
        </p:txBody>
      </p:sp>
      <p:sp>
        <p:nvSpPr>
          <p:cNvPr id="25" name="Ellipse 24">
            <a:extLst>
              <a:ext uri="{FF2B5EF4-FFF2-40B4-BE49-F238E27FC236}">
                <a16:creationId xmlns:a16="http://schemas.microsoft.com/office/drawing/2014/main" id="{A2FE61C6-6AEF-4245-A7B3-ADCA352045EC}"/>
              </a:ext>
            </a:extLst>
          </p:cNvPr>
          <p:cNvSpPr/>
          <p:nvPr/>
        </p:nvSpPr>
        <p:spPr>
          <a:xfrm>
            <a:off x="3237979" y="5455717"/>
            <a:ext cx="1263410" cy="6908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Tekstfelt 25">
            <a:extLst>
              <a:ext uri="{FF2B5EF4-FFF2-40B4-BE49-F238E27FC236}">
                <a16:creationId xmlns:a16="http://schemas.microsoft.com/office/drawing/2014/main" id="{CBCCEC04-3B4B-45E8-A472-AC0B61A0F4C4}"/>
              </a:ext>
            </a:extLst>
          </p:cNvPr>
          <p:cNvSpPr txBox="1"/>
          <p:nvPr/>
        </p:nvSpPr>
        <p:spPr>
          <a:xfrm>
            <a:off x="5788274" y="659001"/>
            <a:ext cx="2723820" cy="830997"/>
          </a:xfrm>
          <a:prstGeom prst="rect">
            <a:avLst/>
          </a:prstGeom>
          <a:noFill/>
        </p:spPr>
        <p:txBody>
          <a:bodyPr wrap="square" rtlCol="0">
            <a:spAutoFit/>
          </a:bodyPr>
          <a:lstStyle/>
          <a:p>
            <a:pPr algn="ctr"/>
            <a:r>
              <a:rPr lang="da-DK" sz="2400" dirty="0">
                <a:solidFill>
                  <a:srgbClr val="FFFF00"/>
                </a:solidFill>
                <a:highlight>
                  <a:srgbClr val="000000"/>
                </a:highlight>
              </a:rPr>
              <a:t>3. Udfyld </a:t>
            </a:r>
            <a:r>
              <a:rPr lang="da-DK" sz="2400" dirty="0">
                <a:solidFill>
                  <a:srgbClr val="00B0F0"/>
                </a:solidFill>
                <a:highlight>
                  <a:srgbClr val="000000"/>
                </a:highlight>
              </a:rPr>
              <a:t>CPR-nummer</a:t>
            </a:r>
            <a:r>
              <a:rPr lang="da-DK" sz="2400" dirty="0">
                <a:solidFill>
                  <a:srgbClr val="FFFF00"/>
                </a:solidFill>
                <a:highlight>
                  <a:srgbClr val="000000"/>
                </a:highlight>
              </a:rPr>
              <a:t> og </a:t>
            </a:r>
            <a:r>
              <a:rPr lang="da-DK" sz="2400" dirty="0">
                <a:solidFill>
                  <a:srgbClr val="00B0F0"/>
                </a:solidFill>
                <a:highlight>
                  <a:srgbClr val="000000"/>
                </a:highlight>
              </a:rPr>
              <a:t>fornavn</a:t>
            </a:r>
          </a:p>
        </p:txBody>
      </p:sp>
      <p:sp>
        <p:nvSpPr>
          <p:cNvPr id="28" name="Tekstfelt 27">
            <a:extLst>
              <a:ext uri="{FF2B5EF4-FFF2-40B4-BE49-F238E27FC236}">
                <a16:creationId xmlns:a16="http://schemas.microsoft.com/office/drawing/2014/main" id="{25357E08-D451-41A2-9C98-D45452C45B40}"/>
              </a:ext>
            </a:extLst>
          </p:cNvPr>
          <p:cNvSpPr txBox="1"/>
          <p:nvPr/>
        </p:nvSpPr>
        <p:spPr>
          <a:xfrm>
            <a:off x="5515947" y="1454030"/>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Tryk ”</a:t>
            </a:r>
            <a:r>
              <a:rPr lang="da-DK" sz="2400" dirty="0">
                <a:solidFill>
                  <a:srgbClr val="00B0F0"/>
                </a:solidFill>
                <a:highlight>
                  <a:srgbClr val="000000"/>
                </a:highlight>
              </a:rPr>
              <a:t>SØG      </a:t>
            </a:r>
            <a:r>
              <a:rPr lang="da-DK" sz="2400" dirty="0">
                <a:solidFill>
                  <a:srgbClr val="FFFF00"/>
                </a:solidFill>
                <a:highlight>
                  <a:srgbClr val="000000"/>
                </a:highlight>
              </a:rPr>
              <a:t>”</a:t>
            </a:r>
          </a:p>
        </p:txBody>
      </p:sp>
      <p:sp>
        <p:nvSpPr>
          <p:cNvPr id="32" name="Pil: opadgående 31">
            <a:extLst>
              <a:ext uri="{FF2B5EF4-FFF2-40B4-BE49-F238E27FC236}">
                <a16:creationId xmlns:a16="http://schemas.microsoft.com/office/drawing/2014/main" id="{4E371879-76DE-4ABC-83C5-CB59EEC80C96}"/>
              </a:ext>
            </a:extLst>
          </p:cNvPr>
          <p:cNvSpPr/>
          <p:nvPr/>
        </p:nvSpPr>
        <p:spPr>
          <a:xfrm>
            <a:off x="7856585" y="5455717"/>
            <a:ext cx="189432" cy="743282"/>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Ellipse 39">
            <a:extLst>
              <a:ext uri="{FF2B5EF4-FFF2-40B4-BE49-F238E27FC236}">
                <a16:creationId xmlns:a16="http://schemas.microsoft.com/office/drawing/2014/main" id="{C7F7AAC0-3A33-4F51-B636-D3FECC187765}"/>
              </a:ext>
            </a:extLst>
          </p:cNvPr>
          <p:cNvSpPr/>
          <p:nvPr/>
        </p:nvSpPr>
        <p:spPr>
          <a:xfrm>
            <a:off x="7751207" y="5042921"/>
            <a:ext cx="400188" cy="35292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 name="Picture 2">
            <a:extLst>
              <a:ext uri="{FF2B5EF4-FFF2-40B4-BE49-F238E27FC236}">
                <a16:creationId xmlns:a16="http://schemas.microsoft.com/office/drawing/2014/main" id="{2BEC8976-2391-43D2-B25B-F6ED0045C4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7277" y="2329593"/>
            <a:ext cx="2030514" cy="4394241"/>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93F90A5C-724E-4EA3-87FD-CCF7F1226F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34282" y="2322569"/>
            <a:ext cx="2285828" cy="43872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8" name="Tekstfelt 17">
            <a:extLst>
              <a:ext uri="{FF2B5EF4-FFF2-40B4-BE49-F238E27FC236}">
                <a16:creationId xmlns:a16="http://schemas.microsoft.com/office/drawing/2014/main" id="{635B5C1C-1557-455B-B231-23BFCFABCB8C}"/>
              </a:ext>
            </a:extLst>
          </p:cNvPr>
          <p:cNvSpPr txBox="1"/>
          <p:nvPr/>
        </p:nvSpPr>
        <p:spPr>
          <a:xfrm>
            <a:off x="8642959" y="1032001"/>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4. Tryk ”</a:t>
            </a:r>
            <a:r>
              <a:rPr lang="da-DK" sz="2400" dirty="0">
                <a:solidFill>
                  <a:srgbClr val="00B0F0"/>
                </a:solidFill>
                <a:highlight>
                  <a:srgbClr val="000000"/>
                </a:highlight>
              </a:rPr>
              <a:t>UDFØR</a:t>
            </a:r>
            <a:r>
              <a:rPr lang="da-DK" sz="2400" dirty="0">
                <a:solidFill>
                  <a:srgbClr val="FFFF00"/>
                </a:solidFill>
                <a:highlight>
                  <a:srgbClr val="000000"/>
                </a:highlight>
              </a:rPr>
              <a:t>”</a:t>
            </a:r>
          </a:p>
        </p:txBody>
      </p:sp>
      <p:sp>
        <p:nvSpPr>
          <p:cNvPr id="20" name="Ellipse 19">
            <a:extLst>
              <a:ext uri="{FF2B5EF4-FFF2-40B4-BE49-F238E27FC236}">
                <a16:creationId xmlns:a16="http://schemas.microsoft.com/office/drawing/2014/main" id="{A6F132FA-8006-418F-BEF7-E69F41D54462}"/>
              </a:ext>
            </a:extLst>
          </p:cNvPr>
          <p:cNvSpPr/>
          <p:nvPr/>
        </p:nvSpPr>
        <p:spPr>
          <a:xfrm>
            <a:off x="10752362" y="5946530"/>
            <a:ext cx="667748" cy="4000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Pil: opadgående 20">
            <a:extLst>
              <a:ext uri="{FF2B5EF4-FFF2-40B4-BE49-F238E27FC236}">
                <a16:creationId xmlns:a16="http://schemas.microsoft.com/office/drawing/2014/main" id="{07F171B6-3F6E-418A-8EBE-EC0691519A1B}"/>
              </a:ext>
            </a:extLst>
          </p:cNvPr>
          <p:cNvSpPr/>
          <p:nvPr/>
        </p:nvSpPr>
        <p:spPr>
          <a:xfrm rot="10800000">
            <a:off x="10987291" y="5010680"/>
            <a:ext cx="197889" cy="764537"/>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Grafik 7" descr="Forstørrelsesglas kontur">
            <a:extLst>
              <a:ext uri="{FF2B5EF4-FFF2-40B4-BE49-F238E27FC236}">
                <a16:creationId xmlns:a16="http://schemas.microsoft.com/office/drawing/2014/main" id="{A0917C46-CD44-4859-9B83-6CCF4CDFEF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83825" y="1513867"/>
            <a:ext cx="334764" cy="334764"/>
          </a:xfrm>
          <a:prstGeom prst="rect">
            <a:avLst/>
          </a:prstGeom>
        </p:spPr>
      </p:pic>
    </p:spTree>
    <p:extLst>
      <p:ext uri="{BB962C8B-B14F-4D97-AF65-F5344CB8AC3E}">
        <p14:creationId xmlns:p14="http://schemas.microsoft.com/office/powerpoint/2010/main" val="2200419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13C5FF-FFD6-10A0-8730-FE88988D0D71}"/>
              </a:ext>
            </a:extLst>
          </p:cNvPr>
          <p:cNvSpPr>
            <a:spLocks noGrp="1"/>
          </p:cNvSpPr>
          <p:nvPr>
            <p:ph type="title"/>
          </p:nvPr>
        </p:nvSpPr>
        <p:spPr>
          <a:xfrm>
            <a:off x="572493" y="238539"/>
            <a:ext cx="11018520" cy="1434415"/>
          </a:xfrm>
        </p:spPr>
        <p:txBody>
          <a:bodyPr anchor="b">
            <a:normAutofit/>
          </a:bodyPr>
          <a:lstStyle/>
          <a:p>
            <a:r>
              <a:rPr lang="da-DK" sz="5000" b="1" dirty="0"/>
              <a:t>Udbetaling/overførsel af ikke-afholdt ferie</a:t>
            </a:r>
          </a:p>
        </p:txBody>
      </p:sp>
      <p:sp>
        <p:nvSpPr>
          <p:cNvPr id="3" name="Pladsholder til indhold 2">
            <a:extLst>
              <a:ext uri="{FF2B5EF4-FFF2-40B4-BE49-F238E27FC236}">
                <a16:creationId xmlns:a16="http://schemas.microsoft.com/office/drawing/2014/main" id="{7E10F559-EDAC-3C0B-8C6A-4C817549A602}"/>
              </a:ext>
            </a:extLst>
          </p:cNvPr>
          <p:cNvSpPr>
            <a:spLocks noGrp="1"/>
          </p:cNvSpPr>
          <p:nvPr>
            <p:ph idx="1"/>
          </p:nvPr>
        </p:nvSpPr>
        <p:spPr>
          <a:xfrm>
            <a:off x="572492" y="2071316"/>
            <a:ext cx="10659099" cy="4119172"/>
          </a:xfrm>
        </p:spPr>
        <p:txBody>
          <a:bodyPr anchor="t">
            <a:normAutofit/>
          </a:bodyPr>
          <a:lstStyle/>
          <a:p>
            <a:pPr marL="0" indent="0">
              <a:buNone/>
            </a:pPr>
            <a:r>
              <a:rPr lang="da-DK" sz="2200" b="1" dirty="0"/>
              <a:t>Feriehindring er tilstede (sygdom, barsel):</a:t>
            </a:r>
          </a:p>
          <a:p>
            <a:pPr marL="0" indent="0">
              <a:buNone/>
            </a:pPr>
            <a:endParaRPr lang="da-DK" sz="2200" b="1" dirty="0"/>
          </a:p>
          <a:p>
            <a:r>
              <a:rPr lang="da-DK" sz="2200" dirty="0"/>
              <a:t>Ferie 1. -4. uger overføres. Kan først komme til udbetaling efter 2 ferieafholdelsesperioder</a:t>
            </a:r>
          </a:p>
          <a:p>
            <a:pPr marL="0" indent="0">
              <a:buNone/>
            </a:pPr>
            <a:endParaRPr lang="da-DK" sz="2200" dirty="0"/>
          </a:p>
          <a:p>
            <a:r>
              <a:rPr lang="da-DK" sz="2200" dirty="0"/>
              <a:t>5. ferieuge udbetales eller aftales overført (automatisk udbetaling senest i marts)</a:t>
            </a:r>
          </a:p>
          <a:p>
            <a:pPr marL="0" indent="0">
              <a:buNone/>
            </a:pPr>
            <a:endParaRPr lang="da-DK" sz="2200" dirty="0"/>
          </a:p>
          <a:p>
            <a:r>
              <a:rPr lang="da-DK" sz="2200" dirty="0"/>
              <a:t>Overførsel af 5. ferieuge aftales </a:t>
            </a:r>
            <a:r>
              <a:rPr lang="da-DK" sz="2200" dirty="0">
                <a:solidFill>
                  <a:srgbClr val="FF0000"/>
                </a:solidFill>
              </a:rPr>
              <a:t>skriftligt </a:t>
            </a:r>
            <a:r>
              <a:rPr lang="da-DK" sz="2200" dirty="0"/>
              <a:t>med arbejdsgiver inden ferieafholdelsesperiodens udløb d. 31.12.</a:t>
            </a:r>
          </a:p>
          <a:p>
            <a:pPr marL="0" indent="0">
              <a:buNone/>
            </a:pPr>
            <a:endParaRPr lang="da-DK" sz="2200" dirty="0"/>
          </a:p>
        </p:txBody>
      </p:sp>
      <p:sp>
        <p:nvSpPr>
          <p:cNvPr id="4" name="Pladsholder til slidenummer 3">
            <a:extLst>
              <a:ext uri="{FF2B5EF4-FFF2-40B4-BE49-F238E27FC236}">
                <a16:creationId xmlns:a16="http://schemas.microsoft.com/office/drawing/2014/main" id="{B1C0247B-54E3-4414-F2F6-902F7FD32C5D}"/>
              </a:ext>
            </a:extLst>
          </p:cNvPr>
          <p:cNvSpPr>
            <a:spLocks noGrp="1"/>
          </p:cNvSpPr>
          <p:nvPr>
            <p:ph type="sldNum" sz="quarter" idx="12"/>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120C884-657D-47A8-AFE3-E7B7EAA09FDE}" type="slidenum">
              <a:rPr kumimoji="0" lang="da-DK"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0</a:t>
            </a:fld>
            <a:endParaRPr kumimoji="0" lang="da-DK"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97978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2609869-9E80-471B-A487-A53288E0E7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140DB5F9-C883-B913-6BBA-37C156DB6070}"/>
              </a:ext>
            </a:extLst>
          </p:cNvPr>
          <p:cNvSpPr>
            <a:spLocks noGrp="1"/>
          </p:cNvSpPr>
          <p:nvPr>
            <p:ph type="title"/>
          </p:nvPr>
        </p:nvSpPr>
        <p:spPr>
          <a:xfrm>
            <a:off x="1136397" y="502020"/>
            <a:ext cx="5323715" cy="1642970"/>
          </a:xfrm>
        </p:spPr>
        <p:txBody>
          <a:bodyPr anchor="b">
            <a:normAutofit/>
          </a:bodyPr>
          <a:lstStyle/>
          <a:p>
            <a:pPr>
              <a:defRPr/>
            </a:pPr>
            <a:r>
              <a:rPr lang="da-DK" sz="4000" b="1" dirty="0"/>
              <a:t>Særlig feriegodtgørelse og feriegodtgørelse </a:t>
            </a:r>
          </a:p>
        </p:txBody>
      </p:sp>
      <p:sp>
        <p:nvSpPr>
          <p:cNvPr id="3" name="Pladsholder til indhold 2">
            <a:extLst>
              <a:ext uri="{FF2B5EF4-FFF2-40B4-BE49-F238E27FC236}">
                <a16:creationId xmlns:a16="http://schemas.microsoft.com/office/drawing/2014/main" id="{DD306E3C-4874-34F6-78F3-FDAC6A7F92C6}"/>
              </a:ext>
            </a:extLst>
          </p:cNvPr>
          <p:cNvSpPr>
            <a:spLocks noGrp="1"/>
          </p:cNvSpPr>
          <p:nvPr>
            <p:ph idx="1"/>
          </p:nvPr>
        </p:nvSpPr>
        <p:spPr>
          <a:xfrm>
            <a:off x="1144923" y="2405894"/>
            <a:ext cx="5315189" cy="3535083"/>
          </a:xfrm>
        </p:spPr>
        <p:txBody>
          <a:bodyPr anchor="t">
            <a:normAutofit/>
          </a:bodyPr>
          <a:lstStyle/>
          <a:p>
            <a:pPr marL="0" indent="0">
              <a:buNone/>
              <a:defRPr/>
            </a:pPr>
            <a:r>
              <a:rPr lang="da-DK" sz="2000" b="1" dirty="0"/>
              <a:t>Udbetales over 3 gange:</a:t>
            </a:r>
          </a:p>
          <a:p>
            <a:pPr marL="0" indent="0">
              <a:buNone/>
              <a:defRPr/>
            </a:pPr>
            <a:endParaRPr lang="da-DK" sz="2000" u="sng" dirty="0"/>
          </a:p>
          <a:p>
            <a:pPr>
              <a:defRPr/>
            </a:pPr>
            <a:r>
              <a:rPr lang="da-DK" sz="2000" dirty="0"/>
              <a:t>1. maj – 1,48%</a:t>
            </a:r>
          </a:p>
          <a:p>
            <a:pPr marL="0" indent="0">
              <a:buNone/>
              <a:defRPr/>
            </a:pPr>
            <a:endParaRPr lang="da-DK" sz="2000" dirty="0"/>
          </a:p>
          <a:p>
            <a:pPr>
              <a:defRPr/>
            </a:pPr>
            <a:r>
              <a:rPr lang="da-DK" sz="2000" dirty="0"/>
              <a:t>31. maj – 0,75%        (dækker 1.sep - 31.maj) </a:t>
            </a:r>
          </a:p>
          <a:p>
            <a:pPr marL="0" indent="0">
              <a:buNone/>
              <a:defRPr/>
            </a:pPr>
            <a:endParaRPr lang="da-DK" sz="2000" dirty="0"/>
          </a:p>
          <a:p>
            <a:pPr>
              <a:defRPr/>
            </a:pPr>
            <a:r>
              <a:rPr lang="da-DK" sz="2000" dirty="0"/>
              <a:t>31. august – 0,25%   (dækker 01.juni - 31.aug)</a:t>
            </a:r>
          </a:p>
          <a:p>
            <a:pPr>
              <a:defRPr/>
            </a:pPr>
            <a:endParaRPr lang="da-DK" sz="2000" dirty="0"/>
          </a:p>
          <a:p>
            <a:pPr>
              <a:defRPr/>
            </a:pPr>
            <a:endParaRPr lang="da-DK" sz="2000" dirty="0"/>
          </a:p>
          <a:p>
            <a:pPr>
              <a:defRPr/>
            </a:pPr>
            <a:endParaRPr lang="da-DK" sz="2000" dirty="0"/>
          </a:p>
          <a:p>
            <a:pPr marL="0" indent="0">
              <a:buNone/>
              <a:defRPr/>
            </a:pPr>
            <a:endParaRPr lang="da-DK" sz="2000" dirty="0"/>
          </a:p>
        </p:txBody>
      </p:sp>
      <p:sp>
        <p:nvSpPr>
          <p:cNvPr id="11" name="Rectangle 10">
            <a:extLst>
              <a:ext uri="{FF2B5EF4-FFF2-40B4-BE49-F238E27FC236}">
                <a16:creationId xmlns:a16="http://schemas.microsoft.com/office/drawing/2014/main" id="{7004738A-9D34-43E8-97D2-CA0EED4F8B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5"/>
            <a:ext cx="4092521"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B8B8D07F-F13E-443E-BA68-2D26672D76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
            <a:ext cx="4092521" cy="6400369"/>
          </a:xfrm>
          <a:prstGeom prst="rect">
            <a:avLst/>
          </a:prstGeom>
          <a:gradFill>
            <a:gsLst>
              <a:gs pos="31000">
                <a:schemeClr val="accent1">
                  <a:lumMod val="50000"/>
                  <a:alpha val="0"/>
                </a:schemeClr>
              </a:gs>
              <a:gs pos="100000">
                <a:schemeClr val="accent1">
                  <a:lumMod val="50000"/>
                  <a:alpha val="26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2813A4FA-24A5-41ED-A534-3807D1B2F3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2"/>
            <a:ext cx="4068667" cy="6400389"/>
          </a:xfrm>
          <a:prstGeom prst="rect">
            <a:avLst/>
          </a:prstGeom>
          <a:gradFill>
            <a:gsLst>
              <a:gs pos="0">
                <a:schemeClr val="accent1">
                  <a:alpha val="0"/>
                </a:schemeClr>
              </a:gs>
              <a:gs pos="72000">
                <a:srgbClr val="000000">
                  <a:alpha val="2100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3944F27-CA70-4E84-A51A-E6BF895589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10"/>
            <a:ext cx="3611467" cy="6857997"/>
          </a:xfrm>
          <a:prstGeom prst="rect">
            <a:avLst/>
          </a:prstGeom>
          <a:gradFill>
            <a:gsLst>
              <a:gs pos="0">
                <a:schemeClr val="accent1">
                  <a:alpha val="0"/>
                </a:schemeClr>
              </a:gs>
              <a:gs pos="93000">
                <a:srgbClr val="000000">
                  <a:alpha val="29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Billede 3">
            <a:extLst>
              <a:ext uri="{FF2B5EF4-FFF2-40B4-BE49-F238E27FC236}">
                <a16:creationId xmlns:a16="http://schemas.microsoft.com/office/drawing/2014/main" id="{D63F1FED-47B7-F588-3CBF-052BA544EE63}"/>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898" r="1898"/>
          <a:stretch/>
        </p:blipFill>
        <p:spPr>
          <a:xfrm>
            <a:off x="8696325" y="1277400"/>
            <a:ext cx="2550172" cy="2650797"/>
          </a:xfrm>
          <a:prstGeom prst="rect">
            <a:avLst/>
          </a:prstGeom>
        </p:spPr>
      </p:pic>
    </p:spTree>
    <p:extLst>
      <p:ext uri="{BB962C8B-B14F-4D97-AF65-F5344CB8AC3E}">
        <p14:creationId xmlns:p14="http://schemas.microsoft.com/office/powerpoint/2010/main" val="18943407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FDA3E6E-7FB4-5E47-E121-0F3CE3762717}"/>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70D09604-ABEF-3905-FA7E-1F715E02C7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9604B159-A0DB-FD26-AE2B-291C2B1FDF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91E987EC-B8F4-55B8-54EF-95E860A5C7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A6FE3DF2-372C-9C51-8282-21EC5BD8FD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38413CDD-290A-4D50-6062-696D0D3D4B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4498E958-C285-32E1-4E57-51E9688A6D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2ABBF611-DAEA-678B-ADE0-3EF401F4A77D}"/>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B26DA3F0-F74D-3BA7-D77D-16BF8487E78C}"/>
              </a:ext>
            </a:extLst>
          </p:cNvPr>
          <p:cNvSpPr>
            <a:spLocks noGrp="1"/>
          </p:cNvSpPr>
          <p:nvPr>
            <p:ph idx="1"/>
          </p:nvPr>
        </p:nvSpPr>
        <p:spPr>
          <a:xfrm>
            <a:off x="1367624" y="2490436"/>
            <a:ext cx="9708995" cy="3567173"/>
          </a:xfrm>
        </p:spPr>
        <p:txBody>
          <a:bodyPr anchor="ctr">
            <a:normAutofit/>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Status OK 26 v Kirsten Løth</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Ferie regl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Korte meddelelser</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29405364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a:extLst>
            <a:ext uri="{FF2B5EF4-FFF2-40B4-BE49-F238E27FC236}">
              <a16:creationId xmlns:a16="http://schemas.microsoft.com/office/drawing/2014/main" id="{38B067A9-1E77-101C-6A18-9485F69C0794}"/>
            </a:ext>
          </a:extLst>
        </p:cNvPr>
        <p:cNvGrpSpPr/>
        <p:nvPr/>
      </p:nvGrpSpPr>
      <p:grpSpPr>
        <a:xfrm>
          <a:off x="0" y="0"/>
          <a:ext cx="0" cy="0"/>
          <a:chOff x="0" y="0"/>
          <a:chExt cx="0" cy="0"/>
        </a:xfrm>
      </p:grpSpPr>
      <p:sp>
        <p:nvSpPr>
          <p:cNvPr id="13" name="Rectangle 8">
            <a:extLst>
              <a:ext uri="{FF2B5EF4-FFF2-40B4-BE49-F238E27FC236}">
                <a16:creationId xmlns:a16="http://schemas.microsoft.com/office/drawing/2014/main" id="{18D3463F-7874-62A8-EF69-373ED4E6FF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32385" cy="6858000"/>
          </a:xfrm>
          <a:prstGeom prst="rect">
            <a:avLst/>
          </a:prstGeom>
          <a:solidFill>
            <a:schemeClr val="accent5">
              <a:alpha val="70000"/>
            </a:schemeClr>
          </a:solidFill>
          <a:ln>
            <a:no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4" name="Rectangle 10">
            <a:extLst>
              <a:ext uri="{FF2B5EF4-FFF2-40B4-BE49-F238E27FC236}">
                <a16:creationId xmlns:a16="http://schemas.microsoft.com/office/drawing/2014/main" id="{F01A92C5-E881-6637-C1F0-4762364B86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2385" y="0"/>
            <a:ext cx="3218914" cy="6858000"/>
          </a:xfrm>
          <a:prstGeom prst="rect">
            <a:avLst/>
          </a:prstGeom>
          <a:solidFill>
            <a:schemeClr val="accent5">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7E269324-C2F1-CF39-F3C7-7BC15B41D3B2}"/>
              </a:ext>
            </a:extLst>
          </p:cNvPr>
          <p:cNvSpPr>
            <a:spLocks noGrp="1"/>
          </p:cNvSpPr>
          <p:nvPr>
            <p:ph type="title"/>
          </p:nvPr>
        </p:nvSpPr>
        <p:spPr>
          <a:xfrm>
            <a:off x="992206" y="1608667"/>
            <a:ext cx="2823275" cy="4501127"/>
          </a:xfrm>
        </p:spPr>
        <p:txBody>
          <a:bodyPr anchor="t">
            <a:normAutofit/>
          </a:bodyPr>
          <a:lstStyle/>
          <a:p>
            <a:pPr algn="r"/>
            <a:r>
              <a:rPr lang="da-DK" sz="3200" dirty="0">
                <a:solidFill>
                  <a:srgbClr val="FFFFFF"/>
                </a:solidFill>
                <a:latin typeface="Calibri Light" panose="020F0302020204030204"/>
              </a:rPr>
              <a:t>Afdelings MED Møder</a:t>
            </a:r>
            <a:endParaRPr lang="da-DK" sz="3200" dirty="0">
              <a:solidFill>
                <a:srgbClr val="FFFFFF"/>
              </a:solidFill>
            </a:endParaRPr>
          </a:p>
        </p:txBody>
      </p:sp>
      <p:sp>
        <p:nvSpPr>
          <p:cNvPr id="3" name="Pladsholder til indhold 2">
            <a:extLst>
              <a:ext uri="{FF2B5EF4-FFF2-40B4-BE49-F238E27FC236}">
                <a16:creationId xmlns:a16="http://schemas.microsoft.com/office/drawing/2014/main" id="{24E32893-3D47-3236-5509-0377BF4BA4C5}"/>
              </a:ext>
            </a:extLst>
          </p:cNvPr>
          <p:cNvSpPr>
            <a:spLocks noGrp="1"/>
          </p:cNvSpPr>
          <p:nvPr>
            <p:ph sz="half" idx="1"/>
          </p:nvPr>
        </p:nvSpPr>
        <p:spPr>
          <a:xfrm>
            <a:off x="4547698" y="1608667"/>
            <a:ext cx="3421958" cy="4501127"/>
          </a:xfrm>
        </p:spPr>
        <p:txBody>
          <a:bodyPr>
            <a:normAutofit fontScale="77500" lnSpcReduction="20000"/>
          </a:bodyPr>
          <a:lstStyle/>
          <a:p>
            <a:pPr marL="0" indent="0">
              <a:buNone/>
            </a:pPr>
            <a:r>
              <a:rPr lang="da-DK" sz="2300" b="1" dirty="0">
                <a:effectLst/>
                <a:latin typeface="Arial" panose="020B0604020202020204" pitchFamily="34" charset="0"/>
                <a:ea typeface="Times New Roman" panose="02020603050405020304" pitchFamily="18" charset="0"/>
                <a:cs typeface="Times New Roman" panose="02020603050405020304" pitchFamily="18" charset="0"/>
              </a:rPr>
              <a:t>Ekstraordinært </a:t>
            </a:r>
            <a:r>
              <a:rPr lang="da-DK" sz="2300" b="1" dirty="0" err="1">
                <a:effectLst/>
                <a:latin typeface="Arial" panose="020B0604020202020204" pitchFamily="34" charset="0"/>
                <a:ea typeface="Times New Roman" panose="02020603050405020304" pitchFamily="18" charset="0"/>
                <a:cs typeface="Times New Roman" panose="02020603050405020304" pitchFamily="18" charset="0"/>
              </a:rPr>
              <a:t>AfdelingsMED</a:t>
            </a:r>
            <a:r>
              <a:rPr lang="da-DK" sz="2300" b="1" dirty="0">
                <a:effectLst/>
                <a:latin typeface="Arial" panose="020B0604020202020204" pitchFamily="34" charset="0"/>
                <a:ea typeface="Times New Roman" panose="02020603050405020304" pitchFamily="18" charset="0"/>
                <a:cs typeface="Times New Roman" panose="02020603050405020304" pitchFamily="18" charset="0"/>
              </a:rPr>
              <a:t> for dagtilbud og tandpleje – 20. </a:t>
            </a:r>
            <a:r>
              <a:rPr lang="da-DK" sz="2300" b="1" dirty="0">
                <a:latin typeface="Arial" panose="020B0604020202020204" pitchFamily="34" charset="0"/>
                <a:ea typeface="Times New Roman" panose="02020603050405020304" pitchFamily="18" charset="0"/>
                <a:cs typeface="Times New Roman" panose="02020603050405020304" pitchFamily="18" charset="0"/>
              </a:rPr>
              <a:t>Februar</a:t>
            </a:r>
            <a:r>
              <a:rPr lang="da-DK" sz="2300" b="1" dirty="0">
                <a:effectLst/>
                <a:latin typeface="Arial" panose="020B0604020202020204" pitchFamily="34" charset="0"/>
                <a:ea typeface="Times New Roman" panose="02020603050405020304" pitchFamily="18" charset="0"/>
                <a:cs typeface="Times New Roman" panose="02020603050405020304" pitchFamily="18" charset="0"/>
              </a:rPr>
              <a:t> 2025 </a:t>
            </a:r>
          </a:p>
          <a:p>
            <a:pPr marL="0" lvl="0" indent="0" algn="l">
              <a:lnSpc>
                <a:spcPct val="130000"/>
              </a:lnSpc>
              <a:spcAft>
                <a:spcPts val="1200"/>
              </a:spcAft>
              <a:buNone/>
            </a:pPr>
            <a:r>
              <a:rPr lang="da-DK" sz="1800" b="1" dirty="0">
                <a:latin typeface="Arial" panose="020B0604020202020204" pitchFamily="34" charset="0"/>
                <a:ea typeface="Times New Roman" panose="02020603050405020304" pitchFamily="18" charset="0"/>
                <a:cs typeface="Times New Roman" panose="02020603050405020304" pitchFamily="18" charset="0"/>
              </a:rPr>
              <a:t>Fa</a:t>
            </a:r>
            <a:r>
              <a:rPr lang="da-DK" sz="1800" b="1" dirty="0">
                <a:effectLst/>
                <a:latin typeface="Arial" panose="020B0604020202020204" pitchFamily="34" charset="0"/>
                <a:ea typeface="Times New Roman" panose="02020603050405020304" pitchFamily="18" charset="0"/>
                <a:cs typeface="Times New Roman" panose="02020603050405020304" pitchFamily="18" charset="0"/>
              </a:rPr>
              <a:t>stholdelse og føring – Materialer til de lokale MED </a:t>
            </a:r>
            <a:endParaRPr lang="da-DK" sz="1800" dirty="0">
              <a:effectLst/>
              <a:latin typeface="Arial" panose="020B0604020202020204" pitchFamily="34" charset="0"/>
              <a:ea typeface="Calibri" panose="020F0502020204030204" pitchFamily="34" charset="0"/>
              <a:cs typeface="Times New Roman" panose="02020603050405020304" pitchFamily="18" charset="0"/>
            </a:endParaRPr>
          </a:p>
          <a:p>
            <a:endParaRPr lang="da-DK" sz="1700" dirty="0"/>
          </a:p>
        </p:txBody>
      </p:sp>
      <p:sp>
        <p:nvSpPr>
          <p:cNvPr id="4" name="Pladsholder til indhold 3">
            <a:extLst>
              <a:ext uri="{FF2B5EF4-FFF2-40B4-BE49-F238E27FC236}">
                <a16:creationId xmlns:a16="http://schemas.microsoft.com/office/drawing/2014/main" id="{DE6F6EFE-D8E7-10D6-B3E9-93B29C9B7221}"/>
              </a:ext>
            </a:extLst>
          </p:cNvPr>
          <p:cNvSpPr>
            <a:spLocks noGrp="1"/>
          </p:cNvSpPr>
          <p:nvPr>
            <p:ph sz="half" idx="2"/>
          </p:nvPr>
        </p:nvSpPr>
        <p:spPr>
          <a:xfrm>
            <a:off x="8289696" y="1608667"/>
            <a:ext cx="3421957" cy="4501127"/>
          </a:xfrm>
        </p:spPr>
        <p:txBody>
          <a:bodyPr>
            <a:normAutofit fontScale="77500" lnSpcReduction="20000"/>
          </a:bodyPr>
          <a:lstStyle/>
          <a:p>
            <a:pPr marL="0" indent="0">
              <a:buNone/>
            </a:pPr>
            <a:r>
              <a:rPr lang="da-DK" sz="2300" b="1" i="0" u="none" strike="noStrike" baseline="0" dirty="0" err="1">
                <a:latin typeface="Arial" panose="020B0604020202020204" pitchFamily="34" charset="0"/>
              </a:rPr>
              <a:t>SkoleAfdelingsMED</a:t>
            </a:r>
            <a:r>
              <a:rPr lang="da-DK" sz="2300" b="1" i="0" u="none" strike="noStrike" baseline="0" dirty="0">
                <a:latin typeface="Arial" panose="020B0604020202020204" pitchFamily="34" charset="0"/>
              </a:rPr>
              <a:t> 23. januar 2026 </a:t>
            </a:r>
          </a:p>
          <a:p>
            <a:pPr marL="0" indent="0">
              <a:buNone/>
            </a:pPr>
            <a:r>
              <a:rPr lang="da-DK" sz="2000" b="1" i="0" u="none" strike="noStrike" baseline="0" dirty="0">
                <a:latin typeface="Arial" panose="020B0604020202020204" pitchFamily="34" charset="0"/>
              </a:rPr>
              <a:t>Meddelelser fra formandskabet</a:t>
            </a:r>
            <a:endParaRPr lang="da-DK" sz="2000" b="0" i="0" u="none" strike="noStrike" baseline="0" dirty="0">
              <a:latin typeface="Arial" panose="020B0604020202020204" pitchFamily="34" charset="0"/>
            </a:endParaRPr>
          </a:p>
          <a:p>
            <a:pPr marL="0" indent="0">
              <a:buNone/>
            </a:pPr>
            <a:r>
              <a:rPr lang="da-DK" sz="1700" b="0" i="0" u="none" strike="noStrike" baseline="0" dirty="0">
                <a:latin typeface="Arial" panose="020B0604020202020204" pitchFamily="34" charset="0"/>
              </a:rPr>
              <a:t>Ændringer i styrelsesvedtægten </a:t>
            </a:r>
          </a:p>
          <a:p>
            <a:pPr marL="0" indent="0">
              <a:buNone/>
            </a:pPr>
            <a:r>
              <a:rPr lang="da-DK" sz="1700" b="0" i="0" u="none" strike="noStrike" baseline="0" dirty="0">
                <a:latin typeface="Arial" panose="020B0604020202020204" pitchFamily="34" charset="0"/>
              </a:rPr>
              <a:t>Gennemskrivning af lokal arbejdstidsaftale for lærere. </a:t>
            </a:r>
          </a:p>
          <a:p>
            <a:pPr marL="0" indent="0">
              <a:buNone/>
            </a:pPr>
            <a:r>
              <a:rPr lang="da-DK" sz="1700" b="0" i="0" u="none" strike="noStrike" baseline="0" dirty="0">
                <a:latin typeface="Arial" panose="020B0604020202020204" pitchFamily="34" charset="0"/>
              </a:rPr>
              <a:t>Fælles titel for mellemledere på skoleområdet. </a:t>
            </a:r>
          </a:p>
          <a:p>
            <a:pPr marL="0" indent="0">
              <a:buNone/>
            </a:pPr>
            <a:r>
              <a:rPr lang="da-DK" sz="1700" b="0" i="0" u="none" strike="noStrike" baseline="0" dirty="0">
                <a:latin typeface="Arial" panose="020B0604020202020204" pitchFamily="34" charset="0"/>
              </a:rPr>
              <a:t>Forhandling om forhåndsaftaler for faglige ledere. </a:t>
            </a:r>
          </a:p>
          <a:p>
            <a:pPr marL="0" indent="0">
              <a:buNone/>
            </a:pPr>
            <a:r>
              <a:rPr lang="da-DK" sz="1700" b="0" i="0" u="none" strike="noStrike" baseline="0" dirty="0">
                <a:latin typeface="Arial" panose="020B0604020202020204" pitchFamily="34" charset="0"/>
              </a:rPr>
              <a:t>Opfølgning på indsats med retningslinjer for krænkende handlinger, materialepakke fra sept. 2024 </a:t>
            </a:r>
          </a:p>
          <a:p>
            <a:pPr marL="0" indent="0">
              <a:buNone/>
            </a:pPr>
            <a:r>
              <a:rPr lang="da-DK" sz="1700" b="0" i="0" u="none" strike="noStrike" baseline="0" dirty="0">
                <a:latin typeface="Arial" panose="020B0604020202020204" pitchFamily="34" charset="0"/>
              </a:rPr>
              <a:t>HR temamøde. </a:t>
            </a:r>
          </a:p>
          <a:p>
            <a:pPr marL="0" indent="0">
              <a:buNone/>
            </a:pPr>
            <a:r>
              <a:rPr lang="da-DK" sz="2000" b="1" i="0" u="none" strike="noStrike" baseline="0" dirty="0"/>
              <a:t>Rengøring </a:t>
            </a:r>
          </a:p>
          <a:p>
            <a:pPr marL="0" indent="0">
              <a:buNone/>
            </a:pPr>
            <a:r>
              <a:rPr lang="da-DK" sz="2000" b="1" i="0" u="none" strike="noStrike" baseline="0" dirty="0">
                <a:latin typeface="Arial" panose="020B0604020202020204" pitchFamily="34" charset="0"/>
              </a:rPr>
              <a:t>Input til indhold til forretningsorden </a:t>
            </a:r>
          </a:p>
          <a:p>
            <a:pPr marL="0" indent="0">
              <a:buNone/>
            </a:pPr>
            <a:r>
              <a:rPr lang="da-DK" sz="2000" b="1" i="0" u="none" strike="noStrike" baseline="0" dirty="0">
                <a:latin typeface="Arial" panose="020B0604020202020204" pitchFamily="34" charset="0"/>
              </a:rPr>
              <a:t>Ledelsesgrundlag og udvikling af faglig ledelse </a:t>
            </a:r>
            <a:endParaRPr lang="da-DK" sz="2000" b="0" i="0" u="none" strike="noStrike" baseline="0" dirty="0">
              <a:latin typeface="Arial" panose="020B0604020202020204" pitchFamily="34" charset="0"/>
            </a:endParaRPr>
          </a:p>
          <a:p>
            <a:pPr marL="0" indent="0">
              <a:buNone/>
            </a:pPr>
            <a:endParaRPr lang="da-DK" sz="1800" b="0" i="0" u="none" strike="noStrike" baseline="0" dirty="0">
              <a:solidFill>
                <a:srgbClr val="000000"/>
              </a:solidFill>
              <a:latin typeface="Arial" panose="020B0604020202020204" pitchFamily="34" charset="0"/>
            </a:endParaRPr>
          </a:p>
          <a:p>
            <a:pPr marL="0" indent="0">
              <a:buNone/>
            </a:pPr>
            <a:endParaRPr lang="da-DK" sz="1800" b="1" i="0" u="none" strike="noStrike" baseline="0" dirty="0">
              <a:solidFill>
                <a:srgbClr val="000000"/>
              </a:solidFill>
            </a:endParaRPr>
          </a:p>
          <a:p>
            <a:pPr marL="0" indent="0">
              <a:buNone/>
            </a:pPr>
            <a:endParaRPr lang="da-DK" sz="1800" b="0" i="0" u="none" strike="noStrike" baseline="0" dirty="0">
              <a:solidFill>
                <a:srgbClr val="000000"/>
              </a:solidFill>
              <a:latin typeface="Arial" panose="020B0604020202020204" pitchFamily="34" charset="0"/>
            </a:endParaRPr>
          </a:p>
          <a:p>
            <a:endParaRPr lang="da-DK" sz="1700" dirty="0"/>
          </a:p>
        </p:txBody>
      </p:sp>
    </p:spTree>
    <p:extLst>
      <p:ext uri="{BB962C8B-B14F-4D97-AF65-F5344CB8AC3E}">
        <p14:creationId xmlns:p14="http://schemas.microsoft.com/office/powerpoint/2010/main" val="4197308320"/>
      </p:ext>
    </p:extLst>
  </p:cSld>
  <p:clrMapOvr>
    <a:overrideClrMapping bg1="dk1" tx1="lt1" bg2="dk2" tx2="lt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34F1179-B481-4F9E-BCA3-AFB972070F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49BD845C-0B6A-11FC-EBFD-02251F78DF8C}"/>
              </a:ext>
            </a:extLst>
          </p:cNvPr>
          <p:cNvSpPr>
            <a:spLocks noGrp="1"/>
          </p:cNvSpPr>
          <p:nvPr>
            <p:ph type="ctrTitle"/>
          </p:nvPr>
        </p:nvSpPr>
        <p:spPr>
          <a:xfrm>
            <a:off x="1285241" y="1008993"/>
            <a:ext cx="9231410" cy="3542045"/>
          </a:xfrm>
        </p:spPr>
        <p:txBody>
          <a:bodyPr anchor="b">
            <a:normAutofit/>
          </a:bodyPr>
          <a:lstStyle/>
          <a:p>
            <a:pPr algn="l"/>
            <a:r>
              <a:rPr lang="da-DK" sz="11500"/>
              <a:t>Nyt fra Anne og Jannike</a:t>
            </a:r>
          </a:p>
        </p:txBody>
      </p:sp>
      <p:sp>
        <p:nvSpPr>
          <p:cNvPr id="3" name="Undertitel 2">
            <a:extLst>
              <a:ext uri="{FF2B5EF4-FFF2-40B4-BE49-F238E27FC236}">
                <a16:creationId xmlns:a16="http://schemas.microsoft.com/office/drawing/2014/main" id="{7FE947EC-2AE1-D91E-E2ED-9F60FB21F9AA}"/>
              </a:ext>
            </a:extLst>
          </p:cNvPr>
          <p:cNvSpPr>
            <a:spLocks noGrp="1"/>
          </p:cNvSpPr>
          <p:nvPr>
            <p:ph type="subTitle" idx="1"/>
          </p:nvPr>
        </p:nvSpPr>
        <p:spPr>
          <a:xfrm>
            <a:off x="1285241" y="4582814"/>
            <a:ext cx="7132335" cy="1312657"/>
          </a:xfrm>
        </p:spPr>
        <p:txBody>
          <a:bodyPr anchor="t">
            <a:normAutofit/>
          </a:bodyPr>
          <a:lstStyle/>
          <a:p>
            <a:pPr algn="l"/>
            <a:endParaRPr lang="da-DK"/>
          </a:p>
        </p:txBody>
      </p:sp>
    </p:spTree>
    <p:extLst>
      <p:ext uri="{BB962C8B-B14F-4D97-AF65-F5344CB8AC3E}">
        <p14:creationId xmlns:p14="http://schemas.microsoft.com/office/powerpoint/2010/main" val="17954084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337AE8-BD5D-2D1B-8BBB-8D83AC645BEA}"/>
              </a:ext>
            </a:extLst>
          </p:cNvPr>
          <p:cNvSpPr>
            <a:spLocks noGrp="1"/>
          </p:cNvSpPr>
          <p:nvPr>
            <p:ph type="title"/>
          </p:nvPr>
        </p:nvSpPr>
        <p:spPr>
          <a:xfrm>
            <a:off x="890338" y="640080"/>
            <a:ext cx="3734014" cy="5536433"/>
          </a:xfrm>
        </p:spPr>
        <p:txBody>
          <a:bodyPr vert="horz" lIns="91440" tIns="45720" rIns="91440" bIns="45720" rtlCol="0" anchor="b">
            <a:normAutofit fontScale="90000"/>
          </a:bodyPr>
          <a:lstStyle/>
          <a:p>
            <a:pPr algn="l">
              <a:buNone/>
            </a:pPr>
            <a:r>
              <a:rPr kumimoji="0" lang="en-US" sz="2400" b="1" i="0" u="none" strike="noStrike" cap="none" spc="0" normalizeH="0" baseline="0" noProof="0" dirty="0">
                <a:ln>
                  <a:noFill/>
                </a:ln>
                <a:effectLst/>
                <a:uLnTx/>
                <a:uFillTx/>
              </a:rPr>
              <a:t>EU-</a:t>
            </a:r>
            <a:r>
              <a:rPr kumimoji="0" lang="en-US" sz="2400" b="1" i="0" u="none" strike="noStrike" cap="none" spc="0" normalizeH="0" baseline="0" noProof="0" dirty="0" err="1">
                <a:ln>
                  <a:noFill/>
                </a:ln>
                <a:effectLst/>
                <a:uLnTx/>
                <a:uFillTx/>
              </a:rPr>
              <a:t>domme</a:t>
            </a:r>
            <a:r>
              <a:rPr kumimoji="0" lang="en-US" sz="2400" b="1" i="0" u="none" strike="noStrike" cap="none" spc="0" normalizeH="0" baseline="0" noProof="0" dirty="0">
                <a:ln>
                  <a:noFill/>
                </a:ln>
                <a:effectLst/>
                <a:uLnTx/>
                <a:uFillTx/>
              </a:rPr>
              <a:t> om </a:t>
            </a:r>
            <a:r>
              <a:rPr kumimoji="0" lang="en-US" sz="2400" b="1" i="0" u="none" strike="noStrike" cap="none" spc="0" normalizeH="0" baseline="0" noProof="0" dirty="0" err="1">
                <a:ln>
                  <a:noFill/>
                </a:ln>
                <a:effectLst/>
                <a:uLnTx/>
                <a:uFillTx/>
              </a:rPr>
              <a:t>overtidsbetaling</a:t>
            </a:r>
            <a:r>
              <a:rPr kumimoji="0" lang="en-US" sz="2400" b="1" i="0" u="none" strike="noStrike" cap="none" spc="0" normalizeH="0" baseline="0" noProof="0" dirty="0">
                <a:ln>
                  <a:noFill/>
                </a:ln>
                <a:effectLst/>
                <a:uLnTx/>
                <a:uFillTx/>
              </a:rPr>
              <a:t> </a:t>
            </a:r>
            <a:r>
              <a:rPr kumimoji="0" lang="en-US" sz="2400" b="1" i="0" u="none" strike="noStrike" cap="none" spc="0" normalizeH="0" baseline="0" noProof="0" dirty="0" err="1">
                <a:ln>
                  <a:noFill/>
                </a:ln>
                <a:effectLst/>
                <a:uLnTx/>
                <a:uFillTx/>
              </a:rPr>
              <a:t>til</a:t>
            </a:r>
            <a:r>
              <a:rPr kumimoji="0" lang="en-US" sz="2400" b="1" i="0" u="none" strike="noStrike" cap="none" spc="0" normalizeH="0" baseline="0" noProof="0" dirty="0">
                <a:ln>
                  <a:noFill/>
                </a:ln>
                <a:effectLst/>
                <a:uLnTx/>
                <a:uFillTx/>
              </a:rPr>
              <a:t> </a:t>
            </a:r>
            <a:r>
              <a:rPr kumimoji="0" lang="en-US" sz="2400" b="1" i="0" u="none" strike="noStrike" cap="none" spc="0" normalizeH="0" baseline="0" noProof="0" dirty="0" err="1">
                <a:ln>
                  <a:noFill/>
                </a:ln>
                <a:effectLst/>
                <a:uLnTx/>
                <a:uFillTx/>
              </a:rPr>
              <a:t>deltidsansatte</a:t>
            </a:r>
            <a:r>
              <a:rPr lang="en-US" sz="2400" b="1" dirty="0"/>
              <a:t>. Fra </a:t>
            </a:r>
            <a:r>
              <a:rPr lang="en-US" sz="2400" b="1" dirty="0" err="1"/>
              <a:t>oktober</a:t>
            </a:r>
            <a:r>
              <a:rPr lang="en-US" sz="2400" b="1" dirty="0"/>
              <a:t> TR </a:t>
            </a:r>
            <a:r>
              <a:rPr lang="en-US" sz="2400" b="1" dirty="0" err="1"/>
              <a:t>mødet</a:t>
            </a:r>
            <a:r>
              <a:rPr lang="en-US" sz="2400" b="1" dirty="0"/>
              <a:t>.</a:t>
            </a:r>
            <a:br>
              <a:rPr kumimoji="0" lang="en-US" sz="2400" b="1" i="0" u="none" strike="noStrike" cap="none" spc="0" normalizeH="0" baseline="0" noProof="0" dirty="0">
                <a:ln>
                  <a:noFill/>
                </a:ln>
                <a:effectLst/>
                <a:uLnTx/>
                <a:uFillTx/>
              </a:rPr>
            </a:br>
            <a:br>
              <a:rPr kumimoji="0" lang="en-US" sz="2400" b="1" i="0" u="none" strike="noStrike" cap="none" spc="0" normalizeH="0" baseline="0" noProof="0" dirty="0">
                <a:ln>
                  <a:noFill/>
                </a:ln>
                <a:effectLst/>
                <a:uLnTx/>
                <a:uFillTx/>
              </a:rPr>
            </a:br>
            <a:br>
              <a:rPr kumimoji="0" lang="en-US" sz="2400" b="1" i="0" u="none" strike="noStrike" cap="none" spc="0" normalizeH="0" baseline="0" noProof="0" dirty="0">
                <a:ln>
                  <a:noFill/>
                </a:ln>
                <a:effectLst/>
                <a:uLnTx/>
                <a:uFillTx/>
              </a:rPr>
            </a:br>
            <a:r>
              <a:rPr lang="da-DK" sz="1600" b="0" i="0" dirty="0">
                <a:solidFill>
                  <a:srgbClr val="000000"/>
                </a:solidFill>
                <a:effectLst/>
                <a:latin typeface="SourceSans3"/>
              </a:rPr>
              <a:t>Ny dom: Offentlige overenskomster stemmer ikke overens med EU-regler om deltidsansatte</a:t>
            </a:r>
            <a:br>
              <a:rPr lang="da-DK" sz="1600" b="0" i="0" dirty="0">
                <a:solidFill>
                  <a:srgbClr val="000000"/>
                </a:solidFill>
                <a:effectLst/>
                <a:latin typeface="SourceSans3"/>
              </a:rPr>
            </a:br>
            <a:r>
              <a:rPr lang="da-DK" sz="1600" b="0" i="0" dirty="0" err="1">
                <a:solidFill>
                  <a:srgbClr val="000000"/>
                </a:solidFill>
                <a:effectLst/>
                <a:latin typeface="SourceSans3"/>
              </a:rPr>
              <a:t>Deltidsansatte</a:t>
            </a:r>
            <a:r>
              <a:rPr lang="da-DK" sz="1600" b="0" i="0" dirty="0">
                <a:solidFill>
                  <a:srgbClr val="000000"/>
                </a:solidFill>
                <a:effectLst/>
                <a:latin typeface="SourceSans3"/>
              </a:rPr>
              <a:t> og fuldtidsansatte på det offentlige arbejdsmarked skal have samme honorering for timer, der ligger ud over deres normale arbejdstid.</a:t>
            </a:r>
            <a:br>
              <a:rPr lang="da-DK" sz="1600" b="0" i="0" dirty="0">
                <a:solidFill>
                  <a:srgbClr val="000000"/>
                </a:solidFill>
                <a:effectLst/>
                <a:latin typeface="SourceSans3"/>
              </a:rPr>
            </a:br>
            <a:br>
              <a:rPr lang="da-DK" sz="1600" b="0" i="0" dirty="0">
                <a:solidFill>
                  <a:srgbClr val="000000"/>
                </a:solidFill>
                <a:effectLst/>
                <a:latin typeface="SourceSans3"/>
              </a:rPr>
            </a:br>
            <a:r>
              <a:rPr lang="da-DK" sz="1600" b="0" i="0" dirty="0">
                <a:solidFill>
                  <a:srgbClr val="000000"/>
                </a:solidFill>
                <a:effectLst/>
                <a:latin typeface="SourceSans3"/>
              </a:rPr>
              <a:t>Det er udgangspunktet i den konklusion, der er kommet efter, at de faglige organisationer i Forhandlingsfællesskabet har fået medhold i en faglig voldgiftssag om deltidsansattes merarbejde på det kommunale, regionale og statslige arbejdsmarked, som er blevet afgjort den 4. februar 2026.</a:t>
            </a:r>
            <a:br>
              <a:rPr lang="da-DK" sz="1600" b="0" i="0" dirty="0">
                <a:solidFill>
                  <a:srgbClr val="000000"/>
                </a:solidFill>
                <a:effectLst/>
                <a:latin typeface="SourceSans3"/>
              </a:rPr>
            </a:br>
            <a:br>
              <a:rPr kumimoji="0" lang="en-US" sz="3800" b="1" i="0" u="none" strike="noStrike" cap="none" spc="0" normalizeH="0" baseline="0" noProof="0" dirty="0">
                <a:ln>
                  <a:noFill/>
                </a:ln>
                <a:effectLst/>
                <a:uLnTx/>
                <a:uFillTx/>
              </a:rPr>
            </a:br>
            <a:endParaRPr lang="en-US" sz="3800" dirty="0"/>
          </a:p>
        </p:txBody>
      </p:sp>
      <p:pic>
        <p:nvPicPr>
          <p:cNvPr id="5" name="Pladsholder til indhold 4">
            <a:extLst>
              <a:ext uri="{FF2B5EF4-FFF2-40B4-BE49-F238E27FC236}">
                <a16:creationId xmlns:a16="http://schemas.microsoft.com/office/drawing/2014/main" id="{C6C9B931-2C75-1A8B-DB57-F1F9F92B01C7}"/>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l="1702" r="12037"/>
          <a:stretch>
            <a:fillRect/>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17676035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208827FB-2832-1238-E1DF-538A78A7BC15}"/>
              </a:ext>
            </a:extLst>
          </p:cNvPr>
          <p:cNvSpPr>
            <a:spLocks noGrp="1"/>
          </p:cNvSpPr>
          <p:nvPr>
            <p:ph type="title"/>
          </p:nvPr>
        </p:nvSpPr>
        <p:spPr>
          <a:xfrm>
            <a:off x="686834" y="1153572"/>
            <a:ext cx="3200400" cy="4461163"/>
          </a:xfrm>
        </p:spPr>
        <p:txBody>
          <a:bodyPr>
            <a:normAutofit/>
          </a:bodyPr>
          <a:lstStyle/>
          <a:p>
            <a:r>
              <a:rPr lang="da-DK" sz="4100">
                <a:solidFill>
                  <a:srgbClr val="FFFFFF"/>
                </a:solidFill>
              </a:rPr>
              <a:t>Fritvalgstillæg 1.1.26</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Pladsholder til indhold 2">
            <a:extLst>
              <a:ext uri="{FF2B5EF4-FFF2-40B4-BE49-F238E27FC236}">
                <a16:creationId xmlns:a16="http://schemas.microsoft.com/office/drawing/2014/main" id="{E14A3E1B-4D99-2D9D-2CE4-BF1FA53943AA}"/>
              </a:ext>
            </a:extLst>
          </p:cNvPr>
          <p:cNvSpPr>
            <a:spLocks noGrp="1"/>
          </p:cNvSpPr>
          <p:nvPr>
            <p:ph idx="1"/>
          </p:nvPr>
        </p:nvSpPr>
        <p:spPr>
          <a:xfrm>
            <a:off x="4447308" y="591344"/>
            <a:ext cx="6906491" cy="5585619"/>
          </a:xfrm>
        </p:spPr>
        <p:txBody>
          <a:bodyPr anchor="ctr">
            <a:normAutofit/>
          </a:bodyPr>
          <a:lstStyle/>
          <a:p>
            <a:r>
              <a:rPr lang="da-DK" dirty="0"/>
              <a:t>Som en del af OK24 er alle </a:t>
            </a:r>
            <a:r>
              <a:rPr lang="da-DK" dirty="0" err="1"/>
              <a:t>fritvalgstillæg</a:t>
            </a:r>
            <a:r>
              <a:rPr lang="da-DK" dirty="0"/>
              <a:t> i udgangspunktet lavet til forhøjet pension per 1.1.26</a:t>
            </a:r>
          </a:p>
          <a:p>
            <a:r>
              <a:rPr lang="da-DK" dirty="0"/>
              <a:t>Alle på 58 eller derover er blevet tilskrevet fra FRB kommune (Seniordage)</a:t>
            </a:r>
          </a:p>
        </p:txBody>
      </p:sp>
    </p:spTree>
    <p:extLst>
      <p:ext uri="{BB962C8B-B14F-4D97-AF65-F5344CB8AC3E}">
        <p14:creationId xmlns:p14="http://schemas.microsoft.com/office/powerpoint/2010/main" val="5044223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39462324-7EF1-4F62-ACD5-67B457538559}"/>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dirty="0" err="1">
                <a:solidFill>
                  <a:srgbClr val="FFFFFF"/>
                </a:solidFill>
              </a:rPr>
              <a:t>Februar</a:t>
            </a:r>
            <a:br>
              <a:rPr lang="en-US" sz="4000" kern="1200" dirty="0">
                <a:solidFill>
                  <a:srgbClr val="FFFFFF"/>
                </a:solidFill>
                <a:latin typeface="+mj-lt"/>
                <a:ea typeface="+mj-ea"/>
                <a:cs typeface="+mj-cs"/>
              </a:rPr>
            </a:br>
            <a:r>
              <a:rPr lang="en-US" sz="4000" kern="1200" dirty="0">
                <a:solidFill>
                  <a:srgbClr val="FFFFFF"/>
                </a:solidFill>
                <a:latin typeface="+mj-lt"/>
                <a:ea typeface="+mj-ea"/>
                <a:cs typeface="+mj-cs"/>
              </a:rPr>
              <a:t>“</a:t>
            </a:r>
            <a:r>
              <a:rPr lang="en-US" sz="4000" kern="1200" dirty="0" err="1">
                <a:solidFill>
                  <a:srgbClr val="FFFFFF"/>
                </a:solidFill>
                <a:latin typeface="+mj-lt"/>
                <a:ea typeface="+mj-ea"/>
                <a:cs typeface="+mj-cs"/>
              </a:rPr>
              <a:t>Nyt</a:t>
            </a:r>
            <a:r>
              <a:rPr lang="en-US" sz="4000" kern="1200" dirty="0">
                <a:solidFill>
                  <a:srgbClr val="FFFFFF"/>
                </a:solidFill>
                <a:latin typeface="+mj-lt"/>
                <a:ea typeface="+mj-ea"/>
                <a:cs typeface="+mj-cs"/>
              </a:rPr>
              <a:t> </a:t>
            </a:r>
            <a:r>
              <a:rPr lang="en-US" sz="4000" kern="1200" dirty="0" err="1">
                <a:solidFill>
                  <a:srgbClr val="FFFFFF"/>
                </a:solidFill>
                <a:latin typeface="+mj-lt"/>
                <a:ea typeface="+mj-ea"/>
                <a:cs typeface="+mj-cs"/>
              </a:rPr>
              <a:t>fra</a:t>
            </a:r>
            <a:r>
              <a:rPr lang="en-US" sz="4000" kern="1200" dirty="0">
                <a:solidFill>
                  <a:srgbClr val="FFFFFF"/>
                </a:solidFill>
                <a:latin typeface="+mj-lt"/>
                <a:ea typeface="+mj-ea"/>
                <a:cs typeface="+mj-cs"/>
              </a:rPr>
              <a:t> TR I LFS”</a:t>
            </a:r>
          </a:p>
        </p:txBody>
      </p:sp>
      <p:graphicFrame>
        <p:nvGraphicFramePr>
          <p:cNvPr id="3" name="Objekt 2">
            <a:extLst>
              <a:ext uri="{FF2B5EF4-FFF2-40B4-BE49-F238E27FC236}">
                <a16:creationId xmlns:a16="http://schemas.microsoft.com/office/drawing/2014/main" id="{0B048E87-70E3-69CF-C424-E277ED5A2627}"/>
              </a:ext>
            </a:extLst>
          </p:cNvPr>
          <p:cNvGraphicFramePr>
            <a:graphicFrameLocks noChangeAspect="1"/>
          </p:cNvGraphicFramePr>
          <p:nvPr>
            <p:extLst>
              <p:ext uri="{D42A27DB-BD31-4B8C-83A1-F6EECF244321}">
                <p14:modId xmlns:p14="http://schemas.microsoft.com/office/powerpoint/2010/main" val="3469138020"/>
              </p:ext>
            </p:extLst>
          </p:nvPr>
        </p:nvGraphicFramePr>
        <p:xfrm>
          <a:off x="4495807" y="616006"/>
          <a:ext cx="7278688" cy="5418138"/>
        </p:xfrm>
        <a:graphic>
          <a:graphicData uri="http://schemas.openxmlformats.org/presentationml/2006/ole">
            <mc:AlternateContent xmlns:mc="http://schemas.openxmlformats.org/markup-compatibility/2006">
              <mc:Choice xmlns:v="urn:schemas-microsoft-com:vml" Requires="v">
                <p:oleObj name="Document" r:id="rId3" imgW="10666505" imgH="7939603" progId="Word.Document.12">
                  <p:embed/>
                </p:oleObj>
              </mc:Choice>
              <mc:Fallback>
                <p:oleObj name="Document" r:id="rId3" imgW="10666505" imgH="7939603" progId="Word.Document.12">
                  <p:embed/>
                  <p:pic>
                    <p:nvPicPr>
                      <p:cNvPr id="3" name="Objekt 2">
                        <a:extLst>
                          <a:ext uri="{FF2B5EF4-FFF2-40B4-BE49-F238E27FC236}">
                            <a16:creationId xmlns:a16="http://schemas.microsoft.com/office/drawing/2014/main" id="{0B048E87-70E3-69CF-C424-E277ED5A2627}"/>
                          </a:ext>
                        </a:extLst>
                      </p:cNvPr>
                      <p:cNvPicPr/>
                      <p:nvPr/>
                    </p:nvPicPr>
                    <p:blipFill>
                      <a:blip r:embed="rId4"/>
                      <a:stretch>
                        <a:fillRect/>
                      </a:stretch>
                    </p:blipFill>
                    <p:spPr>
                      <a:xfrm>
                        <a:off x="4495807" y="616006"/>
                        <a:ext cx="7278688" cy="5418138"/>
                      </a:xfrm>
                      <a:prstGeom prst="rect">
                        <a:avLst/>
                      </a:prstGeom>
                    </p:spPr>
                  </p:pic>
                </p:oleObj>
              </mc:Fallback>
            </mc:AlternateContent>
          </a:graphicData>
        </a:graphic>
      </p:graphicFrame>
    </p:spTree>
    <p:extLst>
      <p:ext uri="{BB962C8B-B14F-4D97-AF65-F5344CB8AC3E}">
        <p14:creationId xmlns:p14="http://schemas.microsoft.com/office/powerpoint/2010/main" val="31914696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FEF085B8-A2C0-4A6F-B663-CCC56F3CD37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13">
            <a:extLst>
              <a:ext uri="{FF2B5EF4-FFF2-40B4-BE49-F238E27FC236}">
                <a16:creationId xmlns:a16="http://schemas.microsoft.com/office/drawing/2014/main" id="{2658F6D6-96E0-421A-96D6-3DF4040085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11">
            <a:extLst>
              <a:ext uri="{FF2B5EF4-FFF2-40B4-BE49-F238E27FC236}">
                <a16:creationId xmlns:a16="http://schemas.microsoft.com/office/drawing/2014/main" id="{3CF62545-93A0-4FD5-9B48-48DCA794CB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77F29649-795D-4C9D-CDD4-E24EBB2CDE6A}"/>
              </a:ext>
            </a:extLst>
          </p:cNvPr>
          <p:cNvSpPr>
            <a:spLocks noGrp="1"/>
          </p:cNvSpPr>
          <p:nvPr>
            <p:ph type="title"/>
          </p:nvPr>
        </p:nvSpPr>
        <p:spPr>
          <a:xfrm>
            <a:off x="838200" y="365125"/>
            <a:ext cx="10515600" cy="1325563"/>
          </a:xfrm>
        </p:spPr>
        <p:txBody>
          <a:bodyPr>
            <a:normAutofit/>
          </a:bodyPr>
          <a:lstStyle/>
          <a:p>
            <a:r>
              <a:rPr kumimoji="0" lang="da-DK" b="0" i="0" u="none" strike="noStrike" kern="1200" cap="none" spc="0" normalizeH="0" baseline="0" noProof="0">
                <a:ln>
                  <a:noFill/>
                </a:ln>
                <a:effectLst/>
                <a:uLnTx/>
                <a:uFillTx/>
                <a:latin typeface="Calibri Light" panose="020F0302020204030204"/>
                <a:ea typeface="+mj-ea"/>
                <a:cs typeface="+mj-cs"/>
              </a:rPr>
              <a:t>LFS Datoer 2026</a:t>
            </a:r>
            <a:endParaRPr lang="da-DK"/>
          </a:p>
        </p:txBody>
      </p:sp>
      <p:sp>
        <p:nvSpPr>
          <p:cNvPr id="3" name="Pladsholder til indhold 2">
            <a:extLst>
              <a:ext uri="{FF2B5EF4-FFF2-40B4-BE49-F238E27FC236}">
                <a16:creationId xmlns:a16="http://schemas.microsoft.com/office/drawing/2014/main" id="{537417D5-43A4-C730-4725-398F86994A80}"/>
              </a:ext>
            </a:extLst>
          </p:cNvPr>
          <p:cNvSpPr>
            <a:spLocks noGrp="1"/>
          </p:cNvSpPr>
          <p:nvPr>
            <p:ph sz="half" idx="1"/>
          </p:nvPr>
        </p:nvSpPr>
        <p:spPr>
          <a:xfrm>
            <a:off x="838200" y="2010833"/>
            <a:ext cx="5096934" cy="4166130"/>
          </a:xfrm>
        </p:spPr>
        <p:txBody>
          <a:bodyPr>
            <a:normAutofit/>
          </a:bodyPr>
          <a:lstStyle/>
          <a:p>
            <a:pPr indent="828040">
              <a:spcAft>
                <a:spcPts val="600"/>
              </a:spcAft>
              <a:buNone/>
            </a:pPr>
            <a:r>
              <a:rPr lang="da-DK" sz="1900" b="1" u="sng">
                <a:latin typeface="Calibri" panose="020F0502020204030204" pitchFamily="34" charset="0"/>
                <a:ea typeface="Calibri" panose="020F0502020204030204" pitchFamily="34" charset="0"/>
                <a:cs typeface="Times New Roman" panose="02020603050405020304" pitchFamily="18" charset="0"/>
              </a:rPr>
              <a:t>TR-Møder 2026:</a:t>
            </a:r>
            <a:endParaRPr lang="da-DK" sz="1900" b="1" u="sng">
              <a:effectLst/>
              <a:latin typeface="Calibri" panose="020F0502020204030204" pitchFamily="34" charset="0"/>
              <a:ea typeface="Calibri" panose="020F0502020204030204" pitchFamily="34" charset="0"/>
              <a:cs typeface="Times New Roman" panose="02020603050405020304" pitchFamily="18" charset="0"/>
            </a:endParaRPr>
          </a:p>
          <a:p>
            <a:pPr indent="828040">
              <a:spcAft>
                <a:spcPts val="600"/>
              </a:spcAft>
              <a:buNone/>
            </a:pPr>
            <a:r>
              <a:rPr lang="da-DK" sz="1900" b="1">
                <a:effectLst/>
                <a:latin typeface="Calibri" panose="020F0502020204030204" pitchFamily="34" charset="0"/>
                <a:ea typeface="Calibri" panose="020F0502020204030204" pitchFamily="34" charset="0"/>
                <a:cs typeface="Times New Roman" panose="02020603050405020304" pitchFamily="18" charset="0"/>
              </a:rPr>
              <a:t>Onsdag den 21. Januar 		</a:t>
            </a:r>
          </a:p>
          <a:p>
            <a:pPr indent="828040">
              <a:spcAft>
                <a:spcPts val="600"/>
              </a:spcAft>
              <a:buNone/>
            </a:pPr>
            <a:r>
              <a:rPr lang="da-DK" sz="1900" b="1">
                <a:effectLst/>
                <a:latin typeface="Calibri" panose="020F0502020204030204" pitchFamily="34" charset="0"/>
                <a:ea typeface="Calibri" panose="020F0502020204030204" pitchFamily="34" charset="0"/>
                <a:cs typeface="Times New Roman" panose="02020603050405020304" pitchFamily="18" charset="0"/>
              </a:rPr>
              <a:t>Onsdag den 18. Februar 		</a:t>
            </a:r>
            <a:endParaRPr lang="da-DK" sz="1900">
              <a:effectLst/>
              <a:latin typeface="Calibri" panose="020F0502020204030204" pitchFamily="34" charset="0"/>
              <a:ea typeface="Calibri" panose="020F0502020204030204" pitchFamily="34" charset="0"/>
              <a:cs typeface="Times New Roman" panose="02020603050405020304" pitchFamily="18" charset="0"/>
            </a:endParaRPr>
          </a:p>
          <a:p>
            <a:pPr indent="828040">
              <a:spcAft>
                <a:spcPts val="600"/>
              </a:spcAft>
              <a:buNone/>
            </a:pPr>
            <a:r>
              <a:rPr lang="da-DK" sz="1900" b="1">
                <a:effectLst/>
                <a:latin typeface="Calibri" panose="020F0502020204030204" pitchFamily="34" charset="0"/>
                <a:ea typeface="Calibri" panose="020F0502020204030204" pitchFamily="34" charset="0"/>
                <a:cs typeface="Times New Roman" panose="02020603050405020304" pitchFamily="18" charset="0"/>
              </a:rPr>
              <a:t>Onsdag den 4. Marts 		</a:t>
            </a:r>
            <a:endParaRPr lang="da-DK" sz="1900">
              <a:effectLst/>
              <a:latin typeface="Calibri" panose="020F0502020204030204" pitchFamily="34" charset="0"/>
              <a:ea typeface="Calibri" panose="020F0502020204030204" pitchFamily="34" charset="0"/>
              <a:cs typeface="Times New Roman" panose="02020603050405020304" pitchFamily="18" charset="0"/>
            </a:endParaRPr>
          </a:p>
          <a:p>
            <a:pPr indent="828040">
              <a:spcAft>
                <a:spcPts val="600"/>
              </a:spcAft>
              <a:buNone/>
            </a:pPr>
            <a:r>
              <a:rPr lang="da-DK" sz="1900" b="1">
                <a:effectLst/>
                <a:latin typeface="Calibri" panose="020F0502020204030204" pitchFamily="34" charset="0"/>
                <a:ea typeface="Calibri" panose="020F0502020204030204" pitchFamily="34" charset="0"/>
                <a:cs typeface="Times New Roman" panose="02020603050405020304" pitchFamily="18" charset="0"/>
              </a:rPr>
              <a:t>Onsdag den 13. Maj		</a:t>
            </a:r>
          </a:p>
          <a:p>
            <a:pPr indent="828040">
              <a:spcAft>
                <a:spcPts val="600"/>
              </a:spcAft>
              <a:buNone/>
            </a:pPr>
            <a:r>
              <a:rPr lang="da-DK" sz="1900" b="1">
                <a:effectLst/>
                <a:latin typeface="Calibri" panose="020F0502020204030204" pitchFamily="34" charset="0"/>
                <a:ea typeface="Calibri" panose="020F0502020204030204" pitchFamily="34" charset="0"/>
                <a:cs typeface="Times New Roman" panose="02020603050405020304" pitchFamily="18" charset="0"/>
              </a:rPr>
              <a:t>Torsdag den 11. Juni 		</a:t>
            </a:r>
            <a:endParaRPr lang="da-DK" sz="1900">
              <a:effectLst/>
              <a:latin typeface="Calibri" panose="020F0502020204030204" pitchFamily="34" charset="0"/>
              <a:ea typeface="Calibri" panose="020F0502020204030204" pitchFamily="34" charset="0"/>
              <a:cs typeface="Times New Roman" panose="02020603050405020304" pitchFamily="18" charset="0"/>
            </a:endParaRPr>
          </a:p>
          <a:p>
            <a:pPr indent="828040">
              <a:spcAft>
                <a:spcPts val="600"/>
              </a:spcAft>
              <a:buNone/>
            </a:pPr>
            <a:r>
              <a:rPr lang="da-DK" sz="1900" b="1">
                <a:effectLst/>
                <a:latin typeface="Calibri" panose="020F0502020204030204" pitchFamily="34" charset="0"/>
                <a:ea typeface="Calibri" panose="020F0502020204030204" pitchFamily="34" charset="0"/>
                <a:cs typeface="Times New Roman" panose="02020603050405020304" pitchFamily="18" charset="0"/>
              </a:rPr>
              <a:t>Onsdag den 2. September</a:t>
            </a:r>
            <a:endParaRPr lang="da-DK" sz="1900">
              <a:effectLst/>
              <a:latin typeface="Calibri" panose="020F0502020204030204" pitchFamily="34" charset="0"/>
              <a:ea typeface="Calibri" panose="020F0502020204030204" pitchFamily="34" charset="0"/>
              <a:cs typeface="Times New Roman" panose="02020603050405020304" pitchFamily="18" charset="0"/>
            </a:endParaRPr>
          </a:p>
          <a:p>
            <a:pPr indent="828040">
              <a:spcAft>
                <a:spcPts val="600"/>
              </a:spcAft>
              <a:buNone/>
            </a:pPr>
            <a:r>
              <a:rPr lang="da-DK" sz="1900" b="1">
                <a:effectLst/>
                <a:latin typeface="Calibri" panose="020F0502020204030204" pitchFamily="34" charset="0"/>
                <a:ea typeface="Calibri" panose="020F0502020204030204" pitchFamily="34" charset="0"/>
                <a:cs typeface="Times New Roman" panose="02020603050405020304" pitchFamily="18" charset="0"/>
              </a:rPr>
              <a:t>Onsdag den 7. Oktober		</a:t>
            </a:r>
            <a:endParaRPr lang="da-DK" sz="1900">
              <a:effectLst/>
              <a:latin typeface="Calibri" panose="020F0502020204030204" pitchFamily="34" charset="0"/>
              <a:ea typeface="Calibri" panose="020F0502020204030204" pitchFamily="34" charset="0"/>
              <a:cs typeface="Times New Roman" panose="02020603050405020304" pitchFamily="18" charset="0"/>
            </a:endParaRPr>
          </a:p>
          <a:p>
            <a:pPr indent="828040">
              <a:spcAft>
                <a:spcPts val="600"/>
              </a:spcAft>
              <a:buNone/>
            </a:pPr>
            <a:r>
              <a:rPr lang="da-DK" sz="1900" b="1">
                <a:effectLst/>
                <a:latin typeface="Calibri" panose="020F0502020204030204" pitchFamily="34" charset="0"/>
                <a:ea typeface="Calibri" panose="020F0502020204030204" pitchFamily="34" charset="0"/>
                <a:cs typeface="Times New Roman" panose="02020603050405020304" pitchFamily="18" charset="0"/>
              </a:rPr>
              <a:t>Onsdag den 4. November	</a:t>
            </a:r>
            <a:endParaRPr lang="da-DK" sz="1900">
              <a:effectLst/>
              <a:latin typeface="Calibri" panose="020F0502020204030204" pitchFamily="34" charset="0"/>
              <a:ea typeface="Calibri" panose="020F0502020204030204" pitchFamily="34" charset="0"/>
              <a:cs typeface="Times New Roman" panose="02020603050405020304" pitchFamily="18" charset="0"/>
            </a:endParaRPr>
          </a:p>
          <a:p>
            <a:endParaRPr lang="da-DK" sz="1900"/>
          </a:p>
        </p:txBody>
      </p:sp>
      <p:sp>
        <p:nvSpPr>
          <p:cNvPr id="4" name="Pladsholder til indhold 3">
            <a:extLst>
              <a:ext uri="{FF2B5EF4-FFF2-40B4-BE49-F238E27FC236}">
                <a16:creationId xmlns:a16="http://schemas.microsoft.com/office/drawing/2014/main" id="{17F44909-DA8A-6FDC-9483-A47FAEE9DE7F}"/>
              </a:ext>
            </a:extLst>
          </p:cNvPr>
          <p:cNvSpPr>
            <a:spLocks noGrp="1"/>
          </p:cNvSpPr>
          <p:nvPr>
            <p:ph sz="half" idx="2"/>
          </p:nvPr>
        </p:nvSpPr>
        <p:spPr>
          <a:xfrm>
            <a:off x="6256866" y="2010833"/>
            <a:ext cx="5096933" cy="4166130"/>
          </a:xfrm>
        </p:spPr>
        <p:txBody>
          <a:bodyPr>
            <a:normAutofit/>
          </a:bodyPr>
          <a:lstStyle/>
          <a:p>
            <a:pPr marL="0" marR="0" lvl="0" indent="0" defTabSz="914400" rtl="0" eaLnBrk="1" fontAlgn="auto" latinLnBrk="0" hangingPunct="1">
              <a:spcBef>
                <a:spcPts val="1000"/>
              </a:spcBef>
              <a:spcAft>
                <a:spcPts val="0"/>
              </a:spcAft>
              <a:buClrTx/>
              <a:buSzTx/>
              <a:buNone/>
              <a:tabLst/>
              <a:defRPr/>
            </a:pPr>
            <a:r>
              <a:rPr kumimoji="0" lang="da-DK" sz="2000" b="0" i="0" u="sng" strike="noStrike" kern="1200" cap="none" spc="0" normalizeH="0" baseline="0" noProof="0" dirty="0">
                <a:ln>
                  <a:noFill/>
                </a:ln>
                <a:effectLst/>
                <a:uLnTx/>
                <a:uFillTx/>
                <a:latin typeface="Calibri" panose="020F0502020204030204"/>
                <a:ea typeface="+mn-ea"/>
                <a:cs typeface="+mn-cs"/>
              </a:rPr>
              <a:t>Andre vigtige datoer:</a:t>
            </a:r>
          </a:p>
          <a:p>
            <a:pPr marL="228600" marR="0" lvl="0" indent="-228600" defTabSz="914400" rtl="0" eaLnBrk="1" fontAlgn="auto" latinLnBrk="0" hangingPunct="1">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effectLst/>
                <a:uLnTx/>
                <a:uFillTx/>
                <a:latin typeface="Calibri" panose="020F0502020204030204"/>
                <a:ea typeface="+mn-ea"/>
                <a:cs typeface="+mn-cs"/>
              </a:rPr>
              <a:t>8. marts arrangement 		8.3.26	</a:t>
            </a:r>
          </a:p>
          <a:p>
            <a:pPr marL="228600" marR="0" lvl="0" indent="-228600" defTabSz="914400" rtl="0" eaLnBrk="1" fontAlgn="auto" latinLnBrk="0" hangingPunct="1">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effectLst/>
                <a:uLnTx/>
                <a:uFillTx/>
                <a:latin typeface="Calibri" panose="020F0502020204030204"/>
                <a:ea typeface="+mn-ea"/>
                <a:cs typeface="+mn-cs"/>
              </a:rPr>
              <a:t>TR fest 			12.6.26</a:t>
            </a:r>
          </a:p>
          <a:p>
            <a:pPr marL="228600" marR="0" lvl="0" indent="-228600" defTabSz="914400" rtl="0" eaLnBrk="1" fontAlgn="auto" latinLnBrk="0" hangingPunct="1">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effectLst/>
                <a:uLnTx/>
                <a:uFillTx/>
                <a:latin typeface="Calibri" panose="020F0502020204030204"/>
                <a:ea typeface="+mn-ea"/>
                <a:cs typeface="+mn-cs"/>
              </a:rPr>
              <a:t>Generalforsamling LFS Almen	22.9.26</a:t>
            </a:r>
          </a:p>
          <a:p>
            <a:pPr marL="228600" marR="0" lvl="0" indent="-228600" defTabSz="914400" rtl="0" eaLnBrk="1" fontAlgn="auto" latinLnBrk="0" hangingPunct="1">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effectLst/>
                <a:uLnTx/>
                <a:uFillTx/>
                <a:latin typeface="Calibri" panose="020F0502020204030204"/>
                <a:ea typeface="+mn-ea"/>
                <a:cs typeface="+mn-cs"/>
              </a:rPr>
              <a:t>Repræsentantskab		20.11.26 – 21.11.26</a:t>
            </a:r>
          </a:p>
          <a:p>
            <a:endParaRPr lang="da-DK" sz="2000" dirty="0"/>
          </a:p>
        </p:txBody>
      </p:sp>
    </p:spTree>
    <p:extLst>
      <p:ext uri="{BB962C8B-B14F-4D97-AF65-F5344CB8AC3E}">
        <p14:creationId xmlns:p14="http://schemas.microsoft.com/office/powerpoint/2010/main" val="2628206192"/>
      </p:ext>
    </p:extLst>
  </p:cSld>
  <p:clrMapOvr>
    <a:overrideClrMapping bg1="dk1" tx1="lt1" bg2="dk2" tx2="lt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C148B5A9-2647-3CE6-F844-10A1CA9DD186}"/>
              </a:ext>
            </a:extLst>
          </p:cNvPr>
          <p:cNvPicPr>
            <a:picLocks noChangeAspect="1"/>
          </p:cNvPicPr>
          <p:nvPr/>
        </p:nvPicPr>
        <p:blipFill>
          <a:blip r:embed="rId3"/>
          <a:srcRect l="6744" r="10562" b="1"/>
          <a:stretch>
            <a:fillRect/>
          </a:stretch>
        </p:blipFill>
        <p:spPr>
          <a:xfrm>
            <a:off x="3882570" y="10"/>
            <a:ext cx="8309429" cy="6857990"/>
          </a:xfrm>
          <a:custGeom>
            <a:avLst/>
            <a:gdLst/>
            <a:ahLst/>
            <a:cxnLst/>
            <a:rect l="l" t="t" r="r" b="b"/>
            <a:pathLst>
              <a:path w="12192000" h="6858000">
                <a:moveTo>
                  <a:pt x="0" y="0"/>
                </a:moveTo>
                <a:lnTo>
                  <a:pt x="12192000" y="0"/>
                </a:lnTo>
                <a:lnTo>
                  <a:pt x="12192000" y="6858000"/>
                </a:lnTo>
                <a:lnTo>
                  <a:pt x="0" y="6858000"/>
                </a:lnTo>
                <a:close/>
              </a:path>
            </a:pathLst>
          </a:custGeom>
        </p:spPr>
      </p:pic>
      <p:grpSp>
        <p:nvGrpSpPr>
          <p:cNvPr id="37" name="Group 27">
            <a:extLst>
              <a:ext uri="{FF2B5EF4-FFF2-40B4-BE49-F238E27FC236}">
                <a16:creationId xmlns:a16="http://schemas.microsoft.com/office/drawing/2014/main" id="{63737881-458F-40AD-B72B-B57D267DC42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 y="-1"/>
            <a:ext cx="4581527" cy="6858002"/>
            <a:chOff x="-2" y="-1"/>
            <a:chExt cx="4581527" cy="6858002"/>
          </a:xfrm>
          <a:effectLst>
            <a:outerShdw blurRad="381000" dist="50800" algn="ctr" rotWithShape="0">
              <a:srgbClr val="000000">
                <a:alpha val="10000"/>
              </a:srgbClr>
            </a:outerShdw>
          </a:effectLst>
        </p:grpSpPr>
        <p:sp>
          <p:nvSpPr>
            <p:cNvPr id="29" name="Freeform: Shape 28">
              <a:extLst>
                <a:ext uri="{FF2B5EF4-FFF2-40B4-BE49-F238E27FC236}">
                  <a16:creationId xmlns:a16="http://schemas.microsoft.com/office/drawing/2014/main" id="{C2967126-346F-41EA-982D-63D8EBB60D1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 y="-1"/>
              <a:ext cx="4572002" cy="6858002"/>
            </a:xfrm>
            <a:custGeom>
              <a:avLst/>
              <a:gdLst>
                <a:gd name="connsiteX0" fmla="*/ 4214994 w 4572002"/>
                <a:gd name="connsiteY0" fmla="*/ 6564620 h 6858002"/>
                <a:gd name="connsiteX1" fmla="*/ 4214994 w 4572002"/>
                <a:gd name="connsiteY1" fmla="*/ 6564621 h 6858002"/>
                <a:gd name="connsiteX2" fmla="*/ 4237474 w 4572002"/>
                <a:gd name="connsiteY2" fmla="*/ 6588626 h 6858002"/>
                <a:gd name="connsiteX3" fmla="*/ 4254096 w 4572002"/>
                <a:gd name="connsiteY3" fmla="*/ 6625225 h 6858002"/>
                <a:gd name="connsiteX4" fmla="*/ 4247001 w 4572002"/>
                <a:gd name="connsiteY4" fmla="*/ 6662540 h 6858002"/>
                <a:gd name="connsiteX5" fmla="*/ 4247000 w 4572002"/>
                <a:gd name="connsiteY5" fmla="*/ 6662541 h 6858002"/>
                <a:gd name="connsiteX6" fmla="*/ 4246999 w 4572002"/>
                <a:gd name="connsiteY6" fmla="*/ 6662544 h 6858002"/>
                <a:gd name="connsiteX7" fmla="*/ 4235550 w 4572002"/>
                <a:gd name="connsiteY7" fmla="*/ 6683027 h 6858002"/>
                <a:gd name="connsiteX8" fmla="*/ 4232403 w 4572002"/>
                <a:gd name="connsiteY8" fmla="*/ 6702976 h 6858002"/>
                <a:gd name="connsiteX9" fmla="*/ 4232403 w 4572002"/>
                <a:gd name="connsiteY9" fmla="*/ 6702977 h 6858002"/>
                <a:gd name="connsiteX10" fmla="*/ 4246238 w 4572002"/>
                <a:gd name="connsiteY10" fmla="*/ 6742553 h 6858002"/>
                <a:gd name="connsiteX11" fmla="*/ 4246239 w 4572002"/>
                <a:gd name="connsiteY11" fmla="*/ 6742555 h 6858002"/>
                <a:gd name="connsiteX12" fmla="*/ 4265716 w 4572002"/>
                <a:gd name="connsiteY12" fmla="*/ 6812062 h 6858002"/>
                <a:gd name="connsiteX13" fmla="*/ 4265717 w 4572002"/>
                <a:gd name="connsiteY13" fmla="*/ 6812064 h 6858002"/>
                <a:gd name="connsiteX14" fmla="*/ 4265717 w 4572002"/>
                <a:gd name="connsiteY14" fmla="*/ 6812063 h 6858002"/>
                <a:gd name="connsiteX15" fmla="*/ 4265716 w 4572002"/>
                <a:gd name="connsiteY15" fmla="*/ 6812062 h 6858002"/>
                <a:gd name="connsiteX16" fmla="*/ 4260942 w 4572002"/>
                <a:gd name="connsiteY16" fmla="*/ 6776800 h 6858002"/>
                <a:gd name="connsiteX17" fmla="*/ 4246239 w 4572002"/>
                <a:gd name="connsiteY17" fmla="*/ 6742555 h 6858002"/>
                <a:gd name="connsiteX18" fmla="*/ 4246238 w 4572002"/>
                <a:gd name="connsiteY18" fmla="*/ 6742552 h 6858002"/>
                <a:gd name="connsiteX19" fmla="*/ 4232403 w 4572002"/>
                <a:gd name="connsiteY19" fmla="*/ 6702976 h 6858002"/>
                <a:gd name="connsiteX20" fmla="*/ 4246999 w 4572002"/>
                <a:gd name="connsiteY20" fmla="*/ 6662544 h 6858002"/>
                <a:gd name="connsiteX21" fmla="*/ 4247000 w 4572002"/>
                <a:gd name="connsiteY21" fmla="*/ 6662542 h 6858002"/>
                <a:gd name="connsiteX22" fmla="*/ 4247001 w 4572002"/>
                <a:gd name="connsiteY22" fmla="*/ 6662540 h 6858002"/>
                <a:gd name="connsiteX23" fmla="*/ 4254084 w 4572002"/>
                <a:gd name="connsiteY23" fmla="*/ 6645552 h 6858002"/>
                <a:gd name="connsiteX24" fmla="*/ 4254096 w 4572002"/>
                <a:gd name="connsiteY24" fmla="*/ 6625225 h 6858002"/>
                <a:gd name="connsiteX25" fmla="*/ 4254096 w 4572002"/>
                <a:gd name="connsiteY25" fmla="*/ 6625224 h 6858002"/>
                <a:gd name="connsiteX26" fmla="*/ 4237474 w 4572002"/>
                <a:gd name="connsiteY26" fmla="*/ 6588625 h 6858002"/>
                <a:gd name="connsiteX27" fmla="*/ 4295315 w 4572002"/>
                <a:gd name="connsiteY27" fmla="*/ 6438981 h 6858002"/>
                <a:gd name="connsiteX28" fmla="*/ 4275385 w 4572002"/>
                <a:gd name="connsiteY28" fmla="*/ 6463840 h 6858002"/>
                <a:gd name="connsiteX29" fmla="*/ 4275382 w 4572002"/>
                <a:gd name="connsiteY29" fmla="*/ 6463849 h 6858002"/>
                <a:gd name="connsiteX30" fmla="*/ 4261587 w 4572002"/>
                <a:gd name="connsiteY30" fmla="*/ 6513012 h 6858002"/>
                <a:gd name="connsiteX31" fmla="*/ 4242781 w 4572002"/>
                <a:gd name="connsiteY31" fmla="*/ 6546194 h 6858002"/>
                <a:gd name="connsiteX32" fmla="*/ 4242781 w 4572002"/>
                <a:gd name="connsiteY32" fmla="*/ 6546195 h 6858002"/>
                <a:gd name="connsiteX33" fmla="*/ 4259120 w 4572002"/>
                <a:gd name="connsiteY33" fmla="*/ 6521804 h 6858002"/>
                <a:gd name="connsiteX34" fmla="*/ 4261587 w 4572002"/>
                <a:gd name="connsiteY34" fmla="*/ 6513012 h 6858002"/>
                <a:gd name="connsiteX35" fmla="*/ 4264398 w 4572002"/>
                <a:gd name="connsiteY35" fmla="*/ 6508052 h 6858002"/>
                <a:gd name="connsiteX36" fmla="*/ 4275382 w 4572002"/>
                <a:gd name="connsiteY36" fmla="*/ 6463849 h 6858002"/>
                <a:gd name="connsiteX37" fmla="*/ 4275385 w 4572002"/>
                <a:gd name="connsiteY37" fmla="*/ 6463841 h 6858002"/>
                <a:gd name="connsiteX38" fmla="*/ 4295315 w 4572002"/>
                <a:gd name="connsiteY38" fmla="*/ 6438981 h 6858002"/>
                <a:gd name="connsiteX39" fmla="*/ 4381289 w 4572002"/>
                <a:gd name="connsiteY39" fmla="*/ 6365204 h 6858002"/>
                <a:gd name="connsiteX40" fmla="*/ 4380008 w 4572002"/>
                <a:gd name="connsiteY40" fmla="*/ 6387910 h 6858002"/>
                <a:gd name="connsiteX41" fmla="*/ 4378243 w 4572002"/>
                <a:gd name="connsiteY41" fmla="*/ 6391549 h 6858002"/>
                <a:gd name="connsiteX42" fmla="*/ 4370589 w 4572002"/>
                <a:gd name="connsiteY42" fmla="*/ 6407332 h 6858002"/>
                <a:gd name="connsiteX43" fmla="*/ 4370589 w 4572002"/>
                <a:gd name="connsiteY43" fmla="*/ 6407333 h 6858002"/>
                <a:gd name="connsiteX44" fmla="*/ 4378243 w 4572002"/>
                <a:gd name="connsiteY44" fmla="*/ 6391549 h 6858002"/>
                <a:gd name="connsiteX45" fmla="*/ 4380008 w 4572002"/>
                <a:gd name="connsiteY45" fmla="*/ 6387910 h 6858002"/>
                <a:gd name="connsiteX46" fmla="*/ 4142220 w 4572002"/>
                <a:gd name="connsiteY46" fmla="*/ 4221391 h 6858002"/>
                <a:gd name="connsiteX47" fmla="*/ 4142220 w 4572002"/>
                <a:gd name="connsiteY47" fmla="*/ 4221392 h 6858002"/>
                <a:gd name="connsiteX48" fmla="*/ 4147936 w 4572002"/>
                <a:gd name="connsiteY48" fmla="*/ 4253015 h 6858002"/>
                <a:gd name="connsiteX49" fmla="*/ 4187752 w 4572002"/>
                <a:gd name="connsiteY49" fmla="*/ 4324646 h 6858002"/>
                <a:gd name="connsiteX50" fmla="*/ 4196706 w 4572002"/>
                <a:gd name="connsiteY50" fmla="*/ 4363891 h 6858002"/>
                <a:gd name="connsiteX51" fmla="*/ 4195944 w 4572002"/>
                <a:gd name="connsiteY51" fmla="*/ 4482004 h 6858002"/>
                <a:gd name="connsiteX52" fmla="*/ 4135934 w 4572002"/>
                <a:gd name="connsiteY52" fmla="*/ 4659174 h 6858002"/>
                <a:gd name="connsiteX53" fmla="*/ 4127932 w 4572002"/>
                <a:gd name="connsiteY53" fmla="*/ 4677655 h 6858002"/>
                <a:gd name="connsiteX54" fmla="*/ 4118025 w 4572002"/>
                <a:gd name="connsiteY54" fmla="*/ 4767764 h 6858002"/>
                <a:gd name="connsiteX55" fmla="*/ 4116716 w 4572002"/>
                <a:gd name="connsiteY55" fmla="*/ 4800483 h 6858002"/>
                <a:gd name="connsiteX56" fmla="*/ 4116716 w 4572002"/>
                <a:gd name="connsiteY56" fmla="*/ 4800484 h 6858002"/>
                <a:gd name="connsiteX57" fmla="*/ 4131552 w 4572002"/>
                <a:gd name="connsiteY57" fmla="*/ 4828917 h 6858002"/>
                <a:gd name="connsiteX58" fmla="*/ 4153733 w 4572002"/>
                <a:gd name="connsiteY58" fmla="*/ 4863343 h 6858002"/>
                <a:gd name="connsiteX59" fmla="*/ 4161262 w 4572002"/>
                <a:gd name="connsiteY59" fmla="*/ 4889275 h 6858002"/>
                <a:gd name="connsiteX60" fmla="*/ 4159557 w 4572002"/>
                <a:gd name="connsiteY60" fmla="*/ 4912168 h 6858002"/>
                <a:gd name="connsiteX61" fmla="*/ 4158155 w 4572002"/>
                <a:gd name="connsiteY61" fmla="*/ 4933804 h 6858002"/>
                <a:gd name="connsiteX62" fmla="*/ 4158155 w 4572002"/>
                <a:gd name="connsiteY62" fmla="*/ 4933805 h 6858002"/>
                <a:gd name="connsiteX63" fmla="*/ 4162914 w 4572002"/>
                <a:gd name="connsiteY63" fmla="*/ 4952673 h 6858002"/>
                <a:gd name="connsiteX64" fmla="*/ 4165707 w 4572002"/>
                <a:gd name="connsiteY64" fmla="*/ 4957454 h 6858002"/>
                <a:gd name="connsiteX65" fmla="*/ 4166985 w 4572002"/>
                <a:gd name="connsiteY65" fmla="*/ 4961456 h 6858002"/>
                <a:gd name="connsiteX66" fmla="*/ 4182989 w 4572002"/>
                <a:gd name="connsiteY66" fmla="*/ 4987038 h 6858002"/>
                <a:gd name="connsiteX67" fmla="*/ 4209468 w 4572002"/>
                <a:gd name="connsiteY67" fmla="*/ 5041522 h 6858002"/>
                <a:gd name="connsiteX68" fmla="*/ 4216684 w 4572002"/>
                <a:gd name="connsiteY68" fmla="*/ 5072376 h 6858002"/>
                <a:gd name="connsiteX69" fmla="*/ 4222587 w 4572002"/>
                <a:gd name="connsiteY69" fmla="*/ 5087441 h 6858002"/>
                <a:gd name="connsiteX70" fmla="*/ 4235615 w 4572002"/>
                <a:gd name="connsiteY70" fmla="*/ 5133220 h 6858002"/>
                <a:gd name="connsiteX71" fmla="*/ 4235616 w 4572002"/>
                <a:gd name="connsiteY71" fmla="*/ 5133225 h 6858002"/>
                <a:gd name="connsiteX72" fmla="*/ 4228901 w 4572002"/>
                <a:gd name="connsiteY72" fmla="*/ 5166113 h 6858002"/>
                <a:gd name="connsiteX73" fmla="*/ 4228901 w 4572002"/>
                <a:gd name="connsiteY73" fmla="*/ 5166114 h 6858002"/>
                <a:gd name="connsiteX74" fmla="*/ 4229593 w 4572002"/>
                <a:gd name="connsiteY74" fmla="*/ 5172091 h 6858002"/>
                <a:gd name="connsiteX75" fmla="*/ 4232139 w 4572002"/>
                <a:gd name="connsiteY75" fmla="*/ 5179068 h 6858002"/>
                <a:gd name="connsiteX76" fmla="*/ 4231973 w 4572002"/>
                <a:gd name="connsiteY76" fmla="*/ 5229434 h 6858002"/>
                <a:gd name="connsiteX77" fmla="*/ 4225669 w 4572002"/>
                <a:gd name="connsiteY77" fmla="*/ 5241089 h 6858002"/>
                <a:gd name="connsiteX78" fmla="*/ 4208517 w 4572002"/>
                <a:gd name="connsiteY78" fmla="*/ 5272796 h 6858002"/>
                <a:gd name="connsiteX79" fmla="*/ 4184613 w 4572002"/>
                <a:gd name="connsiteY79" fmla="*/ 5312288 h 6858002"/>
                <a:gd name="connsiteX80" fmla="*/ 4183557 w 4572002"/>
                <a:gd name="connsiteY80" fmla="*/ 5321350 h 6858002"/>
                <a:gd name="connsiteX81" fmla="*/ 4181083 w 4572002"/>
                <a:gd name="connsiteY81" fmla="*/ 5326163 h 6858002"/>
                <a:gd name="connsiteX82" fmla="*/ 4179637 w 4572002"/>
                <a:gd name="connsiteY82" fmla="*/ 5355014 h 6858002"/>
                <a:gd name="connsiteX83" fmla="*/ 4179637 w 4572002"/>
                <a:gd name="connsiteY83" fmla="*/ 5355015 h 6858002"/>
                <a:gd name="connsiteX84" fmla="*/ 4184513 w 4572002"/>
                <a:gd name="connsiteY84" fmla="*/ 5385385 h 6858002"/>
                <a:gd name="connsiteX85" fmla="*/ 4192704 w 4572002"/>
                <a:gd name="connsiteY85" fmla="*/ 5425583 h 6858002"/>
                <a:gd name="connsiteX86" fmla="*/ 4204327 w 4572002"/>
                <a:gd name="connsiteY86" fmla="*/ 5480638 h 6858002"/>
                <a:gd name="connsiteX87" fmla="*/ 4208850 w 4572002"/>
                <a:gd name="connsiteY87" fmla="*/ 5507668 h 6858002"/>
                <a:gd name="connsiteX88" fmla="*/ 4198232 w 4572002"/>
                <a:gd name="connsiteY88" fmla="*/ 5531692 h 6858002"/>
                <a:gd name="connsiteX89" fmla="*/ 4198231 w 4572002"/>
                <a:gd name="connsiteY89" fmla="*/ 5531693 h 6858002"/>
                <a:gd name="connsiteX90" fmla="*/ 4188085 w 4572002"/>
                <a:gd name="connsiteY90" fmla="*/ 5547578 h 6858002"/>
                <a:gd name="connsiteX91" fmla="*/ 4188085 w 4572002"/>
                <a:gd name="connsiteY91" fmla="*/ 5547579 h 6858002"/>
                <a:gd name="connsiteX92" fmla="*/ 4197659 w 4572002"/>
                <a:gd name="connsiteY92" fmla="*/ 5562747 h 6858002"/>
                <a:gd name="connsiteX93" fmla="*/ 4268907 w 4572002"/>
                <a:gd name="connsiteY93" fmla="*/ 5704484 h 6858002"/>
                <a:gd name="connsiteX94" fmla="*/ 4274812 w 4572002"/>
                <a:gd name="connsiteY94" fmla="*/ 5740489 h 6858002"/>
                <a:gd name="connsiteX95" fmla="*/ 4283578 w 4572002"/>
                <a:gd name="connsiteY95" fmla="*/ 5760874 h 6858002"/>
                <a:gd name="connsiteX96" fmla="*/ 4371973 w 4572002"/>
                <a:gd name="connsiteY96" fmla="*/ 5883752 h 6858002"/>
                <a:gd name="connsiteX97" fmla="*/ 4371974 w 4572002"/>
                <a:gd name="connsiteY97" fmla="*/ 5883757 h 6858002"/>
                <a:gd name="connsiteX98" fmla="*/ 4389877 w 4572002"/>
                <a:gd name="connsiteY98" fmla="*/ 5935946 h 6858002"/>
                <a:gd name="connsiteX99" fmla="*/ 4389878 w 4572002"/>
                <a:gd name="connsiteY99" fmla="*/ 5935950 h 6858002"/>
                <a:gd name="connsiteX100" fmla="*/ 4386259 w 4572002"/>
                <a:gd name="connsiteY100" fmla="*/ 5993290 h 6858002"/>
                <a:gd name="connsiteX101" fmla="*/ 4386259 w 4572002"/>
                <a:gd name="connsiteY101" fmla="*/ 5993291 h 6858002"/>
                <a:gd name="connsiteX102" fmla="*/ 4379782 w 4572002"/>
                <a:gd name="connsiteY102" fmla="*/ 6026440 h 6858002"/>
                <a:gd name="connsiteX103" fmla="*/ 4323583 w 4572002"/>
                <a:gd name="connsiteY103" fmla="*/ 6108738 h 6858002"/>
                <a:gd name="connsiteX104" fmla="*/ 4309890 w 4572002"/>
                <a:gd name="connsiteY104" fmla="*/ 6133314 h 6858002"/>
                <a:gd name="connsiteX105" fmla="*/ 4309890 w 4572002"/>
                <a:gd name="connsiteY105" fmla="*/ 6133315 h 6858002"/>
                <a:gd name="connsiteX106" fmla="*/ 4313591 w 4572002"/>
                <a:gd name="connsiteY106" fmla="*/ 6143190 h 6858002"/>
                <a:gd name="connsiteX107" fmla="*/ 4325486 w 4572002"/>
                <a:gd name="connsiteY107" fmla="*/ 6155600 h 6858002"/>
                <a:gd name="connsiteX108" fmla="*/ 4325488 w 4572002"/>
                <a:gd name="connsiteY108" fmla="*/ 6155603 h 6858002"/>
                <a:gd name="connsiteX109" fmla="*/ 4364160 w 4572002"/>
                <a:gd name="connsiteY109" fmla="*/ 6228757 h 6858002"/>
                <a:gd name="connsiteX110" fmla="*/ 4381497 w 4572002"/>
                <a:gd name="connsiteY110" fmla="*/ 6361540 h 6858002"/>
                <a:gd name="connsiteX111" fmla="*/ 4381497 w 4572002"/>
                <a:gd name="connsiteY111" fmla="*/ 6361539 h 6858002"/>
                <a:gd name="connsiteX112" fmla="*/ 4364160 w 4572002"/>
                <a:gd name="connsiteY112" fmla="*/ 6228756 h 6858002"/>
                <a:gd name="connsiteX113" fmla="*/ 4325488 w 4572002"/>
                <a:gd name="connsiteY113" fmla="*/ 6155602 h 6858002"/>
                <a:gd name="connsiteX114" fmla="*/ 4325486 w 4572002"/>
                <a:gd name="connsiteY114" fmla="*/ 6155600 h 6858002"/>
                <a:gd name="connsiteX115" fmla="*/ 4309890 w 4572002"/>
                <a:gd name="connsiteY115" fmla="*/ 6133315 h 6858002"/>
                <a:gd name="connsiteX116" fmla="*/ 4323583 w 4572002"/>
                <a:gd name="connsiteY116" fmla="*/ 6108739 h 6858002"/>
                <a:gd name="connsiteX117" fmla="*/ 4379782 w 4572002"/>
                <a:gd name="connsiteY117" fmla="*/ 6026441 h 6858002"/>
                <a:gd name="connsiteX118" fmla="*/ 4386259 w 4572002"/>
                <a:gd name="connsiteY118" fmla="*/ 5993292 h 6858002"/>
                <a:gd name="connsiteX119" fmla="*/ 4386259 w 4572002"/>
                <a:gd name="connsiteY119" fmla="*/ 5993290 h 6858002"/>
                <a:gd name="connsiteX120" fmla="*/ 4389712 w 4572002"/>
                <a:gd name="connsiteY120" fmla="*/ 5964477 h 6858002"/>
                <a:gd name="connsiteX121" fmla="*/ 4389878 w 4572002"/>
                <a:gd name="connsiteY121" fmla="*/ 5935950 h 6858002"/>
                <a:gd name="connsiteX122" fmla="*/ 4389878 w 4572002"/>
                <a:gd name="connsiteY122" fmla="*/ 5935949 h 6858002"/>
                <a:gd name="connsiteX123" fmla="*/ 4389877 w 4572002"/>
                <a:gd name="connsiteY123" fmla="*/ 5935946 h 6858002"/>
                <a:gd name="connsiteX124" fmla="*/ 4382997 w 4572002"/>
                <a:gd name="connsiteY124" fmla="*/ 5909351 h 6858002"/>
                <a:gd name="connsiteX125" fmla="*/ 4371974 w 4572002"/>
                <a:gd name="connsiteY125" fmla="*/ 5883757 h 6858002"/>
                <a:gd name="connsiteX126" fmla="*/ 4371973 w 4572002"/>
                <a:gd name="connsiteY126" fmla="*/ 5883751 h 6858002"/>
                <a:gd name="connsiteX127" fmla="*/ 4283578 w 4572002"/>
                <a:gd name="connsiteY127" fmla="*/ 5760873 h 6858002"/>
                <a:gd name="connsiteX128" fmla="*/ 4274812 w 4572002"/>
                <a:gd name="connsiteY128" fmla="*/ 5740488 h 6858002"/>
                <a:gd name="connsiteX129" fmla="*/ 4268907 w 4572002"/>
                <a:gd name="connsiteY129" fmla="*/ 5704483 h 6858002"/>
                <a:gd name="connsiteX130" fmla="*/ 4197659 w 4572002"/>
                <a:gd name="connsiteY130" fmla="*/ 5562746 h 6858002"/>
                <a:gd name="connsiteX131" fmla="*/ 4188085 w 4572002"/>
                <a:gd name="connsiteY131" fmla="*/ 5547578 h 6858002"/>
                <a:gd name="connsiteX132" fmla="*/ 4198231 w 4572002"/>
                <a:gd name="connsiteY132" fmla="*/ 5531694 h 6858002"/>
                <a:gd name="connsiteX133" fmla="*/ 4198232 w 4572002"/>
                <a:gd name="connsiteY133" fmla="*/ 5531692 h 6858002"/>
                <a:gd name="connsiteX134" fmla="*/ 4206630 w 4572002"/>
                <a:gd name="connsiteY134" fmla="*/ 5520422 h 6858002"/>
                <a:gd name="connsiteX135" fmla="*/ 4208850 w 4572002"/>
                <a:gd name="connsiteY135" fmla="*/ 5507668 h 6858002"/>
                <a:gd name="connsiteX136" fmla="*/ 4208850 w 4572002"/>
                <a:gd name="connsiteY136" fmla="*/ 5507667 h 6858002"/>
                <a:gd name="connsiteX137" fmla="*/ 4204327 w 4572002"/>
                <a:gd name="connsiteY137" fmla="*/ 5480637 h 6858002"/>
                <a:gd name="connsiteX138" fmla="*/ 4192704 w 4572002"/>
                <a:gd name="connsiteY138" fmla="*/ 5425582 h 6858002"/>
                <a:gd name="connsiteX139" fmla="*/ 4184513 w 4572002"/>
                <a:gd name="connsiteY139" fmla="*/ 5385384 h 6858002"/>
                <a:gd name="connsiteX140" fmla="*/ 4179637 w 4572002"/>
                <a:gd name="connsiteY140" fmla="*/ 5355014 h 6858002"/>
                <a:gd name="connsiteX141" fmla="*/ 4183557 w 4572002"/>
                <a:gd name="connsiteY141" fmla="*/ 5321350 h 6858002"/>
                <a:gd name="connsiteX142" fmla="*/ 4208517 w 4572002"/>
                <a:gd name="connsiteY142" fmla="*/ 5272797 h 6858002"/>
                <a:gd name="connsiteX143" fmla="*/ 4225669 w 4572002"/>
                <a:gd name="connsiteY143" fmla="*/ 5241089 h 6858002"/>
                <a:gd name="connsiteX144" fmla="*/ 4231973 w 4572002"/>
                <a:gd name="connsiteY144" fmla="*/ 5229433 h 6858002"/>
                <a:gd name="connsiteX145" fmla="*/ 4232139 w 4572002"/>
                <a:gd name="connsiteY145" fmla="*/ 5179068 h 6858002"/>
                <a:gd name="connsiteX146" fmla="*/ 4232139 w 4572002"/>
                <a:gd name="connsiteY146" fmla="*/ 5179067 h 6858002"/>
                <a:gd name="connsiteX147" fmla="*/ 4229593 w 4572002"/>
                <a:gd name="connsiteY147" fmla="*/ 5172090 h 6858002"/>
                <a:gd name="connsiteX148" fmla="*/ 4228901 w 4572002"/>
                <a:gd name="connsiteY148" fmla="*/ 5166114 h 6858002"/>
                <a:gd name="connsiteX149" fmla="*/ 4235616 w 4572002"/>
                <a:gd name="connsiteY149" fmla="*/ 5133225 h 6858002"/>
                <a:gd name="connsiteX150" fmla="*/ 4235616 w 4572002"/>
                <a:gd name="connsiteY150" fmla="*/ 5133224 h 6858002"/>
                <a:gd name="connsiteX151" fmla="*/ 4235615 w 4572002"/>
                <a:gd name="connsiteY151" fmla="*/ 5133220 h 6858002"/>
                <a:gd name="connsiteX152" fmla="*/ 4228473 w 4572002"/>
                <a:gd name="connsiteY152" fmla="*/ 5102461 h 6858002"/>
                <a:gd name="connsiteX153" fmla="*/ 4222587 w 4572002"/>
                <a:gd name="connsiteY153" fmla="*/ 5087441 h 6858002"/>
                <a:gd name="connsiteX154" fmla="*/ 4222582 w 4572002"/>
                <a:gd name="connsiteY154" fmla="*/ 5087423 h 6858002"/>
                <a:gd name="connsiteX155" fmla="*/ 4209468 w 4572002"/>
                <a:gd name="connsiteY155" fmla="*/ 5041521 h 6858002"/>
                <a:gd name="connsiteX156" fmla="*/ 4182989 w 4572002"/>
                <a:gd name="connsiteY156" fmla="*/ 4987037 h 6858002"/>
                <a:gd name="connsiteX157" fmla="*/ 4165707 w 4572002"/>
                <a:gd name="connsiteY157" fmla="*/ 4957454 h 6858002"/>
                <a:gd name="connsiteX158" fmla="*/ 4158155 w 4572002"/>
                <a:gd name="connsiteY158" fmla="*/ 4933805 h 6858002"/>
                <a:gd name="connsiteX159" fmla="*/ 4159557 w 4572002"/>
                <a:gd name="connsiteY159" fmla="*/ 4912169 h 6858002"/>
                <a:gd name="connsiteX160" fmla="*/ 4161262 w 4572002"/>
                <a:gd name="connsiteY160" fmla="*/ 4889276 h 6858002"/>
                <a:gd name="connsiteX161" fmla="*/ 4161262 w 4572002"/>
                <a:gd name="connsiteY161" fmla="*/ 4889275 h 6858002"/>
                <a:gd name="connsiteX162" fmla="*/ 4156484 w 4572002"/>
                <a:gd name="connsiteY162" fmla="*/ 4867614 h 6858002"/>
                <a:gd name="connsiteX163" fmla="*/ 4153733 w 4572002"/>
                <a:gd name="connsiteY163" fmla="*/ 4863343 h 6858002"/>
                <a:gd name="connsiteX164" fmla="*/ 4151983 w 4572002"/>
                <a:gd name="connsiteY164" fmla="*/ 4857317 h 6858002"/>
                <a:gd name="connsiteX165" fmla="*/ 4131552 w 4572002"/>
                <a:gd name="connsiteY165" fmla="*/ 4828916 h 6858002"/>
                <a:gd name="connsiteX166" fmla="*/ 4116716 w 4572002"/>
                <a:gd name="connsiteY166" fmla="*/ 4800483 h 6858002"/>
                <a:gd name="connsiteX167" fmla="*/ 4118025 w 4572002"/>
                <a:gd name="connsiteY167" fmla="*/ 4767765 h 6858002"/>
                <a:gd name="connsiteX168" fmla="*/ 4127932 w 4572002"/>
                <a:gd name="connsiteY168" fmla="*/ 4677656 h 6858002"/>
                <a:gd name="connsiteX169" fmla="*/ 4135934 w 4572002"/>
                <a:gd name="connsiteY169" fmla="*/ 4659175 h 6858002"/>
                <a:gd name="connsiteX170" fmla="*/ 4195944 w 4572002"/>
                <a:gd name="connsiteY170" fmla="*/ 4482005 h 6858002"/>
                <a:gd name="connsiteX171" fmla="*/ 4196706 w 4572002"/>
                <a:gd name="connsiteY171" fmla="*/ 4363891 h 6858002"/>
                <a:gd name="connsiteX172" fmla="*/ 4196706 w 4572002"/>
                <a:gd name="connsiteY172" fmla="*/ 4363890 h 6858002"/>
                <a:gd name="connsiteX173" fmla="*/ 4187752 w 4572002"/>
                <a:gd name="connsiteY173" fmla="*/ 4324645 h 6858002"/>
                <a:gd name="connsiteX174" fmla="*/ 4147936 w 4572002"/>
                <a:gd name="connsiteY174" fmla="*/ 4253014 h 6858002"/>
                <a:gd name="connsiteX175" fmla="*/ 4211111 w 4572002"/>
                <a:gd name="connsiteY175" fmla="*/ 2836172 h 6858002"/>
                <a:gd name="connsiteX176" fmla="*/ 4202421 w 4572002"/>
                <a:gd name="connsiteY176" fmla="*/ 2848793 h 6858002"/>
                <a:gd name="connsiteX177" fmla="*/ 4186816 w 4572002"/>
                <a:gd name="connsiteY177" fmla="*/ 2897785 h 6858002"/>
                <a:gd name="connsiteX178" fmla="*/ 4185787 w 4572002"/>
                <a:gd name="connsiteY178" fmla="*/ 2903551 h 6858002"/>
                <a:gd name="connsiteX179" fmla="*/ 4182513 w 4572002"/>
                <a:gd name="connsiteY179" fmla="*/ 2914328 h 6858002"/>
                <a:gd name="connsiteX180" fmla="*/ 4177882 w 4572002"/>
                <a:gd name="connsiteY180" fmla="*/ 2947858 h 6858002"/>
                <a:gd name="connsiteX181" fmla="*/ 4177881 w 4572002"/>
                <a:gd name="connsiteY181" fmla="*/ 2947862 h 6858002"/>
                <a:gd name="connsiteX182" fmla="*/ 4177881 w 4572002"/>
                <a:gd name="connsiteY182" fmla="*/ 2947863 h 6858002"/>
                <a:gd name="connsiteX183" fmla="*/ 4181465 w 4572002"/>
                <a:gd name="connsiteY183" fmla="*/ 2982149 h 6858002"/>
                <a:gd name="connsiteX184" fmla="*/ 4193158 w 4572002"/>
                <a:gd name="connsiteY184" fmla="*/ 3077402 h 6858002"/>
                <a:gd name="connsiteX185" fmla="*/ 4180703 w 4572002"/>
                <a:gd name="connsiteY185" fmla="*/ 3172654 h 6858002"/>
                <a:gd name="connsiteX186" fmla="*/ 4133076 w 4572002"/>
                <a:gd name="connsiteY186" fmla="*/ 3489467 h 6858002"/>
                <a:gd name="connsiteX187" fmla="*/ 4110977 w 4572002"/>
                <a:gd name="connsiteY187" fmla="*/ 3544713 h 6858002"/>
                <a:gd name="connsiteX188" fmla="*/ 4093355 w 4572002"/>
                <a:gd name="connsiteY188" fmla="*/ 3574408 h 6858002"/>
                <a:gd name="connsiteX189" fmla="*/ 4093355 w 4572002"/>
                <a:gd name="connsiteY189" fmla="*/ 3574409 h 6858002"/>
                <a:gd name="connsiteX190" fmla="*/ 4105453 w 4572002"/>
                <a:gd name="connsiteY190" fmla="*/ 3606818 h 6858002"/>
                <a:gd name="connsiteX191" fmla="*/ 4118979 w 4572002"/>
                <a:gd name="connsiteY191" fmla="*/ 3630633 h 6858002"/>
                <a:gd name="connsiteX192" fmla="*/ 4136708 w 4572002"/>
                <a:gd name="connsiteY192" fmla="*/ 3654416 h 6858002"/>
                <a:gd name="connsiteX193" fmla="*/ 4140382 w 4572002"/>
                <a:gd name="connsiteY193" fmla="*/ 3668940 h 6858002"/>
                <a:gd name="connsiteX194" fmla="*/ 4143220 w 4572002"/>
                <a:gd name="connsiteY194" fmla="*/ 3680164 h 6858002"/>
                <a:gd name="connsiteX195" fmla="*/ 4139172 w 4572002"/>
                <a:gd name="connsiteY195" fmla="*/ 3734837 h 6858002"/>
                <a:gd name="connsiteX196" fmla="*/ 4139172 w 4572002"/>
                <a:gd name="connsiteY196" fmla="*/ 3734838 h 6858002"/>
                <a:gd name="connsiteX197" fmla="*/ 4139554 w 4572002"/>
                <a:gd name="connsiteY197" fmla="*/ 3754653 h 6858002"/>
                <a:gd name="connsiteX198" fmla="*/ 4145911 w 4572002"/>
                <a:gd name="connsiteY198" fmla="*/ 3789776 h 6858002"/>
                <a:gd name="connsiteX199" fmla="*/ 4130980 w 4572002"/>
                <a:gd name="connsiteY199" fmla="*/ 3822472 h 6858002"/>
                <a:gd name="connsiteX200" fmla="*/ 4116645 w 4572002"/>
                <a:gd name="connsiteY200" fmla="*/ 3852619 h 6858002"/>
                <a:gd name="connsiteX201" fmla="*/ 4116645 w 4572002"/>
                <a:gd name="connsiteY201" fmla="*/ 3852620 h 6858002"/>
                <a:gd name="connsiteX202" fmla="*/ 4117425 w 4572002"/>
                <a:gd name="connsiteY202" fmla="*/ 3868764 h 6858002"/>
                <a:gd name="connsiteX203" fmla="*/ 4126028 w 4572002"/>
                <a:gd name="connsiteY203" fmla="*/ 3885337 h 6858002"/>
                <a:gd name="connsiteX204" fmla="*/ 4126028 w 4572002"/>
                <a:gd name="connsiteY204" fmla="*/ 3885339 h 6858002"/>
                <a:gd name="connsiteX205" fmla="*/ 4148409 w 4572002"/>
                <a:gd name="connsiteY205" fmla="*/ 3923125 h 6858002"/>
                <a:gd name="connsiteX206" fmla="*/ 4157913 w 4572002"/>
                <a:gd name="connsiteY206" fmla="*/ 3962160 h 6858002"/>
                <a:gd name="connsiteX207" fmla="*/ 4142221 w 4572002"/>
                <a:gd name="connsiteY207" fmla="*/ 4043838 h 6858002"/>
                <a:gd name="connsiteX208" fmla="*/ 4142220 w 4572002"/>
                <a:gd name="connsiteY208" fmla="*/ 4043839 h 6858002"/>
                <a:gd name="connsiteX209" fmla="*/ 4127099 w 4572002"/>
                <a:gd name="connsiteY209" fmla="*/ 4103825 h 6858002"/>
                <a:gd name="connsiteX210" fmla="*/ 4127099 w 4572002"/>
                <a:gd name="connsiteY210" fmla="*/ 4103826 h 6858002"/>
                <a:gd name="connsiteX211" fmla="*/ 4129066 w 4572002"/>
                <a:gd name="connsiteY211" fmla="*/ 4134256 h 6858002"/>
                <a:gd name="connsiteX212" fmla="*/ 4138410 w 4572002"/>
                <a:gd name="connsiteY212" fmla="*/ 4165382 h 6858002"/>
                <a:gd name="connsiteX213" fmla="*/ 4138410 w 4572002"/>
                <a:gd name="connsiteY213" fmla="*/ 4165384 h 6858002"/>
                <a:gd name="connsiteX214" fmla="*/ 4142315 w 4572002"/>
                <a:gd name="connsiteY214" fmla="*/ 4192388 h 6858002"/>
                <a:gd name="connsiteX215" fmla="*/ 4142315 w 4572002"/>
                <a:gd name="connsiteY215" fmla="*/ 4192387 h 6858002"/>
                <a:gd name="connsiteX216" fmla="*/ 4138410 w 4572002"/>
                <a:gd name="connsiteY216" fmla="*/ 4165383 h 6858002"/>
                <a:gd name="connsiteX217" fmla="*/ 4138410 w 4572002"/>
                <a:gd name="connsiteY217" fmla="*/ 4165382 h 6858002"/>
                <a:gd name="connsiteX218" fmla="*/ 4127099 w 4572002"/>
                <a:gd name="connsiteY218" fmla="*/ 4103826 h 6858002"/>
                <a:gd name="connsiteX219" fmla="*/ 4142220 w 4572002"/>
                <a:gd name="connsiteY219" fmla="*/ 4043840 h 6858002"/>
                <a:gd name="connsiteX220" fmla="*/ 4142221 w 4572002"/>
                <a:gd name="connsiteY220" fmla="*/ 4043838 h 6858002"/>
                <a:gd name="connsiteX221" fmla="*/ 4155523 w 4572002"/>
                <a:gd name="connsiteY221" fmla="*/ 4002410 h 6858002"/>
                <a:gd name="connsiteX222" fmla="*/ 4157913 w 4572002"/>
                <a:gd name="connsiteY222" fmla="*/ 3962160 h 6858002"/>
                <a:gd name="connsiteX223" fmla="*/ 4157913 w 4572002"/>
                <a:gd name="connsiteY223" fmla="*/ 3962159 h 6858002"/>
                <a:gd name="connsiteX224" fmla="*/ 4126028 w 4572002"/>
                <a:gd name="connsiteY224" fmla="*/ 3885338 h 6858002"/>
                <a:gd name="connsiteX225" fmla="*/ 4126028 w 4572002"/>
                <a:gd name="connsiteY225" fmla="*/ 3885337 h 6858002"/>
                <a:gd name="connsiteX226" fmla="*/ 4116645 w 4572002"/>
                <a:gd name="connsiteY226" fmla="*/ 3852620 h 6858002"/>
                <a:gd name="connsiteX227" fmla="*/ 4130980 w 4572002"/>
                <a:gd name="connsiteY227" fmla="*/ 3822473 h 6858002"/>
                <a:gd name="connsiteX228" fmla="*/ 4145911 w 4572002"/>
                <a:gd name="connsiteY228" fmla="*/ 3789777 h 6858002"/>
                <a:gd name="connsiteX229" fmla="*/ 4145911 w 4572002"/>
                <a:gd name="connsiteY229" fmla="*/ 3789776 h 6858002"/>
                <a:gd name="connsiteX230" fmla="*/ 4139554 w 4572002"/>
                <a:gd name="connsiteY230" fmla="*/ 3754652 h 6858002"/>
                <a:gd name="connsiteX231" fmla="*/ 4139172 w 4572002"/>
                <a:gd name="connsiteY231" fmla="*/ 3734838 h 6858002"/>
                <a:gd name="connsiteX232" fmla="*/ 4143220 w 4572002"/>
                <a:gd name="connsiteY232" fmla="*/ 3680164 h 6858002"/>
                <a:gd name="connsiteX233" fmla="*/ 4143220 w 4572002"/>
                <a:gd name="connsiteY233" fmla="*/ 3680163 h 6858002"/>
                <a:gd name="connsiteX234" fmla="*/ 4140382 w 4572002"/>
                <a:gd name="connsiteY234" fmla="*/ 3668940 h 6858002"/>
                <a:gd name="connsiteX235" fmla="*/ 4136708 w 4572002"/>
                <a:gd name="connsiteY235" fmla="*/ 3654416 h 6858002"/>
                <a:gd name="connsiteX236" fmla="*/ 4136708 w 4572002"/>
                <a:gd name="connsiteY236" fmla="*/ 3654416 h 6858002"/>
                <a:gd name="connsiteX237" fmla="*/ 4136708 w 4572002"/>
                <a:gd name="connsiteY237" fmla="*/ 3654415 h 6858002"/>
                <a:gd name="connsiteX238" fmla="*/ 4118979 w 4572002"/>
                <a:gd name="connsiteY238" fmla="*/ 3630632 h 6858002"/>
                <a:gd name="connsiteX239" fmla="*/ 4105453 w 4572002"/>
                <a:gd name="connsiteY239" fmla="*/ 3606817 h 6858002"/>
                <a:gd name="connsiteX240" fmla="*/ 4095707 w 4572002"/>
                <a:gd name="connsiteY240" fmla="*/ 3587174 h 6858002"/>
                <a:gd name="connsiteX241" fmla="*/ 4093355 w 4572002"/>
                <a:gd name="connsiteY241" fmla="*/ 3574408 h 6858002"/>
                <a:gd name="connsiteX242" fmla="*/ 4098434 w 4572002"/>
                <a:gd name="connsiteY242" fmla="*/ 3562321 h 6858002"/>
                <a:gd name="connsiteX243" fmla="*/ 4110977 w 4572002"/>
                <a:gd name="connsiteY243" fmla="*/ 3544714 h 6858002"/>
                <a:gd name="connsiteX244" fmla="*/ 4133076 w 4572002"/>
                <a:gd name="connsiteY244" fmla="*/ 3489468 h 6858002"/>
                <a:gd name="connsiteX245" fmla="*/ 4180703 w 4572002"/>
                <a:gd name="connsiteY245" fmla="*/ 3172655 h 6858002"/>
                <a:gd name="connsiteX246" fmla="*/ 4193158 w 4572002"/>
                <a:gd name="connsiteY246" fmla="*/ 3077402 h 6858002"/>
                <a:gd name="connsiteX247" fmla="*/ 4193158 w 4572002"/>
                <a:gd name="connsiteY247" fmla="*/ 3077401 h 6858002"/>
                <a:gd name="connsiteX248" fmla="*/ 4181465 w 4572002"/>
                <a:gd name="connsiteY248" fmla="*/ 2982148 h 6858002"/>
                <a:gd name="connsiteX249" fmla="*/ 4177881 w 4572002"/>
                <a:gd name="connsiteY249" fmla="*/ 2947863 h 6858002"/>
                <a:gd name="connsiteX250" fmla="*/ 4177882 w 4572002"/>
                <a:gd name="connsiteY250" fmla="*/ 2947858 h 6858002"/>
                <a:gd name="connsiteX251" fmla="*/ 4185787 w 4572002"/>
                <a:gd name="connsiteY251" fmla="*/ 2903551 h 6858002"/>
                <a:gd name="connsiteX252" fmla="*/ 4202421 w 4572002"/>
                <a:gd name="connsiteY252" fmla="*/ 2848794 h 6858002"/>
                <a:gd name="connsiteX253" fmla="*/ 4211111 w 4572002"/>
                <a:gd name="connsiteY253" fmla="*/ 2836173 h 6858002"/>
                <a:gd name="connsiteX254" fmla="*/ 3726625 w 4572002"/>
                <a:gd name="connsiteY254" fmla="*/ 1508458 h 6858002"/>
                <a:gd name="connsiteX255" fmla="*/ 3698531 w 4572002"/>
                <a:gd name="connsiteY255" fmla="*/ 1596214 h 6858002"/>
                <a:gd name="connsiteX256" fmla="*/ 3700436 w 4572002"/>
                <a:gd name="connsiteY256" fmla="*/ 1624981 h 6858002"/>
                <a:gd name="connsiteX257" fmla="*/ 3757017 w 4572002"/>
                <a:gd name="connsiteY257" fmla="*/ 1697754 h 6858002"/>
                <a:gd name="connsiteX258" fmla="*/ 3779686 w 4572002"/>
                <a:gd name="connsiteY258" fmla="*/ 1733189 h 6858002"/>
                <a:gd name="connsiteX259" fmla="*/ 3821407 w 4572002"/>
                <a:gd name="connsiteY259" fmla="*/ 1833776 h 6858002"/>
                <a:gd name="connsiteX260" fmla="*/ 3829028 w 4572002"/>
                <a:gd name="connsiteY260" fmla="*/ 1842159 h 6858002"/>
                <a:gd name="connsiteX261" fmla="*/ 3919519 w 4572002"/>
                <a:gd name="connsiteY261" fmla="*/ 1916455 h 6858002"/>
                <a:gd name="connsiteX262" fmla="*/ 3934949 w 4572002"/>
                <a:gd name="connsiteY262" fmla="*/ 1933220 h 6858002"/>
                <a:gd name="connsiteX263" fmla="*/ 3958954 w 4572002"/>
                <a:gd name="connsiteY263" fmla="*/ 1953414 h 6858002"/>
                <a:gd name="connsiteX264" fmla="*/ 4005437 w 4572002"/>
                <a:gd name="connsiteY264" fmla="*/ 2016470 h 6858002"/>
                <a:gd name="connsiteX265" fmla="*/ 4020296 w 4572002"/>
                <a:gd name="connsiteY265" fmla="*/ 2094579 h 6858002"/>
                <a:gd name="connsiteX266" fmla="*/ 4042967 w 4572002"/>
                <a:gd name="connsiteY266" fmla="*/ 2188880 h 6858002"/>
                <a:gd name="connsiteX267" fmla="*/ 4058207 w 4572002"/>
                <a:gd name="connsiteY267" fmla="*/ 2228315 h 6858002"/>
                <a:gd name="connsiteX268" fmla="*/ 4087164 w 4572002"/>
                <a:gd name="connsiteY268" fmla="*/ 2334045 h 6858002"/>
                <a:gd name="connsiteX269" fmla="*/ 4111549 w 4572002"/>
                <a:gd name="connsiteY269" fmla="*/ 2409486 h 6858002"/>
                <a:gd name="connsiteX270" fmla="*/ 4128650 w 4572002"/>
                <a:gd name="connsiteY270" fmla="*/ 2435913 h 6858002"/>
                <a:gd name="connsiteX271" fmla="*/ 4134481 w 4572002"/>
                <a:gd name="connsiteY271" fmla="*/ 2463018 h 6858002"/>
                <a:gd name="connsiteX272" fmla="*/ 4125839 w 4572002"/>
                <a:gd name="connsiteY272" fmla="*/ 2518262 h 6858002"/>
                <a:gd name="connsiteX273" fmla="*/ 4125838 w 4572002"/>
                <a:gd name="connsiteY273" fmla="*/ 2518264 h 6858002"/>
                <a:gd name="connsiteX274" fmla="*/ 4122194 w 4572002"/>
                <a:gd name="connsiteY274" fmla="*/ 2545006 h 6858002"/>
                <a:gd name="connsiteX275" fmla="*/ 4122194 w 4572002"/>
                <a:gd name="connsiteY275" fmla="*/ 2545007 h 6858002"/>
                <a:gd name="connsiteX276" fmla="*/ 4126408 w 4572002"/>
                <a:gd name="connsiteY276" fmla="*/ 2571035 h 6858002"/>
                <a:gd name="connsiteX277" fmla="*/ 4199563 w 4572002"/>
                <a:gd name="connsiteY277" fmla="*/ 2668002 h 6858002"/>
                <a:gd name="connsiteX278" fmla="*/ 4247953 w 4572002"/>
                <a:gd name="connsiteY278" fmla="*/ 2745349 h 6858002"/>
                <a:gd name="connsiteX279" fmla="*/ 4247954 w 4572002"/>
                <a:gd name="connsiteY279" fmla="*/ 2745352 h 6858002"/>
                <a:gd name="connsiteX280" fmla="*/ 4253873 w 4572002"/>
                <a:gd name="connsiteY280" fmla="*/ 2778006 h 6858002"/>
                <a:gd name="connsiteX281" fmla="*/ 4253453 w 4572002"/>
                <a:gd name="connsiteY281" fmla="*/ 2785440 h 6858002"/>
                <a:gd name="connsiteX282" fmla="*/ 4243374 w 4572002"/>
                <a:gd name="connsiteY282" fmla="*/ 2811780 h 6858002"/>
                <a:gd name="connsiteX283" fmla="*/ 4243371 w 4572002"/>
                <a:gd name="connsiteY283" fmla="*/ 2811787 h 6858002"/>
                <a:gd name="connsiteX284" fmla="*/ 4243372 w 4572002"/>
                <a:gd name="connsiteY284" fmla="*/ 2811787 h 6858002"/>
                <a:gd name="connsiteX285" fmla="*/ 4243374 w 4572002"/>
                <a:gd name="connsiteY285" fmla="*/ 2811780 h 6858002"/>
                <a:gd name="connsiteX286" fmla="*/ 4253025 w 4572002"/>
                <a:gd name="connsiteY286" fmla="*/ 2793023 h 6858002"/>
                <a:gd name="connsiteX287" fmla="*/ 4253453 w 4572002"/>
                <a:gd name="connsiteY287" fmla="*/ 2785440 h 6858002"/>
                <a:gd name="connsiteX288" fmla="*/ 4254654 w 4572002"/>
                <a:gd name="connsiteY288" fmla="*/ 2782305 h 6858002"/>
                <a:gd name="connsiteX289" fmla="*/ 4253873 w 4572002"/>
                <a:gd name="connsiteY289" fmla="*/ 2778006 h 6858002"/>
                <a:gd name="connsiteX290" fmla="*/ 4254284 w 4572002"/>
                <a:gd name="connsiteY290" fmla="*/ 2770758 h 6858002"/>
                <a:gd name="connsiteX291" fmla="*/ 4247954 w 4572002"/>
                <a:gd name="connsiteY291" fmla="*/ 2745352 h 6858002"/>
                <a:gd name="connsiteX292" fmla="*/ 4247953 w 4572002"/>
                <a:gd name="connsiteY292" fmla="*/ 2745348 h 6858002"/>
                <a:gd name="connsiteX293" fmla="*/ 4199563 w 4572002"/>
                <a:gd name="connsiteY293" fmla="*/ 2668001 h 6858002"/>
                <a:gd name="connsiteX294" fmla="*/ 4126408 w 4572002"/>
                <a:gd name="connsiteY294" fmla="*/ 2571034 h 6858002"/>
                <a:gd name="connsiteX295" fmla="*/ 4122194 w 4572002"/>
                <a:gd name="connsiteY295" fmla="*/ 2545007 h 6858002"/>
                <a:gd name="connsiteX296" fmla="*/ 4125838 w 4572002"/>
                <a:gd name="connsiteY296" fmla="*/ 2518265 h 6858002"/>
                <a:gd name="connsiteX297" fmla="*/ 4125839 w 4572002"/>
                <a:gd name="connsiteY297" fmla="*/ 2518262 h 6858002"/>
                <a:gd name="connsiteX298" fmla="*/ 4132419 w 4572002"/>
                <a:gd name="connsiteY298" fmla="*/ 2490551 h 6858002"/>
                <a:gd name="connsiteX299" fmla="*/ 4134481 w 4572002"/>
                <a:gd name="connsiteY299" fmla="*/ 2463018 h 6858002"/>
                <a:gd name="connsiteX300" fmla="*/ 4134481 w 4572002"/>
                <a:gd name="connsiteY300" fmla="*/ 2463017 h 6858002"/>
                <a:gd name="connsiteX301" fmla="*/ 4111549 w 4572002"/>
                <a:gd name="connsiteY301" fmla="*/ 2409485 h 6858002"/>
                <a:gd name="connsiteX302" fmla="*/ 4087164 w 4572002"/>
                <a:gd name="connsiteY302" fmla="*/ 2334044 h 6858002"/>
                <a:gd name="connsiteX303" fmla="*/ 4058207 w 4572002"/>
                <a:gd name="connsiteY303" fmla="*/ 2228314 h 6858002"/>
                <a:gd name="connsiteX304" fmla="*/ 4042967 w 4572002"/>
                <a:gd name="connsiteY304" fmla="*/ 2188879 h 6858002"/>
                <a:gd name="connsiteX305" fmla="*/ 4020296 w 4572002"/>
                <a:gd name="connsiteY305" fmla="*/ 2094578 h 6858002"/>
                <a:gd name="connsiteX306" fmla="*/ 4005437 w 4572002"/>
                <a:gd name="connsiteY306" fmla="*/ 2016469 h 6858002"/>
                <a:gd name="connsiteX307" fmla="*/ 3958954 w 4572002"/>
                <a:gd name="connsiteY307" fmla="*/ 1953413 h 6858002"/>
                <a:gd name="connsiteX308" fmla="*/ 3934949 w 4572002"/>
                <a:gd name="connsiteY308" fmla="*/ 1933219 h 6858002"/>
                <a:gd name="connsiteX309" fmla="*/ 3919519 w 4572002"/>
                <a:gd name="connsiteY309" fmla="*/ 1916454 h 6858002"/>
                <a:gd name="connsiteX310" fmla="*/ 3829028 w 4572002"/>
                <a:gd name="connsiteY310" fmla="*/ 1842158 h 6858002"/>
                <a:gd name="connsiteX311" fmla="*/ 3821407 w 4572002"/>
                <a:gd name="connsiteY311" fmla="*/ 1833775 h 6858002"/>
                <a:gd name="connsiteX312" fmla="*/ 3779686 w 4572002"/>
                <a:gd name="connsiteY312" fmla="*/ 1733188 h 6858002"/>
                <a:gd name="connsiteX313" fmla="*/ 3757018 w 4572002"/>
                <a:gd name="connsiteY313" fmla="*/ 1697753 h 6858002"/>
                <a:gd name="connsiteX314" fmla="*/ 3700436 w 4572002"/>
                <a:gd name="connsiteY314" fmla="*/ 1624980 h 6858002"/>
                <a:gd name="connsiteX315" fmla="*/ 3698532 w 4572002"/>
                <a:gd name="connsiteY315" fmla="*/ 1596213 h 6858002"/>
                <a:gd name="connsiteX316" fmla="*/ 3745230 w 4572002"/>
                <a:gd name="connsiteY316" fmla="*/ 1459073 h 6858002"/>
                <a:gd name="connsiteX317" fmla="*/ 3745229 w 4572002"/>
                <a:gd name="connsiteY317" fmla="*/ 1459074 h 6858002"/>
                <a:gd name="connsiteX318" fmla="*/ 3736012 w 4572002"/>
                <a:gd name="connsiteY318" fmla="*/ 1481572 h 6858002"/>
                <a:gd name="connsiteX319" fmla="*/ 3764423 w 4572002"/>
                <a:gd name="connsiteY319" fmla="*/ 1268758 h 6858002"/>
                <a:gd name="connsiteX320" fmla="*/ 3769590 w 4572002"/>
                <a:gd name="connsiteY320" fmla="*/ 1286070 h 6858002"/>
                <a:gd name="connsiteX321" fmla="*/ 3791927 w 4572002"/>
                <a:gd name="connsiteY321" fmla="*/ 1350628 h 6858002"/>
                <a:gd name="connsiteX322" fmla="*/ 3786333 w 4572002"/>
                <a:gd name="connsiteY322" fmla="*/ 1413840 h 6858002"/>
                <a:gd name="connsiteX323" fmla="*/ 3791928 w 4572002"/>
                <a:gd name="connsiteY323" fmla="*/ 1350627 h 6858002"/>
                <a:gd name="connsiteX324" fmla="*/ 3769590 w 4572002"/>
                <a:gd name="connsiteY324" fmla="*/ 1286069 h 6858002"/>
                <a:gd name="connsiteX325" fmla="*/ 3706152 w 4572002"/>
                <a:gd name="connsiteY325" fmla="*/ 773035 h 6858002"/>
                <a:gd name="connsiteX326" fmla="*/ 3706152 w 4572002"/>
                <a:gd name="connsiteY326" fmla="*/ 773036 h 6858002"/>
                <a:gd name="connsiteX327" fmla="*/ 3714152 w 4572002"/>
                <a:gd name="connsiteY327" fmla="*/ 854380 h 6858002"/>
                <a:gd name="connsiteX328" fmla="*/ 3745205 w 4572002"/>
                <a:gd name="connsiteY328" fmla="*/ 915344 h 6858002"/>
                <a:gd name="connsiteX329" fmla="*/ 3755683 w 4572002"/>
                <a:gd name="connsiteY329" fmla="*/ 927156 h 6858002"/>
                <a:gd name="connsiteX330" fmla="*/ 3752063 w 4572002"/>
                <a:gd name="connsiteY330" fmla="*/ 1097088 h 6858002"/>
                <a:gd name="connsiteX331" fmla="*/ 3747681 w 4572002"/>
                <a:gd name="connsiteY331" fmla="*/ 1123186 h 6858002"/>
                <a:gd name="connsiteX332" fmla="*/ 3772400 w 4572002"/>
                <a:gd name="connsiteY332" fmla="*/ 1184029 h 6858002"/>
                <a:gd name="connsiteX333" fmla="*/ 3747682 w 4572002"/>
                <a:gd name="connsiteY333" fmla="*/ 1123185 h 6858002"/>
                <a:gd name="connsiteX334" fmla="*/ 3752064 w 4572002"/>
                <a:gd name="connsiteY334" fmla="*/ 1097087 h 6858002"/>
                <a:gd name="connsiteX335" fmla="*/ 3755684 w 4572002"/>
                <a:gd name="connsiteY335" fmla="*/ 927155 h 6858002"/>
                <a:gd name="connsiteX336" fmla="*/ 3745206 w 4572002"/>
                <a:gd name="connsiteY336" fmla="*/ 915343 h 6858002"/>
                <a:gd name="connsiteX337" fmla="*/ 3714152 w 4572002"/>
                <a:gd name="connsiteY337" fmla="*/ 854379 h 6858002"/>
                <a:gd name="connsiteX338" fmla="*/ 3761553 w 4572002"/>
                <a:gd name="connsiteY338" fmla="*/ 517851 h 6858002"/>
                <a:gd name="connsiteX339" fmla="*/ 3752635 w 4572002"/>
                <a:gd name="connsiteY339" fmla="*/ 556048 h 6858002"/>
                <a:gd name="connsiteX340" fmla="*/ 3746157 w 4572002"/>
                <a:gd name="connsiteY340" fmla="*/ 580051 h 6858002"/>
                <a:gd name="connsiteX341" fmla="*/ 3742776 w 4572002"/>
                <a:gd name="connsiteY341" fmla="*/ 642538 h 6858002"/>
                <a:gd name="connsiteX342" fmla="*/ 3730253 w 4572002"/>
                <a:gd name="connsiteY342" fmla="*/ 694928 h 6858002"/>
                <a:gd name="connsiteX343" fmla="*/ 3742777 w 4572002"/>
                <a:gd name="connsiteY343" fmla="*/ 642537 h 6858002"/>
                <a:gd name="connsiteX344" fmla="*/ 3746158 w 4572002"/>
                <a:gd name="connsiteY344" fmla="*/ 580050 h 6858002"/>
                <a:gd name="connsiteX345" fmla="*/ 3752636 w 4572002"/>
                <a:gd name="connsiteY345" fmla="*/ 556047 h 6858002"/>
                <a:gd name="connsiteX346" fmla="*/ 3774848 w 4572002"/>
                <a:gd name="connsiteY346" fmla="*/ 298169 h 6858002"/>
                <a:gd name="connsiteX347" fmla="*/ 3760065 w 4572002"/>
                <a:gd name="connsiteY347" fmla="*/ 313534 h 6858002"/>
                <a:gd name="connsiteX348" fmla="*/ 3759493 w 4572002"/>
                <a:gd name="connsiteY348" fmla="*/ 338871 h 6858002"/>
                <a:gd name="connsiteX349" fmla="*/ 3759500 w 4572002"/>
                <a:gd name="connsiteY349" fmla="*/ 338900 h 6858002"/>
                <a:gd name="connsiteX350" fmla="*/ 3769400 w 4572002"/>
                <a:gd name="connsiteY350" fmla="*/ 395640 h 6858002"/>
                <a:gd name="connsiteX351" fmla="*/ 3765590 w 4572002"/>
                <a:gd name="connsiteY351" fmla="*/ 367328 h 6858002"/>
                <a:gd name="connsiteX352" fmla="*/ 3759500 w 4572002"/>
                <a:gd name="connsiteY352" fmla="*/ 338900 h 6858002"/>
                <a:gd name="connsiteX353" fmla="*/ 3759494 w 4572002"/>
                <a:gd name="connsiteY353" fmla="*/ 338870 h 6858002"/>
                <a:gd name="connsiteX354" fmla="*/ 3760066 w 4572002"/>
                <a:gd name="connsiteY354" fmla="*/ 313533 h 6858002"/>
                <a:gd name="connsiteX355" fmla="*/ 3782393 w 4572002"/>
                <a:gd name="connsiteY355" fmla="*/ 281568 h 6858002"/>
                <a:gd name="connsiteX356" fmla="*/ 3777498 w 4572002"/>
                <a:gd name="connsiteY356" fmla="*/ 295415 h 6858002"/>
                <a:gd name="connsiteX357" fmla="*/ 3777499 w 4572002"/>
                <a:gd name="connsiteY357" fmla="*/ 295415 h 6858002"/>
                <a:gd name="connsiteX358" fmla="*/ 3769073 w 4572002"/>
                <a:gd name="connsiteY358" fmla="*/ 24486 h 6858002"/>
                <a:gd name="connsiteX359" fmla="*/ 3766810 w 4572002"/>
                <a:gd name="connsiteY359" fmla="*/ 74129 h 6858002"/>
                <a:gd name="connsiteX360" fmla="*/ 3772734 w 4572002"/>
                <a:gd name="connsiteY360" fmla="*/ 125861 h 6858002"/>
                <a:gd name="connsiteX361" fmla="*/ 3777129 w 4572002"/>
                <a:gd name="connsiteY361" fmla="*/ 153387 h 6858002"/>
                <a:gd name="connsiteX362" fmla="*/ 3785402 w 4572002"/>
                <a:gd name="connsiteY362" fmla="*/ 228944 h 6858002"/>
                <a:gd name="connsiteX363" fmla="*/ 3780943 w 4572002"/>
                <a:gd name="connsiteY363" fmla="*/ 177271 h 6858002"/>
                <a:gd name="connsiteX364" fmla="*/ 3777129 w 4572002"/>
                <a:gd name="connsiteY364" fmla="*/ 153387 h 6858002"/>
                <a:gd name="connsiteX365" fmla="*/ 3776930 w 4572002"/>
                <a:gd name="connsiteY365" fmla="*/ 151569 h 6858002"/>
                <a:gd name="connsiteX366" fmla="*/ 3766811 w 4572002"/>
                <a:gd name="connsiteY366" fmla="*/ 74129 h 6858002"/>
                <a:gd name="connsiteX367" fmla="*/ 3766492 w 4572002"/>
                <a:gd name="connsiteY367" fmla="*/ 0 h 6858002"/>
                <a:gd name="connsiteX368" fmla="*/ 4230600 w 4572002"/>
                <a:gd name="connsiteY368" fmla="*/ 0 h 6858002"/>
                <a:gd name="connsiteX369" fmla="*/ 4229473 w 4572002"/>
                <a:gd name="connsiteY369" fmla="*/ 2817 h 6858002"/>
                <a:gd name="connsiteX370" fmla="*/ 4215375 w 4572002"/>
                <a:gd name="connsiteY370" fmla="*/ 63587 h 6858002"/>
                <a:gd name="connsiteX371" fmla="*/ 4201468 w 4572002"/>
                <a:gd name="connsiteY371" fmla="*/ 176939 h 6858002"/>
                <a:gd name="connsiteX372" fmla="*/ 4193466 w 4572002"/>
                <a:gd name="connsiteY372" fmla="*/ 200182 h 6858002"/>
                <a:gd name="connsiteX373" fmla="*/ 4155554 w 4572002"/>
                <a:gd name="connsiteY373" fmla="*/ 340774 h 6858002"/>
                <a:gd name="connsiteX374" fmla="*/ 4156319 w 4572002"/>
                <a:gd name="connsiteY374" fmla="*/ 453364 h 6858002"/>
                <a:gd name="connsiteX375" fmla="*/ 4158033 w 4572002"/>
                <a:gd name="connsiteY375" fmla="*/ 462126 h 6858002"/>
                <a:gd name="connsiteX376" fmla="*/ 4170605 w 4572002"/>
                <a:gd name="connsiteY376" fmla="*/ 505182 h 6858002"/>
                <a:gd name="connsiteX377" fmla="*/ 4167177 w 4572002"/>
                <a:gd name="connsiteY377" fmla="*/ 571860 h 6858002"/>
                <a:gd name="connsiteX378" fmla="*/ 4149840 w 4572002"/>
                <a:gd name="connsiteY378" fmla="*/ 617772 h 6858002"/>
                <a:gd name="connsiteX379" fmla="*/ 4149078 w 4572002"/>
                <a:gd name="connsiteY379" fmla="*/ 674923 h 6858002"/>
                <a:gd name="connsiteX380" fmla="*/ 4159937 w 4572002"/>
                <a:gd name="connsiteY380" fmla="*/ 740268 h 6858002"/>
                <a:gd name="connsiteX381" fmla="*/ 4162223 w 4572002"/>
                <a:gd name="connsiteY381" fmla="*/ 769605 h 6858002"/>
                <a:gd name="connsiteX382" fmla="*/ 4184703 w 4572002"/>
                <a:gd name="connsiteY382" fmla="*/ 850189 h 6858002"/>
                <a:gd name="connsiteX383" fmla="*/ 4179179 w 4572002"/>
                <a:gd name="connsiteY383" fmla="*/ 898198 h 6858002"/>
                <a:gd name="connsiteX384" fmla="*/ 4164319 w 4572002"/>
                <a:gd name="connsiteY384" fmla="*/ 945444 h 6858002"/>
                <a:gd name="connsiteX385" fmla="*/ 4150030 w 4572002"/>
                <a:gd name="connsiteY385" fmla="*/ 975733 h 6858002"/>
                <a:gd name="connsiteX386" fmla="*/ 4139934 w 4572002"/>
                <a:gd name="connsiteY386" fmla="*/ 1036887 h 6858002"/>
                <a:gd name="connsiteX387" fmla="*/ 4141458 w 4572002"/>
                <a:gd name="connsiteY387" fmla="*/ 1048125 h 6858002"/>
                <a:gd name="connsiteX388" fmla="*/ 4154032 w 4572002"/>
                <a:gd name="connsiteY388" fmla="*/ 1230633 h 6858002"/>
                <a:gd name="connsiteX389" fmla="*/ 4174225 w 4572002"/>
                <a:gd name="connsiteY389" fmla="*/ 1303024 h 6858002"/>
                <a:gd name="connsiteX390" fmla="*/ 4176701 w 4572002"/>
                <a:gd name="connsiteY390" fmla="*/ 1318456 h 6858002"/>
                <a:gd name="connsiteX391" fmla="*/ 4199372 w 4572002"/>
                <a:gd name="connsiteY391" fmla="*/ 1472575 h 6858002"/>
                <a:gd name="connsiteX392" fmla="*/ 4200325 w 4572002"/>
                <a:gd name="connsiteY392" fmla="*/ 1489720 h 6858002"/>
                <a:gd name="connsiteX393" fmla="*/ 4196324 w 4572002"/>
                <a:gd name="connsiteY393" fmla="*/ 1537537 h 6858002"/>
                <a:gd name="connsiteX394" fmla="*/ 4237474 w 4572002"/>
                <a:gd name="connsiteY394" fmla="*/ 1650317 h 6858002"/>
                <a:gd name="connsiteX395" fmla="*/ 4251572 w 4572002"/>
                <a:gd name="connsiteY395" fmla="*/ 1763287 h 6858002"/>
                <a:gd name="connsiteX396" fmla="*/ 4251380 w 4572002"/>
                <a:gd name="connsiteY396" fmla="*/ 1825393 h 6858002"/>
                <a:gd name="connsiteX397" fmla="*/ 4261478 w 4572002"/>
                <a:gd name="connsiteY397" fmla="*/ 1869780 h 6858002"/>
                <a:gd name="connsiteX398" fmla="*/ 4292149 w 4572002"/>
                <a:gd name="connsiteY398" fmla="*/ 1978940 h 6858002"/>
                <a:gd name="connsiteX399" fmla="*/ 4296911 w 4572002"/>
                <a:gd name="connsiteY399" fmla="*/ 2030378 h 6858002"/>
                <a:gd name="connsiteX400" fmla="*/ 4307201 w 4572002"/>
                <a:gd name="connsiteY400" fmla="*/ 2085054 h 6858002"/>
                <a:gd name="connsiteX401" fmla="*/ 4353302 w 4572002"/>
                <a:gd name="connsiteY401" fmla="*/ 2220312 h 6858002"/>
                <a:gd name="connsiteX402" fmla="*/ 4350636 w 4572002"/>
                <a:gd name="connsiteY402" fmla="*/ 2330806 h 6858002"/>
                <a:gd name="connsiteX403" fmla="*/ 4351206 w 4572002"/>
                <a:gd name="connsiteY403" fmla="*/ 2401292 h 6858002"/>
                <a:gd name="connsiteX404" fmla="*/ 4366446 w 4572002"/>
                <a:gd name="connsiteY404" fmla="*/ 2485307 h 6858002"/>
                <a:gd name="connsiteX405" fmla="*/ 4388736 w 4572002"/>
                <a:gd name="connsiteY405" fmla="*/ 2554079 h 6858002"/>
                <a:gd name="connsiteX406" fmla="*/ 4406453 w 4572002"/>
                <a:gd name="connsiteY406" fmla="*/ 2649143 h 6858002"/>
                <a:gd name="connsiteX407" fmla="*/ 4440554 w 4572002"/>
                <a:gd name="connsiteY407" fmla="*/ 2743826 h 6858002"/>
                <a:gd name="connsiteX408" fmla="*/ 4466653 w 4572002"/>
                <a:gd name="connsiteY408" fmla="*/ 2809930 h 6858002"/>
                <a:gd name="connsiteX409" fmla="*/ 4489705 w 4572002"/>
                <a:gd name="connsiteY409" fmla="*/ 2901943 h 6858002"/>
                <a:gd name="connsiteX410" fmla="*/ 4505897 w 4572002"/>
                <a:gd name="connsiteY410" fmla="*/ 3042728 h 6858002"/>
                <a:gd name="connsiteX411" fmla="*/ 4507613 w 4572002"/>
                <a:gd name="connsiteY411" fmla="*/ 3107500 h 6858002"/>
                <a:gd name="connsiteX412" fmla="*/ 4545521 w 4572002"/>
                <a:gd name="connsiteY412" fmla="*/ 3209993 h 6858002"/>
                <a:gd name="connsiteX413" fmla="*/ 4563811 w 4572002"/>
                <a:gd name="connsiteY413" fmla="*/ 3253809 h 6858002"/>
                <a:gd name="connsiteX414" fmla="*/ 4548570 w 4572002"/>
                <a:gd name="connsiteY414" fmla="*/ 3293244 h 6858002"/>
                <a:gd name="connsiteX415" fmla="*/ 4531043 w 4572002"/>
                <a:gd name="connsiteY415" fmla="*/ 3318771 h 6858002"/>
                <a:gd name="connsiteX416" fmla="*/ 4545904 w 4572002"/>
                <a:gd name="connsiteY416" fmla="*/ 3399546 h 6858002"/>
                <a:gd name="connsiteX417" fmla="*/ 4561524 w 4572002"/>
                <a:gd name="connsiteY417" fmla="*/ 3485275 h 6858002"/>
                <a:gd name="connsiteX418" fmla="*/ 4572002 w 4572002"/>
                <a:gd name="connsiteY418" fmla="*/ 3546617 h 6858002"/>
                <a:gd name="connsiteX419" fmla="*/ 4563620 w 4572002"/>
                <a:gd name="connsiteY419" fmla="*/ 3623201 h 6858002"/>
                <a:gd name="connsiteX420" fmla="*/ 4560192 w 4572002"/>
                <a:gd name="connsiteY420" fmla="*/ 3683591 h 6858002"/>
                <a:gd name="connsiteX421" fmla="*/ 4550476 w 4572002"/>
                <a:gd name="connsiteY421" fmla="*/ 3732361 h 6858002"/>
                <a:gd name="connsiteX422" fmla="*/ 4544759 w 4572002"/>
                <a:gd name="connsiteY422" fmla="*/ 3749506 h 6858002"/>
                <a:gd name="connsiteX423" fmla="*/ 4500182 w 4572002"/>
                <a:gd name="connsiteY423" fmla="*/ 3885338 h 6858002"/>
                <a:gd name="connsiteX424" fmla="*/ 4464557 w 4572002"/>
                <a:gd name="connsiteY424" fmla="*/ 4030503 h 6858002"/>
                <a:gd name="connsiteX425" fmla="*/ 4487039 w 4572002"/>
                <a:gd name="connsiteY425" fmla="*/ 4124614 h 6858002"/>
                <a:gd name="connsiteX426" fmla="*/ 4486656 w 4572002"/>
                <a:gd name="connsiteY426" fmla="*/ 4159667 h 6858002"/>
                <a:gd name="connsiteX427" fmla="*/ 4491801 w 4572002"/>
                <a:gd name="connsiteY427" fmla="*/ 4320837 h 6858002"/>
                <a:gd name="connsiteX428" fmla="*/ 4497325 w 4572002"/>
                <a:gd name="connsiteY428" fmla="*/ 4349222 h 6858002"/>
                <a:gd name="connsiteX429" fmla="*/ 4474653 w 4572002"/>
                <a:gd name="connsiteY429" fmla="*/ 4502579 h 6858002"/>
                <a:gd name="connsiteX430" fmla="*/ 4470844 w 4572002"/>
                <a:gd name="connsiteY430" fmla="*/ 4558207 h 6858002"/>
                <a:gd name="connsiteX431" fmla="*/ 4464557 w 4572002"/>
                <a:gd name="connsiteY431" fmla="*/ 4609452 h 6858002"/>
                <a:gd name="connsiteX432" fmla="*/ 4463033 w 4572002"/>
                <a:gd name="connsiteY432" fmla="*/ 4681083 h 6858002"/>
                <a:gd name="connsiteX433" fmla="*/ 4465891 w 4572002"/>
                <a:gd name="connsiteY433" fmla="*/ 4755381 h 6858002"/>
                <a:gd name="connsiteX434" fmla="*/ 4465319 w 4572002"/>
                <a:gd name="connsiteY434" fmla="*/ 4838250 h 6858002"/>
                <a:gd name="connsiteX435" fmla="*/ 4460367 w 4572002"/>
                <a:gd name="connsiteY435" fmla="*/ 4871019 h 6858002"/>
                <a:gd name="connsiteX436" fmla="*/ 4463795 w 4572002"/>
                <a:gd name="connsiteY436" fmla="*/ 4959602 h 6858002"/>
                <a:gd name="connsiteX437" fmla="*/ 4458082 w 4572002"/>
                <a:gd name="connsiteY437" fmla="*/ 5006086 h 6858002"/>
                <a:gd name="connsiteX438" fmla="*/ 4456937 w 4572002"/>
                <a:gd name="connsiteY438" fmla="*/ 5082670 h 6858002"/>
                <a:gd name="connsiteX439" fmla="*/ 4455603 w 4572002"/>
                <a:gd name="connsiteY439" fmla="*/ 5107627 h 6858002"/>
                <a:gd name="connsiteX440" fmla="*/ 4454840 w 4572002"/>
                <a:gd name="connsiteY440" fmla="*/ 5129916 h 6858002"/>
                <a:gd name="connsiteX441" fmla="*/ 4470464 w 4572002"/>
                <a:gd name="connsiteY441" fmla="*/ 5206308 h 6858002"/>
                <a:gd name="connsiteX442" fmla="*/ 4471415 w 4572002"/>
                <a:gd name="connsiteY442" fmla="*/ 5274129 h 6858002"/>
                <a:gd name="connsiteX443" fmla="*/ 4483990 w 4572002"/>
                <a:gd name="connsiteY443" fmla="*/ 5393005 h 6858002"/>
                <a:gd name="connsiteX444" fmla="*/ 4479607 w 4572002"/>
                <a:gd name="connsiteY444" fmla="*/ 5419295 h 6858002"/>
                <a:gd name="connsiteX445" fmla="*/ 4477894 w 4572002"/>
                <a:gd name="connsiteY445" fmla="*/ 5501594 h 6858002"/>
                <a:gd name="connsiteX446" fmla="*/ 4476560 w 4572002"/>
                <a:gd name="connsiteY446" fmla="*/ 5548460 h 6858002"/>
                <a:gd name="connsiteX447" fmla="*/ 4485703 w 4572002"/>
                <a:gd name="connsiteY447" fmla="*/ 5606372 h 6858002"/>
                <a:gd name="connsiteX448" fmla="*/ 4505134 w 4572002"/>
                <a:gd name="connsiteY448" fmla="*/ 5706959 h 6858002"/>
                <a:gd name="connsiteX449" fmla="*/ 4508183 w 4572002"/>
                <a:gd name="connsiteY449" fmla="*/ 5733440 h 6858002"/>
                <a:gd name="connsiteX450" fmla="*/ 4517519 w 4572002"/>
                <a:gd name="connsiteY450" fmla="*/ 5781830 h 6858002"/>
                <a:gd name="connsiteX451" fmla="*/ 4519234 w 4572002"/>
                <a:gd name="connsiteY451" fmla="*/ 5790592 h 6858002"/>
                <a:gd name="connsiteX452" fmla="*/ 4542855 w 4572002"/>
                <a:gd name="connsiteY452" fmla="*/ 5864318 h 6858002"/>
                <a:gd name="connsiteX453" fmla="*/ 4544759 w 4572002"/>
                <a:gd name="connsiteY453" fmla="*/ 5902610 h 6858002"/>
                <a:gd name="connsiteX454" fmla="*/ 4544951 w 4572002"/>
                <a:gd name="connsiteY454" fmla="*/ 6012723 h 6858002"/>
                <a:gd name="connsiteX455" fmla="*/ 4541332 w 4572002"/>
                <a:gd name="connsiteY455" fmla="*/ 6059397 h 6858002"/>
                <a:gd name="connsiteX456" fmla="*/ 4527426 w 4572002"/>
                <a:gd name="connsiteY456" fmla="*/ 6171605 h 6858002"/>
                <a:gd name="connsiteX457" fmla="*/ 4520568 w 4572002"/>
                <a:gd name="connsiteY457" fmla="*/ 6242093 h 6858002"/>
                <a:gd name="connsiteX458" fmla="*/ 4509706 w 4572002"/>
                <a:gd name="connsiteY458" fmla="*/ 6323058 h 6858002"/>
                <a:gd name="connsiteX459" fmla="*/ 4502848 w 4572002"/>
                <a:gd name="connsiteY459" fmla="*/ 6415833 h 6858002"/>
                <a:gd name="connsiteX460" fmla="*/ 4482084 w 4572002"/>
                <a:gd name="connsiteY460" fmla="*/ 6584812 h 6858002"/>
                <a:gd name="connsiteX461" fmla="*/ 4460557 w 4572002"/>
                <a:gd name="connsiteY461" fmla="*/ 6748458 h 6858002"/>
                <a:gd name="connsiteX462" fmla="*/ 4441507 w 4572002"/>
                <a:gd name="connsiteY462" fmla="*/ 6815516 h 6858002"/>
                <a:gd name="connsiteX463" fmla="*/ 4431806 w 4572002"/>
                <a:gd name="connsiteY463" fmla="*/ 6858001 h 6858002"/>
                <a:gd name="connsiteX464" fmla="*/ 4259554 w 4572002"/>
                <a:gd name="connsiteY464" fmla="*/ 6858001 h 6858002"/>
                <a:gd name="connsiteX465" fmla="*/ 4259554 w 4572002"/>
                <a:gd name="connsiteY465" fmla="*/ 6858002 h 6858002"/>
                <a:gd name="connsiteX466" fmla="*/ 0 w 4572002"/>
                <a:gd name="connsiteY466" fmla="*/ 6858002 h 6858002"/>
                <a:gd name="connsiteX467" fmla="*/ 0 w 4572002"/>
                <a:gd name="connsiteY467" fmla="*/ 2 h 6858002"/>
                <a:gd name="connsiteX468" fmla="*/ 3766492 w 4572002"/>
                <a:gd name="connsiteY468" fmla="*/ 1 h 6858002"/>
                <a:gd name="connsiteX469" fmla="*/ 3769210 w 4572002"/>
                <a:gd name="connsiteY469" fmla="*/ 21486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Lst>
              <a:rect l="l" t="t" r="r" b="b"/>
              <a:pathLst>
                <a:path w="4572002" h="6858002">
                  <a:moveTo>
                    <a:pt x="4214994" y="6564620"/>
                  </a:moveTo>
                  <a:lnTo>
                    <a:pt x="4214994" y="6564621"/>
                  </a:lnTo>
                  <a:cubicBezTo>
                    <a:pt x="4225281" y="6575479"/>
                    <a:pt x="4231378" y="6582147"/>
                    <a:pt x="4237474" y="6588626"/>
                  </a:cubicBezTo>
                  <a:lnTo>
                    <a:pt x="4254096" y="6625225"/>
                  </a:lnTo>
                  <a:lnTo>
                    <a:pt x="4247001" y="6662540"/>
                  </a:lnTo>
                  <a:lnTo>
                    <a:pt x="4247000" y="6662541"/>
                  </a:lnTo>
                  <a:lnTo>
                    <a:pt x="4246999" y="6662544"/>
                  </a:lnTo>
                  <a:lnTo>
                    <a:pt x="4235550" y="6683027"/>
                  </a:lnTo>
                  <a:lnTo>
                    <a:pt x="4232403" y="6702976"/>
                  </a:lnTo>
                  <a:lnTo>
                    <a:pt x="4232403" y="6702977"/>
                  </a:lnTo>
                  <a:cubicBezTo>
                    <a:pt x="4232808" y="6716169"/>
                    <a:pt x="4237951" y="6729219"/>
                    <a:pt x="4246238" y="6742553"/>
                  </a:cubicBezTo>
                  <a:lnTo>
                    <a:pt x="4246239" y="6742555"/>
                  </a:lnTo>
                  <a:lnTo>
                    <a:pt x="4265716" y="6812062"/>
                  </a:lnTo>
                  <a:lnTo>
                    <a:pt x="4265717" y="6812064"/>
                  </a:lnTo>
                  <a:lnTo>
                    <a:pt x="4265717" y="6812063"/>
                  </a:lnTo>
                  <a:lnTo>
                    <a:pt x="4265716" y="6812062"/>
                  </a:lnTo>
                  <a:lnTo>
                    <a:pt x="4260942" y="6776800"/>
                  </a:lnTo>
                  <a:lnTo>
                    <a:pt x="4246239" y="6742555"/>
                  </a:lnTo>
                  <a:lnTo>
                    <a:pt x="4246238" y="6742552"/>
                  </a:lnTo>
                  <a:lnTo>
                    <a:pt x="4232403" y="6702976"/>
                  </a:lnTo>
                  <a:lnTo>
                    <a:pt x="4246999" y="6662544"/>
                  </a:lnTo>
                  <a:lnTo>
                    <a:pt x="4247000" y="6662542"/>
                  </a:lnTo>
                  <a:lnTo>
                    <a:pt x="4247001" y="6662540"/>
                  </a:lnTo>
                  <a:lnTo>
                    <a:pt x="4254084" y="6645552"/>
                  </a:lnTo>
                  <a:lnTo>
                    <a:pt x="4254096" y="6625225"/>
                  </a:lnTo>
                  <a:lnTo>
                    <a:pt x="4254096" y="6625224"/>
                  </a:lnTo>
                  <a:cubicBezTo>
                    <a:pt x="4252000" y="6611341"/>
                    <a:pt x="4245951" y="6597578"/>
                    <a:pt x="4237474" y="6588625"/>
                  </a:cubicBezTo>
                  <a:close/>
                  <a:moveTo>
                    <a:pt x="4295315" y="6438981"/>
                  </a:moveTo>
                  <a:lnTo>
                    <a:pt x="4275385" y="6463840"/>
                  </a:lnTo>
                  <a:lnTo>
                    <a:pt x="4275382" y="6463849"/>
                  </a:lnTo>
                  <a:lnTo>
                    <a:pt x="4261587" y="6513012"/>
                  </a:lnTo>
                  <a:lnTo>
                    <a:pt x="4242781" y="6546194"/>
                  </a:lnTo>
                  <a:lnTo>
                    <a:pt x="4242781" y="6546195"/>
                  </a:lnTo>
                  <a:lnTo>
                    <a:pt x="4259120" y="6521804"/>
                  </a:lnTo>
                  <a:lnTo>
                    <a:pt x="4261587" y="6513012"/>
                  </a:lnTo>
                  <a:lnTo>
                    <a:pt x="4264398" y="6508052"/>
                  </a:lnTo>
                  <a:lnTo>
                    <a:pt x="4275382" y="6463849"/>
                  </a:lnTo>
                  <a:lnTo>
                    <a:pt x="4275385" y="6463841"/>
                  </a:lnTo>
                  <a:cubicBezTo>
                    <a:pt x="4278336" y="6451650"/>
                    <a:pt x="4285813" y="6444077"/>
                    <a:pt x="4295315" y="6438981"/>
                  </a:cubicBezTo>
                  <a:close/>
                  <a:moveTo>
                    <a:pt x="4381289" y="6365204"/>
                  </a:moveTo>
                  <a:lnTo>
                    <a:pt x="4380008" y="6387910"/>
                  </a:lnTo>
                  <a:lnTo>
                    <a:pt x="4378243" y="6391549"/>
                  </a:lnTo>
                  <a:lnTo>
                    <a:pt x="4370589" y="6407332"/>
                  </a:lnTo>
                  <a:lnTo>
                    <a:pt x="4370589" y="6407333"/>
                  </a:lnTo>
                  <a:lnTo>
                    <a:pt x="4378243" y="6391549"/>
                  </a:lnTo>
                  <a:lnTo>
                    <a:pt x="4380008" y="6387910"/>
                  </a:lnTo>
                  <a:close/>
                  <a:moveTo>
                    <a:pt x="4142220" y="4221391"/>
                  </a:moveTo>
                  <a:lnTo>
                    <a:pt x="4142220" y="4221392"/>
                  </a:lnTo>
                  <a:cubicBezTo>
                    <a:pt x="4142982" y="4232061"/>
                    <a:pt x="4143172" y="4243873"/>
                    <a:pt x="4147936" y="4253015"/>
                  </a:cubicBezTo>
                  <a:cubicBezTo>
                    <a:pt x="4160129" y="4277402"/>
                    <a:pt x="4175749" y="4300071"/>
                    <a:pt x="4187752" y="4324646"/>
                  </a:cubicBezTo>
                  <a:lnTo>
                    <a:pt x="4196706" y="4363891"/>
                  </a:lnTo>
                  <a:lnTo>
                    <a:pt x="4195944" y="4482004"/>
                  </a:lnTo>
                  <a:cubicBezTo>
                    <a:pt x="4193276" y="4546776"/>
                    <a:pt x="4192704" y="4612500"/>
                    <a:pt x="4135934" y="4659174"/>
                  </a:cubicBezTo>
                  <a:cubicBezTo>
                    <a:pt x="4131362" y="4662986"/>
                    <a:pt x="4128694" y="4671176"/>
                    <a:pt x="4127932" y="4677655"/>
                  </a:cubicBezTo>
                  <a:cubicBezTo>
                    <a:pt x="4124313" y="4707564"/>
                    <a:pt x="4123931" y="4738235"/>
                    <a:pt x="4118025" y="4767764"/>
                  </a:cubicBezTo>
                  <a:cubicBezTo>
                    <a:pt x="4115644" y="4779575"/>
                    <a:pt x="4114835" y="4790387"/>
                    <a:pt x="4116716" y="4800483"/>
                  </a:cubicBezTo>
                  <a:lnTo>
                    <a:pt x="4116716" y="4800484"/>
                  </a:lnTo>
                  <a:cubicBezTo>
                    <a:pt x="4118597" y="4810581"/>
                    <a:pt x="4123170" y="4819964"/>
                    <a:pt x="4131552" y="4828917"/>
                  </a:cubicBezTo>
                  <a:lnTo>
                    <a:pt x="4153733" y="4863343"/>
                  </a:lnTo>
                  <a:lnTo>
                    <a:pt x="4161262" y="4889275"/>
                  </a:lnTo>
                  <a:lnTo>
                    <a:pt x="4159557" y="4912168"/>
                  </a:lnTo>
                  <a:cubicBezTo>
                    <a:pt x="4157842" y="4919978"/>
                    <a:pt x="4157485" y="4927122"/>
                    <a:pt x="4158155" y="4933804"/>
                  </a:cubicBezTo>
                  <a:lnTo>
                    <a:pt x="4158155" y="4933805"/>
                  </a:lnTo>
                  <a:lnTo>
                    <a:pt x="4162914" y="4952673"/>
                  </a:lnTo>
                  <a:lnTo>
                    <a:pt x="4165707" y="4957454"/>
                  </a:lnTo>
                  <a:lnTo>
                    <a:pt x="4166985" y="4961456"/>
                  </a:lnTo>
                  <a:cubicBezTo>
                    <a:pt x="4171496" y="4970097"/>
                    <a:pt x="4177202" y="4978394"/>
                    <a:pt x="4182989" y="4987038"/>
                  </a:cubicBezTo>
                  <a:cubicBezTo>
                    <a:pt x="4194228" y="5003802"/>
                    <a:pt x="4208326" y="5022853"/>
                    <a:pt x="4209468" y="5041522"/>
                  </a:cubicBezTo>
                  <a:cubicBezTo>
                    <a:pt x="4210087" y="5052096"/>
                    <a:pt x="4213005" y="5062300"/>
                    <a:pt x="4216684" y="5072376"/>
                  </a:cubicBezTo>
                  <a:lnTo>
                    <a:pt x="4222587" y="5087441"/>
                  </a:lnTo>
                  <a:lnTo>
                    <a:pt x="4235615" y="5133220"/>
                  </a:lnTo>
                  <a:lnTo>
                    <a:pt x="4235616" y="5133225"/>
                  </a:lnTo>
                  <a:lnTo>
                    <a:pt x="4228901" y="5166113"/>
                  </a:lnTo>
                  <a:lnTo>
                    <a:pt x="4228901" y="5166114"/>
                  </a:lnTo>
                  <a:cubicBezTo>
                    <a:pt x="4228139" y="5167638"/>
                    <a:pt x="4228712" y="5169781"/>
                    <a:pt x="4229593" y="5172091"/>
                  </a:cubicBezTo>
                  <a:lnTo>
                    <a:pt x="4232139" y="5179068"/>
                  </a:lnTo>
                  <a:cubicBezTo>
                    <a:pt x="4235759" y="5196595"/>
                    <a:pt x="4235807" y="5213598"/>
                    <a:pt x="4231973" y="5229434"/>
                  </a:cubicBezTo>
                  <a:lnTo>
                    <a:pt x="4225669" y="5241089"/>
                  </a:lnTo>
                  <a:lnTo>
                    <a:pt x="4208517" y="5272796"/>
                  </a:lnTo>
                  <a:cubicBezTo>
                    <a:pt x="4196871" y="5285441"/>
                    <a:pt x="4189165" y="5298595"/>
                    <a:pt x="4184613" y="5312288"/>
                  </a:cubicBezTo>
                  <a:lnTo>
                    <a:pt x="4183557" y="5321350"/>
                  </a:lnTo>
                  <a:lnTo>
                    <a:pt x="4181083" y="5326163"/>
                  </a:lnTo>
                  <a:lnTo>
                    <a:pt x="4179637" y="5355014"/>
                  </a:lnTo>
                  <a:lnTo>
                    <a:pt x="4179637" y="5355015"/>
                  </a:lnTo>
                  <a:cubicBezTo>
                    <a:pt x="4180286" y="5364883"/>
                    <a:pt x="4181989" y="5375003"/>
                    <a:pt x="4184513" y="5385385"/>
                  </a:cubicBezTo>
                  <a:cubicBezTo>
                    <a:pt x="4187752" y="5398722"/>
                    <a:pt x="4190038" y="5412058"/>
                    <a:pt x="4192704" y="5425583"/>
                  </a:cubicBezTo>
                  <a:cubicBezTo>
                    <a:pt x="4196514" y="5443871"/>
                    <a:pt x="4200516" y="5462352"/>
                    <a:pt x="4204327" y="5480638"/>
                  </a:cubicBezTo>
                  <a:lnTo>
                    <a:pt x="4208850" y="5507668"/>
                  </a:lnTo>
                  <a:lnTo>
                    <a:pt x="4198232" y="5531692"/>
                  </a:lnTo>
                  <a:lnTo>
                    <a:pt x="4198231" y="5531693"/>
                  </a:lnTo>
                  <a:cubicBezTo>
                    <a:pt x="4191181" y="5537600"/>
                    <a:pt x="4187989" y="5542649"/>
                    <a:pt x="4188085" y="5547578"/>
                  </a:cubicBezTo>
                  <a:lnTo>
                    <a:pt x="4188085" y="5547579"/>
                  </a:lnTo>
                  <a:cubicBezTo>
                    <a:pt x="4188180" y="5552508"/>
                    <a:pt x="4191562" y="5557318"/>
                    <a:pt x="4197659" y="5562747"/>
                  </a:cubicBezTo>
                  <a:cubicBezTo>
                    <a:pt x="4240332" y="5600468"/>
                    <a:pt x="4267003" y="5646190"/>
                    <a:pt x="4268907" y="5704484"/>
                  </a:cubicBezTo>
                  <a:cubicBezTo>
                    <a:pt x="4269289" y="5716486"/>
                    <a:pt x="4271954" y="5728679"/>
                    <a:pt x="4274812" y="5740489"/>
                  </a:cubicBezTo>
                  <a:cubicBezTo>
                    <a:pt x="4276527" y="5747729"/>
                    <a:pt x="4278433" y="5756494"/>
                    <a:pt x="4283578" y="5760874"/>
                  </a:cubicBezTo>
                  <a:cubicBezTo>
                    <a:pt x="4322821" y="5794975"/>
                    <a:pt x="4350063" y="5837458"/>
                    <a:pt x="4371973" y="5883752"/>
                  </a:cubicBezTo>
                  <a:lnTo>
                    <a:pt x="4371974" y="5883757"/>
                  </a:lnTo>
                  <a:lnTo>
                    <a:pt x="4389877" y="5935946"/>
                  </a:lnTo>
                  <a:lnTo>
                    <a:pt x="4389878" y="5935950"/>
                  </a:lnTo>
                  <a:lnTo>
                    <a:pt x="4386259" y="5993290"/>
                  </a:lnTo>
                  <a:lnTo>
                    <a:pt x="4386259" y="5993291"/>
                  </a:lnTo>
                  <a:cubicBezTo>
                    <a:pt x="4385116" y="6004531"/>
                    <a:pt x="4385306" y="6017485"/>
                    <a:pt x="4379782" y="6026440"/>
                  </a:cubicBezTo>
                  <a:cubicBezTo>
                    <a:pt x="4362445" y="6054825"/>
                    <a:pt x="4343778" y="6082258"/>
                    <a:pt x="4323583" y="6108738"/>
                  </a:cubicBezTo>
                  <a:cubicBezTo>
                    <a:pt x="4314914" y="6120074"/>
                    <a:pt x="4309961" y="6126884"/>
                    <a:pt x="4309890" y="6133314"/>
                  </a:cubicBezTo>
                  <a:lnTo>
                    <a:pt x="4309890" y="6133315"/>
                  </a:lnTo>
                  <a:lnTo>
                    <a:pt x="4313591" y="6143190"/>
                  </a:lnTo>
                  <a:lnTo>
                    <a:pt x="4325486" y="6155600"/>
                  </a:lnTo>
                  <a:lnTo>
                    <a:pt x="4325488" y="6155603"/>
                  </a:lnTo>
                  <a:cubicBezTo>
                    <a:pt x="4347778" y="6175798"/>
                    <a:pt x="4359398" y="6200945"/>
                    <a:pt x="4364160" y="6228757"/>
                  </a:cubicBezTo>
                  <a:lnTo>
                    <a:pt x="4381497" y="6361540"/>
                  </a:lnTo>
                  <a:lnTo>
                    <a:pt x="4381497" y="6361539"/>
                  </a:lnTo>
                  <a:cubicBezTo>
                    <a:pt x="4377877" y="6317151"/>
                    <a:pt x="4371590" y="6272764"/>
                    <a:pt x="4364160" y="6228756"/>
                  </a:cubicBezTo>
                  <a:cubicBezTo>
                    <a:pt x="4359398" y="6200944"/>
                    <a:pt x="4347778" y="6175797"/>
                    <a:pt x="4325488" y="6155602"/>
                  </a:cubicBezTo>
                  <a:lnTo>
                    <a:pt x="4325486" y="6155600"/>
                  </a:lnTo>
                  <a:lnTo>
                    <a:pt x="4309890" y="6133315"/>
                  </a:lnTo>
                  <a:lnTo>
                    <a:pt x="4323583" y="6108739"/>
                  </a:lnTo>
                  <a:cubicBezTo>
                    <a:pt x="4343778" y="6082259"/>
                    <a:pt x="4362445" y="6054826"/>
                    <a:pt x="4379782" y="6026441"/>
                  </a:cubicBezTo>
                  <a:cubicBezTo>
                    <a:pt x="4385306" y="6017486"/>
                    <a:pt x="4385116" y="6004532"/>
                    <a:pt x="4386259" y="5993292"/>
                  </a:cubicBezTo>
                  <a:lnTo>
                    <a:pt x="4386259" y="5993290"/>
                  </a:lnTo>
                  <a:lnTo>
                    <a:pt x="4389712" y="5964477"/>
                  </a:lnTo>
                  <a:lnTo>
                    <a:pt x="4389878" y="5935950"/>
                  </a:lnTo>
                  <a:lnTo>
                    <a:pt x="4389878" y="5935949"/>
                  </a:lnTo>
                  <a:lnTo>
                    <a:pt x="4389877" y="5935946"/>
                  </a:lnTo>
                  <a:lnTo>
                    <a:pt x="4382997" y="5909351"/>
                  </a:lnTo>
                  <a:lnTo>
                    <a:pt x="4371974" y="5883757"/>
                  </a:lnTo>
                  <a:lnTo>
                    <a:pt x="4371973" y="5883751"/>
                  </a:lnTo>
                  <a:cubicBezTo>
                    <a:pt x="4350063" y="5837457"/>
                    <a:pt x="4322821" y="5794974"/>
                    <a:pt x="4283578" y="5760873"/>
                  </a:cubicBezTo>
                  <a:cubicBezTo>
                    <a:pt x="4278433" y="5756493"/>
                    <a:pt x="4276527" y="5747728"/>
                    <a:pt x="4274812" y="5740488"/>
                  </a:cubicBezTo>
                  <a:cubicBezTo>
                    <a:pt x="4271954" y="5728678"/>
                    <a:pt x="4269289" y="5716485"/>
                    <a:pt x="4268907" y="5704483"/>
                  </a:cubicBezTo>
                  <a:cubicBezTo>
                    <a:pt x="4267003" y="5646189"/>
                    <a:pt x="4240332" y="5600467"/>
                    <a:pt x="4197659" y="5562746"/>
                  </a:cubicBezTo>
                  <a:lnTo>
                    <a:pt x="4188085" y="5547578"/>
                  </a:lnTo>
                  <a:lnTo>
                    <a:pt x="4198231" y="5531694"/>
                  </a:lnTo>
                  <a:lnTo>
                    <a:pt x="4198232" y="5531692"/>
                  </a:lnTo>
                  <a:lnTo>
                    <a:pt x="4206630" y="5520422"/>
                  </a:lnTo>
                  <a:lnTo>
                    <a:pt x="4208850" y="5507668"/>
                  </a:lnTo>
                  <a:lnTo>
                    <a:pt x="4208850" y="5507667"/>
                  </a:lnTo>
                  <a:cubicBezTo>
                    <a:pt x="4208803" y="5498832"/>
                    <a:pt x="4206231" y="5489497"/>
                    <a:pt x="4204327" y="5480637"/>
                  </a:cubicBezTo>
                  <a:cubicBezTo>
                    <a:pt x="4200516" y="5462351"/>
                    <a:pt x="4196514" y="5443870"/>
                    <a:pt x="4192704" y="5425582"/>
                  </a:cubicBezTo>
                  <a:cubicBezTo>
                    <a:pt x="4190038" y="5412057"/>
                    <a:pt x="4187752" y="5398721"/>
                    <a:pt x="4184513" y="5385384"/>
                  </a:cubicBezTo>
                  <a:lnTo>
                    <a:pt x="4179637" y="5355014"/>
                  </a:lnTo>
                  <a:lnTo>
                    <a:pt x="4183557" y="5321350"/>
                  </a:lnTo>
                  <a:lnTo>
                    <a:pt x="4208517" y="5272797"/>
                  </a:lnTo>
                  <a:lnTo>
                    <a:pt x="4225669" y="5241089"/>
                  </a:lnTo>
                  <a:lnTo>
                    <a:pt x="4231973" y="5229433"/>
                  </a:lnTo>
                  <a:lnTo>
                    <a:pt x="4232139" y="5179068"/>
                  </a:lnTo>
                  <a:lnTo>
                    <a:pt x="4232139" y="5179067"/>
                  </a:lnTo>
                  <a:cubicBezTo>
                    <a:pt x="4231663" y="5176876"/>
                    <a:pt x="4230473" y="5174400"/>
                    <a:pt x="4229593" y="5172090"/>
                  </a:cubicBezTo>
                  <a:lnTo>
                    <a:pt x="4228901" y="5166114"/>
                  </a:lnTo>
                  <a:lnTo>
                    <a:pt x="4235616" y="5133225"/>
                  </a:lnTo>
                  <a:lnTo>
                    <a:pt x="4235616" y="5133224"/>
                  </a:lnTo>
                  <a:lnTo>
                    <a:pt x="4235615" y="5133220"/>
                  </a:lnTo>
                  <a:lnTo>
                    <a:pt x="4228473" y="5102461"/>
                  </a:lnTo>
                  <a:lnTo>
                    <a:pt x="4222587" y="5087441"/>
                  </a:lnTo>
                  <a:lnTo>
                    <a:pt x="4222582" y="5087423"/>
                  </a:lnTo>
                  <a:cubicBezTo>
                    <a:pt x="4216496" y="5072411"/>
                    <a:pt x="4210397" y="5057381"/>
                    <a:pt x="4209468" y="5041521"/>
                  </a:cubicBezTo>
                  <a:cubicBezTo>
                    <a:pt x="4208326" y="5022852"/>
                    <a:pt x="4194228" y="5003801"/>
                    <a:pt x="4182989" y="4987037"/>
                  </a:cubicBezTo>
                  <a:lnTo>
                    <a:pt x="4165707" y="4957454"/>
                  </a:lnTo>
                  <a:lnTo>
                    <a:pt x="4158155" y="4933805"/>
                  </a:lnTo>
                  <a:lnTo>
                    <a:pt x="4159557" y="4912169"/>
                  </a:lnTo>
                  <a:cubicBezTo>
                    <a:pt x="4161319" y="4904358"/>
                    <a:pt x="4161831" y="4896714"/>
                    <a:pt x="4161262" y="4889276"/>
                  </a:cubicBezTo>
                  <a:lnTo>
                    <a:pt x="4161262" y="4889275"/>
                  </a:lnTo>
                  <a:lnTo>
                    <a:pt x="4156484" y="4867614"/>
                  </a:lnTo>
                  <a:lnTo>
                    <a:pt x="4153733" y="4863343"/>
                  </a:lnTo>
                  <a:lnTo>
                    <a:pt x="4151983" y="4857317"/>
                  </a:lnTo>
                  <a:cubicBezTo>
                    <a:pt x="4146840" y="4847214"/>
                    <a:pt x="4139839" y="4837703"/>
                    <a:pt x="4131552" y="4828916"/>
                  </a:cubicBezTo>
                  <a:lnTo>
                    <a:pt x="4116716" y="4800483"/>
                  </a:lnTo>
                  <a:lnTo>
                    <a:pt x="4118025" y="4767765"/>
                  </a:lnTo>
                  <a:cubicBezTo>
                    <a:pt x="4123931" y="4738236"/>
                    <a:pt x="4124313" y="4707565"/>
                    <a:pt x="4127932" y="4677656"/>
                  </a:cubicBezTo>
                  <a:cubicBezTo>
                    <a:pt x="4128694" y="4671177"/>
                    <a:pt x="4131362" y="4662987"/>
                    <a:pt x="4135934" y="4659175"/>
                  </a:cubicBezTo>
                  <a:cubicBezTo>
                    <a:pt x="4192704" y="4612501"/>
                    <a:pt x="4193276" y="4546777"/>
                    <a:pt x="4195944" y="4482005"/>
                  </a:cubicBezTo>
                  <a:cubicBezTo>
                    <a:pt x="4197659" y="4442762"/>
                    <a:pt x="4197659" y="4403326"/>
                    <a:pt x="4196706" y="4363891"/>
                  </a:cubicBezTo>
                  <a:lnTo>
                    <a:pt x="4196706" y="4363890"/>
                  </a:lnTo>
                  <a:cubicBezTo>
                    <a:pt x="4196514" y="4350554"/>
                    <a:pt x="4193466" y="4336457"/>
                    <a:pt x="4187752" y="4324645"/>
                  </a:cubicBezTo>
                  <a:cubicBezTo>
                    <a:pt x="4175749" y="4300070"/>
                    <a:pt x="4160129" y="4277401"/>
                    <a:pt x="4147936" y="4253014"/>
                  </a:cubicBezTo>
                  <a:close/>
                  <a:moveTo>
                    <a:pt x="4211111" y="2836172"/>
                  </a:moveTo>
                  <a:lnTo>
                    <a:pt x="4202421" y="2848793"/>
                  </a:lnTo>
                  <a:cubicBezTo>
                    <a:pt x="4197421" y="2865010"/>
                    <a:pt x="4191562" y="2881307"/>
                    <a:pt x="4186816" y="2897785"/>
                  </a:cubicBezTo>
                  <a:lnTo>
                    <a:pt x="4185787" y="2903551"/>
                  </a:lnTo>
                  <a:lnTo>
                    <a:pt x="4182513" y="2914328"/>
                  </a:lnTo>
                  <a:lnTo>
                    <a:pt x="4177882" y="2947858"/>
                  </a:lnTo>
                  <a:lnTo>
                    <a:pt x="4177881" y="2947862"/>
                  </a:lnTo>
                  <a:lnTo>
                    <a:pt x="4177881" y="2947863"/>
                  </a:lnTo>
                  <a:cubicBezTo>
                    <a:pt x="4177512" y="2959157"/>
                    <a:pt x="4178512" y="2970576"/>
                    <a:pt x="4181465" y="2982149"/>
                  </a:cubicBezTo>
                  <a:lnTo>
                    <a:pt x="4193158" y="3077402"/>
                  </a:lnTo>
                  <a:lnTo>
                    <a:pt x="4180703" y="3172654"/>
                  </a:lnTo>
                  <a:cubicBezTo>
                    <a:pt x="4154794" y="3276480"/>
                    <a:pt x="4127362" y="3380305"/>
                    <a:pt x="4133076" y="3489467"/>
                  </a:cubicBezTo>
                  <a:cubicBezTo>
                    <a:pt x="4134028" y="3507563"/>
                    <a:pt x="4122407" y="3529090"/>
                    <a:pt x="4110977" y="3544713"/>
                  </a:cubicBezTo>
                  <a:cubicBezTo>
                    <a:pt x="4100119" y="3559668"/>
                    <a:pt x="4094260" y="3566812"/>
                    <a:pt x="4093355" y="3574408"/>
                  </a:cubicBezTo>
                  <a:lnTo>
                    <a:pt x="4093355" y="3574409"/>
                  </a:lnTo>
                  <a:cubicBezTo>
                    <a:pt x="4092450" y="3582005"/>
                    <a:pt x="4096499" y="3590054"/>
                    <a:pt x="4105453" y="3606818"/>
                  </a:cubicBezTo>
                  <a:cubicBezTo>
                    <a:pt x="4109835" y="3614820"/>
                    <a:pt x="4112501" y="3624726"/>
                    <a:pt x="4118979" y="3630633"/>
                  </a:cubicBezTo>
                  <a:lnTo>
                    <a:pt x="4136708" y="3654416"/>
                  </a:lnTo>
                  <a:lnTo>
                    <a:pt x="4140382" y="3668940"/>
                  </a:lnTo>
                  <a:lnTo>
                    <a:pt x="4143220" y="3680164"/>
                  </a:lnTo>
                  <a:lnTo>
                    <a:pt x="4139172" y="3734837"/>
                  </a:lnTo>
                  <a:lnTo>
                    <a:pt x="4139172" y="3734838"/>
                  </a:lnTo>
                  <a:cubicBezTo>
                    <a:pt x="4138220" y="3741316"/>
                    <a:pt x="4136886" y="3749126"/>
                    <a:pt x="4139554" y="3754653"/>
                  </a:cubicBezTo>
                  <a:lnTo>
                    <a:pt x="4145911" y="3789776"/>
                  </a:lnTo>
                  <a:lnTo>
                    <a:pt x="4130980" y="3822472"/>
                  </a:lnTo>
                  <a:cubicBezTo>
                    <a:pt x="4123932" y="3831902"/>
                    <a:pt x="4118312" y="3842046"/>
                    <a:pt x="4116645" y="3852619"/>
                  </a:cubicBezTo>
                  <a:lnTo>
                    <a:pt x="4116645" y="3852620"/>
                  </a:lnTo>
                  <a:lnTo>
                    <a:pt x="4117425" y="3868764"/>
                  </a:lnTo>
                  <a:lnTo>
                    <a:pt x="4126028" y="3885337"/>
                  </a:lnTo>
                  <a:lnTo>
                    <a:pt x="4126028" y="3885339"/>
                  </a:lnTo>
                  <a:cubicBezTo>
                    <a:pt x="4135744" y="3897722"/>
                    <a:pt x="4143150" y="3910319"/>
                    <a:pt x="4148409" y="3923125"/>
                  </a:cubicBezTo>
                  <a:lnTo>
                    <a:pt x="4157913" y="3962160"/>
                  </a:lnTo>
                  <a:lnTo>
                    <a:pt x="4142221" y="4043838"/>
                  </a:lnTo>
                  <a:lnTo>
                    <a:pt x="4142220" y="4043839"/>
                  </a:lnTo>
                  <a:cubicBezTo>
                    <a:pt x="4133457" y="4063842"/>
                    <a:pt x="4128075" y="4083702"/>
                    <a:pt x="4127099" y="4103825"/>
                  </a:cubicBezTo>
                  <a:lnTo>
                    <a:pt x="4127099" y="4103826"/>
                  </a:lnTo>
                  <a:lnTo>
                    <a:pt x="4129066" y="4134256"/>
                  </a:lnTo>
                  <a:lnTo>
                    <a:pt x="4138410" y="4165382"/>
                  </a:lnTo>
                  <a:lnTo>
                    <a:pt x="4138410" y="4165384"/>
                  </a:lnTo>
                  <a:lnTo>
                    <a:pt x="4142315" y="4192388"/>
                  </a:lnTo>
                  <a:lnTo>
                    <a:pt x="4142315" y="4192387"/>
                  </a:lnTo>
                  <a:cubicBezTo>
                    <a:pt x="4142411" y="4182767"/>
                    <a:pt x="4141839" y="4173480"/>
                    <a:pt x="4138410" y="4165383"/>
                  </a:cubicBezTo>
                  <a:lnTo>
                    <a:pt x="4138410" y="4165382"/>
                  </a:lnTo>
                  <a:lnTo>
                    <a:pt x="4127099" y="4103826"/>
                  </a:lnTo>
                  <a:lnTo>
                    <a:pt x="4142220" y="4043840"/>
                  </a:lnTo>
                  <a:lnTo>
                    <a:pt x="4142221" y="4043838"/>
                  </a:lnTo>
                  <a:lnTo>
                    <a:pt x="4155523" y="4002410"/>
                  </a:lnTo>
                  <a:lnTo>
                    <a:pt x="4157913" y="3962160"/>
                  </a:lnTo>
                  <a:lnTo>
                    <a:pt x="4157913" y="3962159"/>
                  </a:lnTo>
                  <a:cubicBezTo>
                    <a:pt x="4155651" y="3935727"/>
                    <a:pt x="4145460" y="3910104"/>
                    <a:pt x="4126028" y="3885338"/>
                  </a:cubicBezTo>
                  <a:lnTo>
                    <a:pt x="4126028" y="3885337"/>
                  </a:lnTo>
                  <a:lnTo>
                    <a:pt x="4116645" y="3852620"/>
                  </a:lnTo>
                  <a:lnTo>
                    <a:pt x="4130980" y="3822473"/>
                  </a:lnTo>
                  <a:cubicBezTo>
                    <a:pt x="4139172" y="3811614"/>
                    <a:pt x="4144316" y="3800897"/>
                    <a:pt x="4145911" y="3789777"/>
                  </a:cubicBezTo>
                  <a:lnTo>
                    <a:pt x="4145911" y="3789776"/>
                  </a:lnTo>
                  <a:cubicBezTo>
                    <a:pt x="4147507" y="3778655"/>
                    <a:pt x="4145554" y="3767130"/>
                    <a:pt x="4139554" y="3754652"/>
                  </a:cubicBezTo>
                  <a:lnTo>
                    <a:pt x="4139172" y="3734838"/>
                  </a:lnTo>
                  <a:lnTo>
                    <a:pt x="4143220" y="3680164"/>
                  </a:lnTo>
                  <a:lnTo>
                    <a:pt x="4143220" y="3680163"/>
                  </a:lnTo>
                  <a:lnTo>
                    <a:pt x="4140382" y="3668940"/>
                  </a:lnTo>
                  <a:lnTo>
                    <a:pt x="4136708" y="3654416"/>
                  </a:lnTo>
                  <a:lnTo>
                    <a:pt x="4136708" y="3654416"/>
                  </a:lnTo>
                  <a:lnTo>
                    <a:pt x="4136708" y="3654415"/>
                  </a:lnTo>
                  <a:cubicBezTo>
                    <a:pt x="4132898" y="3646123"/>
                    <a:pt x="4127219" y="3638157"/>
                    <a:pt x="4118979" y="3630632"/>
                  </a:cubicBezTo>
                  <a:cubicBezTo>
                    <a:pt x="4112501" y="3624725"/>
                    <a:pt x="4109835" y="3614819"/>
                    <a:pt x="4105453" y="3606817"/>
                  </a:cubicBezTo>
                  <a:cubicBezTo>
                    <a:pt x="4100976" y="3598435"/>
                    <a:pt x="4097725" y="3592232"/>
                    <a:pt x="4095707" y="3587174"/>
                  </a:cubicBezTo>
                  <a:lnTo>
                    <a:pt x="4093355" y="3574408"/>
                  </a:lnTo>
                  <a:lnTo>
                    <a:pt x="4098434" y="3562321"/>
                  </a:lnTo>
                  <a:cubicBezTo>
                    <a:pt x="4101369" y="3557716"/>
                    <a:pt x="4105548" y="3552191"/>
                    <a:pt x="4110977" y="3544714"/>
                  </a:cubicBezTo>
                  <a:cubicBezTo>
                    <a:pt x="4122407" y="3529091"/>
                    <a:pt x="4134028" y="3507564"/>
                    <a:pt x="4133076" y="3489468"/>
                  </a:cubicBezTo>
                  <a:cubicBezTo>
                    <a:pt x="4127362" y="3380306"/>
                    <a:pt x="4154794" y="3276481"/>
                    <a:pt x="4180703" y="3172655"/>
                  </a:cubicBezTo>
                  <a:cubicBezTo>
                    <a:pt x="4188705" y="3140650"/>
                    <a:pt x="4192943" y="3109026"/>
                    <a:pt x="4193158" y="3077402"/>
                  </a:cubicBezTo>
                  <a:lnTo>
                    <a:pt x="4193158" y="3077401"/>
                  </a:lnTo>
                  <a:cubicBezTo>
                    <a:pt x="4193372" y="3045777"/>
                    <a:pt x="4189562" y="3014153"/>
                    <a:pt x="4181465" y="2982148"/>
                  </a:cubicBezTo>
                  <a:lnTo>
                    <a:pt x="4177881" y="2947863"/>
                  </a:lnTo>
                  <a:lnTo>
                    <a:pt x="4177882" y="2947858"/>
                  </a:lnTo>
                  <a:lnTo>
                    <a:pt x="4185787" y="2903551"/>
                  </a:lnTo>
                  <a:lnTo>
                    <a:pt x="4202421" y="2848794"/>
                  </a:lnTo>
                  <a:cubicBezTo>
                    <a:pt x="4203754" y="2844317"/>
                    <a:pt x="4207040" y="2839983"/>
                    <a:pt x="4211111" y="2836173"/>
                  </a:cubicBezTo>
                  <a:close/>
                  <a:moveTo>
                    <a:pt x="3726625" y="1508458"/>
                  </a:moveTo>
                  <a:lnTo>
                    <a:pt x="3698531" y="1596214"/>
                  </a:lnTo>
                  <a:cubicBezTo>
                    <a:pt x="3696054" y="1604979"/>
                    <a:pt x="3697579" y="1615837"/>
                    <a:pt x="3700436" y="1624981"/>
                  </a:cubicBezTo>
                  <a:cubicBezTo>
                    <a:pt x="3710152" y="1656224"/>
                    <a:pt x="3734537" y="1676037"/>
                    <a:pt x="3757017" y="1697754"/>
                  </a:cubicBezTo>
                  <a:cubicBezTo>
                    <a:pt x="3766924" y="1707280"/>
                    <a:pt x="3773972" y="1720424"/>
                    <a:pt x="3779686" y="1733189"/>
                  </a:cubicBezTo>
                  <a:cubicBezTo>
                    <a:pt x="3794357" y="1766336"/>
                    <a:pt x="3807501" y="1800247"/>
                    <a:pt x="3821407" y="1833776"/>
                  </a:cubicBezTo>
                  <a:cubicBezTo>
                    <a:pt x="3822741" y="1837014"/>
                    <a:pt x="3826170" y="1839680"/>
                    <a:pt x="3829028" y="1842159"/>
                  </a:cubicBezTo>
                  <a:cubicBezTo>
                    <a:pt x="3859129" y="1866923"/>
                    <a:pt x="3889418" y="1891498"/>
                    <a:pt x="3919519" y="1916455"/>
                  </a:cubicBezTo>
                  <a:cubicBezTo>
                    <a:pt x="3925233" y="1921217"/>
                    <a:pt x="3929425" y="1928077"/>
                    <a:pt x="3934949" y="1933220"/>
                  </a:cubicBezTo>
                  <a:cubicBezTo>
                    <a:pt x="3942569" y="1940460"/>
                    <a:pt x="3949810" y="1949604"/>
                    <a:pt x="3958954" y="1953414"/>
                  </a:cubicBezTo>
                  <a:cubicBezTo>
                    <a:pt x="3987719" y="1965225"/>
                    <a:pt x="4000103" y="1987895"/>
                    <a:pt x="4005437" y="2016470"/>
                  </a:cubicBezTo>
                  <a:cubicBezTo>
                    <a:pt x="4010390" y="2042571"/>
                    <a:pt x="4014582" y="2068670"/>
                    <a:pt x="4020296" y="2094579"/>
                  </a:cubicBezTo>
                  <a:cubicBezTo>
                    <a:pt x="4027154" y="2126202"/>
                    <a:pt x="4034584" y="2157637"/>
                    <a:pt x="4042967" y="2188880"/>
                  </a:cubicBezTo>
                  <a:cubicBezTo>
                    <a:pt x="4046587" y="2202405"/>
                    <a:pt x="4050777" y="2216693"/>
                    <a:pt x="4058207" y="2228315"/>
                  </a:cubicBezTo>
                  <a:cubicBezTo>
                    <a:pt x="4078782" y="2260891"/>
                    <a:pt x="4092688" y="2295754"/>
                    <a:pt x="4087164" y="2334045"/>
                  </a:cubicBezTo>
                  <a:cubicBezTo>
                    <a:pt x="4082782" y="2364716"/>
                    <a:pt x="4094022" y="2390435"/>
                    <a:pt x="4111549" y="2409486"/>
                  </a:cubicBezTo>
                  <a:cubicBezTo>
                    <a:pt x="4119503" y="2418155"/>
                    <a:pt x="4125016" y="2426977"/>
                    <a:pt x="4128650" y="2435913"/>
                  </a:cubicBezTo>
                  <a:lnTo>
                    <a:pt x="4134481" y="2463018"/>
                  </a:lnTo>
                  <a:lnTo>
                    <a:pt x="4125839" y="2518262"/>
                  </a:lnTo>
                  <a:lnTo>
                    <a:pt x="4125838" y="2518264"/>
                  </a:lnTo>
                  <a:cubicBezTo>
                    <a:pt x="4123171" y="2527790"/>
                    <a:pt x="4122027" y="2536457"/>
                    <a:pt x="4122194" y="2545006"/>
                  </a:cubicBezTo>
                  <a:lnTo>
                    <a:pt x="4122194" y="2545007"/>
                  </a:lnTo>
                  <a:cubicBezTo>
                    <a:pt x="4122360" y="2553556"/>
                    <a:pt x="4123837" y="2561986"/>
                    <a:pt x="4126408" y="2571035"/>
                  </a:cubicBezTo>
                  <a:cubicBezTo>
                    <a:pt x="4138410" y="2612946"/>
                    <a:pt x="4170987" y="2640951"/>
                    <a:pt x="4199563" y="2668002"/>
                  </a:cubicBezTo>
                  <a:cubicBezTo>
                    <a:pt x="4223947" y="2691055"/>
                    <a:pt x="4237663" y="2716964"/>
                    <a:pt x="4247953" y="2745349"/>
                  </a:cubicBezTo>
                  <a:lnTo>
                    <a:pt x="4247954" y="2745352"/>
                  </a:lnTo>
                  <a:lnTo>
                    <a:pt x="4253873" y="2778006"/>
                  </a:lnTo>
                  <a:lnTo>
                    <a:pt x="4253453" y="2785440"/>
                  </a:lnTo>
                  <a:lnTo>
                    <a:pt x="4243374" y="2811780"/>
                  </a:lnTo>
                  <a:lnTo>
                    <a:pt x="4243371" y="2811787"/>
                  </a:lnTo>
                  <a:lnTo>
                    <a:pt x="4243372" y="2811787"/>
                  </a:lnTo>
                  <a:lnTo>
                    <a:pt x="4243374" y="2811780"/>
                  </a:lnTo>
                  <a:lnTo>
                    <a:pt x="4253025" y="2793023"/>
                  </a:lnTo>
                  <a:lnTo>
                    <a:pt x="4253453" y="2785440"/>
                  </a:lnTo>
                  <a:lnTo>
                    <a:pt x="4254654" y="2782305"/>
                  </a:lnTo>
                  <a:lnTo>
                    <a:pt x="4253873" y="2778006"/>
                  </a:lnTo>
                  <a:lnTo>
                    <a:pt x="4254284" y="2770758"/>
                  </a:lnTo>
                  <a:lnTo>
                    <a:pt x="4247954" y="2745352"/>
                  </a:lnTo>
                  <a:lnTo>
                    <a:pt x="4247953" y="2745348"/>
                  </a:lnTo>
                  <a:cubicBezTo>
                    <a:pt x="4237663" y="2716963"/>
                    <a:pt x="4223947" y="2691054"/>
                    <a:pt x="4199563" y="2668001"/>
                  </a:cubicBezTo>
                  <a:cubicBezTo>
                    <a:pt x="4170987" y="2640950"/>
                    <a:pt x="4138410" y="2612945"/>
                    <a:pt x="4126408" y="2571034"/>
                  </a:cubicBezTo>
                  <a:lnTo>
                    <a:pt x="4122194" y="2545007"/>
                  </a:lnTo>
                  <a:lnTo>
                    <a:pt x="4125838" y="2518265"/>
                  </a:lnTo>
                  <a:lnTo>
                    <a:pt x="4125839" y="2518262"/>
                  </a:lnTo>
                  <a:lnTo>
                    <a:pt x="4132419" y="2490551"/>
                  </a:lnTo>
                  <a:lnTo>
                    <a:pt x="4134481" y="2463018"/>
                  </a:lnTo>
                  <a:lnTo>
                    <a:pt x="4134481" y="2463017"/>
                  </a:lnTo>
                  <a:cubicBezTo>
                    <a:pt x="4133600" y="2444777"/>
                    <a:pt x="4127457" y="2426822"/>
                    <a:pt x="4111549" y="2409485"/>
                  </a:cubicBezTo>
                  <a:cubicBezTo>
                    <a:pt x="4094022" y="2390434"/>
                    <a:pt x="4082782" y="2364715"/>
                    <a:pt x="4087164" y="2334044"/>
                  </a:cubicBezTo>
                  <a:cubicBezTo>
                    <a:pt x="4092688" y="2295753"/>
                    <a:pt x="4078782" y="2260890"/>
                    <a:pt x="4058207" y="2228314"/>
                  </a:cubicBezTo>
                  <a:cubicBezTo>
                    <a:pt x="4050777" y="2216692"/>
                    <a:pt x="4046587" y="2202404"/>
                    <a:pt x="4042967" y="2188879"/>
                  </a:cubicBezTo>
                  <a:cubicBezTo>
                    <a:pt x="4034584" y="2157636"/>
                    <a:pt x="4027154" y="2126201"/>
                    <a:pt x="4020296" y="2094578"/>
                  </a:cubicBezTo>
                  <a:cubicBezTo>
                    <a:pt x="4014582" y="2068669"/>
                    <a:pt x="4010390" y="2042570"/>
                    <a:pt x="4005437" y="2016469"/>
                  </a:cubicBezTo>
                  <a:cubicBezTo>
                    <a:pt x="4000103" y="1987894"/>
                    <a:pt x="3987719" y="1965224"/>
                    <a:pt x="3958954" y="1953413"/>
                  </a:cubicBezTo>
                  <a:cubicBezTo>
                    <a:pt x="3949810" y="1949603"/>
                    <a:pt x="3942569" y="1940459"/>
                    <a:pt x="3934949" y="1933219"/>
                  </a:cubicBezTo>
                  <a:cubicBezTo>
                    <a:pt x="3929425" y="1928076"/>
                    <a:pt x="3925233" y="1921216"/>
                    <a:pt x="3919519" y="1916454"/>
                  </a:cubicBezTo>
                  <a:cubicBezTo>
                    <a:pt x="3889418" y="1891497"/>
                    <a:pt x="3859129" y="1866922"/>
                    <a:pt x="3829028" y="1842158"/>
                  </a:cubicBezTo>
                  <a:cubicBezTo>
                    <a:pt x="3826170" y="1839679"/>
                    <a:pt x="3822741" y="1837013"/>
                    <a:pt x="3821407" y="1833775"/>
                  </a:cubicBezTo>
                  <a:cubicBezTo>
                    <a:pt x="3807501" y="1800246"/>
                    <a:pt x="3794358" y="1766335"/>
                    <a:pt x="3779686" y="1733188"/>
                  </a:cubicBezTo>
                  <a:cubicBezTo>
                    <a:pt x="3773972" y="1720423"/>
                    <a:pt x="3766924" y="1707279"/>
                    <a:pt x="3757018" y="1697753"/>
                  </a:cubicBezTo>
                  <a:cubicBezTo>
                    <a:pt x="3734538" y="1676036"/>
                    <a:pt x="3710152" y="1656223"/>
                    <a:pt x="3700436" y="1624980"/>
                  </a:cubicBezTo>
                  <a:cubicBezTo>
                    <a:pt x="3697580" y="1615836"/>
                    <a:pt x="3696055" y="1604978"/>
                    <a:pt x="3698532" y="1596213"/>
                  </a:cubicBezTo>
                  <a:close/>
                  <a:moveTo>
                    <a:pt x="3745230" y="1459073"/>
                  </a:moveTo>
                  <a:lnTo>
                    <a:pt x="3745229" y="1459074"/>
                  </a:lnTo>
                  <a:lnTo>
                    <a:pt x="3736012" y="1481572"/>
                  </a:lnTo>
                  <a:close/>
                  <a:moveTo>
                    <a:pt x="3764423" y="1268758"/>
                  </a:moveTo>
                  <a:cubicBezTo>
                    <a:pt x="3764875" y="1275402"/>
                    <a:pt x="3766447" y="1281689"/>
                    <a:pt x="3769590" y="1286070"/>
                  </a:cubicBezTo>
                  <a:cubicBezTo>
                    <a:pt x="3784163" y="1306930"/>
                    <a:pt x="3790403" y="1328553"/>
                    <a:pt x="3791927" y="1350628"/>
                  </a:cubicBezTo>
                  <a:lnTo>
                    <a:pt x="3786333" y="1413840"/>
                  </a:lnTo>
                  <a:lnTo>
                    <a:pt x="3791928" y="1350627"/>
                  </a:lnTo>
                  <a:cubicBezTo>
                    <a:pt x="3790403" y="1328552"/>
                    <a:pt x="3784164" y="1306930"/>
                    <a:pt x="3769590" y="1286069"/>
                  </a:cubicBezTo>
                  <a:close/>
                  <a:moveTo>
                    <a:pt x="3706152" y="773035"/>
                  </a:moveTo>
                  <a:lnTo>
                    <a:pt x="3706152" y="773036"/>
                  </a:lnTo>
                  <a:cubicBezTo>
                    <a:pt x="3708438" y="800277"/>
                    <a:pt x="3711676" y="827330"/>
                    <a:pt x="3714152" y="854380"/>
                  </a:cubicBezTo>
                  <a:cubicBezTo>
                    <a:pt x="3716438" y="878957"/>
                    <a:pt x="3717200" y="903723"/>
                    <a:pt x="3745205" y="915344"/>
                  </a:cubicBezTo>
                  <a:cubicBezTo>
                    <a:pt x="3749587" y="917060"/>
                    <a:pt x="3752825" y="922774"/>
                    <a:pt x="3755683" y="927156"/>
                  </a:cubicBezTo>
                  <a:cubicBezTo>
                    <a:pt x="3799691" y="994786"/>
                    <a:pt x="3798547" y="1030981"/>
                    <a:pt x="3752063" y="1097088"/>
                  </a:cubicBezTo>
                  <a:cubicBezTo>
                    <a:pt x="3747301" y="1103946"/>
                    <a:pt x="3743871" y="1118614"/>
                    <a:pt x="3747681" y="1123186"/>
                  </a:cubicBezTo>
                  <a:cubicBezTo>
                    <a:pt x="3763493" y="1142618"/>
                    <a:pt x="3770542" y="1162954"/>
                    <a:pt x="3772400" y="1184029"/>
                  </a:cubicBezTo>
                  <a:cubicBezTo>
                    <a:pt x="3770542" y="1162954"/>
                    <a:pt x="3763494" y="1142617"/>
                    <a:pt x="3747682" y="1123185"/>
                  </a:cubicBezTo>
                  <a:cubicBezTo>
                    <a:pt x="3743872" y="1118613"/>
                    <a:pt x="3747302" y="1103945"/>
                    <a:pt x="3752064" y="1097087"/>
                  </a:cubicBezTo>
                  <a:cubicBezTo>
                    <a:pt x="3798548" y="1030980"/>
                    <a:pt x="3799692" y="994785"/>
                    <a:pt x="3755684" y="927155"/>
                  </a:cubicBezTo>
                  <a:cubicBezTo>
                    <a:pt x="3752826" y="922773"/>
                    <a:pt x="3749588" y="917059"/>
                    <a:pt x="3745206" y="915343"/>
                  </a:cubicBezTo>
                  <a:cubicBezTo>
                    <a:pt x="3717200" y="903722"/>
                    <a:pt x="3716438" y="878956"/>
                    <a:pt x="3714152" y="854379"/>
                  </a:cubicBezTo>
                  <a:close/>
                  <a:moveTo>
                    <a:pt x="3761553" y="517851"/>
                  </a:moveTo>
                  <a:lnTo>
                    <a:pt x="3752635" y="556048"/>
                  </a:lnTo>
                  <a:cubicBezTo>
                    <a:pt x="3750539" y="564049"/>
                    <a:pt x="3745015" y="572623"/>
                    <a:pt x="3746157" y="580051"/>
                  </a:cubicBezTo>
                  <a:cubicBezTo>
                    <a:pt x="3749491" y="601579"/>
                    <a:pt x="3747062" y="622201"/>
                    <a:pt x="3742776" y="642538"/>
                  </a:cubicBezTo>
                  <a:lnTo>
                    <a:pt x="3730253" y="694928"/>
                  </a:lnTo>
                  <a:lnTo>
                    <a:pt x="3742777" y="642537"/>
                  </a:lnTo>
                  <a:cubicBezTo>
                    <a:pt x="3747063" y="622201"/>
                    <a:pt x="3749492" y="601578"/>
                    <a:pt x="3746158" y="580050"/>
                  </a:cubicBezTo>
                  <a:cubicBezTo>
                    <a:pt x="3745016" y="572622"/>
                    <a:pt x="3750540" y="564048"/>
                    <a:pt x="3752636" y="556047"/>
                  </a:cubicBezTo>
                  <a:close/>
                  <a:moveTo>
                    <a:pt x="3774848" y="298169"/>
                  </a:moveTo>
                  <a:lnTo>
                    <a:pt x="3760065" y="313534"/>
                  </a:lnTo>
                  <a:cubicBezTo>
                    <a:pt x="3755873" y="316390"/>
                    <a:pt x="3758159" y="330299"/>
                    <a:pt x="3759493" y="338871"/>
                  </a:cubicBezTo>
                  <a:lnTo>
                    <a:pt x="3759500" y="338900"/>
                  </a:lnTo>
                  <a:lnTo>
                    <a:pt x="3769400" y="395640"/>
                  </a:lnTo>
                  <a:lnTo>
                    <a:pt x="3765590" y="367328"/>
                  </a:lnTo>
                  <a:lnTo>
                    <a:pt x="3759500" y="338900"/>
                  </a:lnTo>
                  <a:lnTo>
                    <a:pt x="3759494" y="338870"/>
                  </a:lnTo>
                  <a:cubicBezTo>
                    <a:pt x="3758160" y="330298"/>
                    <a:pt x="3755874" y="316389"/>
                    <a:pt x="3760066" y="313533"/>
                  </a:cubicBezTo>
                  <a:close/>
                  <a:moveTo>
                    <a:pt x="3782393" y="281568"/>
                  </a:moveTo>
                  <a:lnTo>
                    <a:pt x="3777498" y="295415"/>
                  </a:lnTo>
                  <a:lnTo>
                    <a:pt x="3777499" y="295415"/>
                  </a:lnTo>
                  <a:close/>
                  <a:moveTo>
                    <a:pt x="3769073" y="24486"/>
                  </a:moveTo>
                  <a:lnTo>
                    <a:pt x="3766810" y="74129"/>
                  </a:lnTo>
                  <a:cubicBezTo>
                    <a:pt x="3767733" y="91492"/>
                    <a:pt x="3770043" y="108703"/>
                    <a:pt x="3772734" y="125861"/>
                  </a:cubicBezTo>
                  <a:lnTo>
                    <a:pt x="3777129" y="153387"/>
                  </a:lnTo>
                  <a:lnTo>
                    <a:pt x="3785402" y="228944"/>
                  </a:lnTo>
                  <a:lnTo>
                    <a:pt x="3780943" y="177271"/>
                  </a:lnTo>
                  <a:lnTo>
                    <a:pt x="3777129" y="153387"/>
                  </a:lnTo>
                  <a:lnTo>
                    <a:pt x="3776930" y="151569"/>
                  </a:lnTo>
                  <a:cubicBezTo>
                    <a:pt x="3772700" y="125876"/>
                    <a:pt x="3768195" y="100174"/>
                    <a:pt x="3766811" y="74129"/>
                  </a:cubicBezTo>
                  <a:close/>
                  <a:moveTo>
                    <a:pt x="3766492" y="0"/>
                  </a:moveTo>
                  <a:lnTo>
                    <a:pt x="4230600" y="0"/>
                  </a:lnTo>
                  <a:lnTo>
                    <a:pt x="4229473" y="2817"/>
                  </a:lnTo>
                  <a:cubicBezTo>
                    <a:pt x="4221092" y="21486"/>
                    <a:pt x="4218423" y="43012"/>
                    <a:pt x="4215375" y="63587"/>
                  </a:cubicBezTo>
                  <a:cubicBezTo>
                    <a:pt x="4209851" y="101308"/>
                    <a:pt x="4206421" y="139219"/>
                    <a:pt x="4201468" y="176939"/>
                  </a:cubicBezTo>
                  <a:cubicBezTo>
                    <a:pt x="4200325" y="184941"/>
                    <a:pt x="4198231" y="194085"/>
                    <a:pt x="4193466" y="200182"/>
                  </a:cubicBezTo>
                  <a:cubicBezTo>
                    <a:pt x="4161461" y="241901"/>
                    <a:pt x="4152508" y="292579"/>
                    <a:pt x="4155554" y="340774"/>
                  </a:cubicBezTo>
                  <a:cubicBezTo>
                    <a:pt x="4157843" y="378686"/>
                    <a:pt x="4159557" y="415835"/>
                    <a:pt x="4156319" y="453364"/>
                  </a:cubicBezTo>
                  <a:cubicBezTo>
                    <a:pt x="4156127" y="456222"/>
                    <a:pt x="4156509" y="460032"/>
                    <a:pt x="4158033" y="462126"/>
                  </a:cubicBezTo>
                  <a:cubicBezTo>
                    <a:pt x="4168129" y="475081"/>
                    <a:pt x="4168891" y="488607"/>
                    <a:pt x="4170605" y="505182"/>
                  </a:cubicBezTo>
                  <a:cubicBezTo>
                    <a:pt x="4173083" y="528615"/>
                    <a:pt x="4171367" y="550141"/>
                    <a:pt x="4167177" y="571860"/>
                  </a:cubicBezTo>
                  <a:cubicBezTo>
                    <a:pt x="4164129" y="587672"/>
                    <a:pt x="4157843" y="603673"/>
                    <a:pt x="4149840" y="617772"/>
                  </a:cubicBezTo>
                  <a:cubicBezTo>
                    <a:pt x="4138600" y="637392"/>
                    <a:pt x="4134220" y="656255"/>
                    <a:pt x="4149078" y="674923"/>
                  </a:cubicBezTo>
                  <a:cubicBezTo>
                    <a:pt x="4164891" y="695116"/>
                    <a:pt x="4159367" y="717977"/>
                    <a:pt x="4159937" y="740268"/>
                  </a:cubicBezTo>
                  <a:cubicBezTo>
                    <a:pt x="4160129" y="749982"/>
                    <a:pt x="4159747" y="760270"/>
                    <a:pt x="4162223" y="769605"/>
                  </a:cubicBezTo>
                  <a:cubicBezTo>
                    <a:pt x="4169273" y="796655"/>
                    <a:pt x="4179941" y="822756"/>
                    <a:pt x="4184703" y="850189"/>
                  </a:cubicBezTo>
                  <a:cubicBezTo>
                    <a:pt x="4187370" y="865430"/>
                    <a:pt x="4182607" y="882384"/>
                    <a:pt x="4179179" y="898198"/>
                  </a:cubicBezTo>
                  <a:cubicBezTo>
                    <a:pt x="4175559" y="914200"/>
                    <a:pt x="4170035" y="930011"/>
                    <a:pt x="4164319" y="945444"/>
                  </a:cubicBezTo>
                  <a:cubicBezTo>
                    <a:pt x="4160509" y="955920"/>
                    <a:pt x="4156889" y="967350"/>
                    <a:pt x="4150030" y="975733"/>
                  </a:cubicBezTo>
                  <a:cubicBezTo>
                    <a:pt x="4134410" y="994785"/>
                    <a:pt x="4131742" y="1014406"/>
                    <a:pt x="4139934" y="1036887"/>
                  </a:cubicBezTo>
                  <a:cubicBezTo>
                    <a:pt x="4141268" y="1040315"/>
                    <a:pt x="4141268" y="1044315"/>
                    <a:pt x="4141458" y="1048125"/>
                  </a:cubicBezTo>
                  <a:cubicBezTo>
                    <a:pt x="4145458" y="1109091"/>
                    <a:pt x="4147936" y="1170051"/>
                    <a:pt x="4154032" y="1230633"/>
                  </a:cubicBezTo>
                  <a:cubicBezTo>
                    <a:pt x="4156509" y="1255206"/>
                    <a:pt x="4167367" y="1278829"/>
                    <a:pt x="4174225" y="1303024"/>
                  </a:cubicBezTo>
                  <a:cubicBezTo>
                    <a:pt x="4175559" y="1307978"/>
                    <a:pt x="4177655" y="1313504"/>
                    <a:pt x="4176701" y="1318456"/>
                  </a:cubicBezTo>
                  <a:cubicBezTo>
                    <a:pt x="4167177" y="1372368"/>
                    <a:pt x="4181083" y="1422854"/>
                    <a:pt x="4199372" y="1472575"/>
                  </a:cubicBezTo>
                  <a:cubicBezTo>
                    <a:pt x="4201278" y="1477717"/>
                    <a:pt x="4200706" y="1484004"/>
                    <a:pt x="4200325" y="1489720"/>
                  </a:cubicBezTo>
                  <a:cubicBezTo>
                    <a:pt x="4198993" y="1505724"/>
                    <a:pt x="4192324" y="1523059"/>
                    <a:pt x="4196324" y="1537537"/>
                  </a:cubicBezTo>
                  <a:cubicBezTo>
                    <a:pt x="4207374" y="1576019"/>
                    <a:pt x="4220709" y="1614120"/>
                    <a:pt x="4237474" y="1650317"/>
                  </a:cubicBezTo>
                  <a:cubicBezTo>
                    <a:pt x="4254428" y="1687086"/>
                    <a:pt x="4268716" y="1721185"/>
                    <a:pt x="4251572" y="1763287"/>
                  </a:cubicBezTo>
                  <a:cubicBezTo>
                    <a:pt x="4244332" y="1781194"/>
                    <a:pt x="4249476" y="1804816"/>
                    <a:pt x="4251380" y="1825393"/>
                  </a:cubicBezTo>
                  <a:cubicBezTo>
                    <a:pt x="4252904" y="1840441"/>
                    <a:pt x="4261478" y="1854920"/>
                    <a:pt x="4261478" y="1869780"/>
                  </a:cubicBezTo>
                  <a:cubicBezTo>
                    <a:pt x="4261478" y="1909408"/>
                    <a:pt x="4271574" y="1944649"/>
                    <a:pt x="4292149" y="1978940"/>
                  </a:cubicBezTo>
                  <a:cubicBezTo>
                    <a:pt x="4300150" y="1992279"/>
                    <a:pt x="4294815" y="2013043"/>
                    <a:pt x="4296911" y="2030378"/>
                  </a:cubicBezTo>
                  <a:cubicBezTo>
                    <a:pt x="4299388" y="2048668"/>
                    <a:pt x="4301673" y="2067525"/>
                    <a:pt x="4307201" y="2085054"/>
                  </a:cubicBezTo>
                  <a:cubicBezTo>
                    <a:pt x="4321679" y="2130393"/>
                    <a:pt x="4338062" y="2175163"/>
                    <a:pt x="4353302" y="2220312"/>
                  </a:cubicBezTo>
                  <a:cubicBezTo>
                    <a:pt x="4365877" y="2257459"/>
                    <a:pt x="4355970" y="2294039"/>
                    <a:pt x="4350636" y="2330806"/>
                  </a:cubicBezTo>
                  <a:cubicBezTo>
                    <a:pt x="4347205" y="2353859"/>
                    <a:pt x="4339013" y="2375383"/>
                    <a:pt x="4351206" y="2401292"/>
                  </a:cubicBezTo>
                  <a:cubicBezTo>
                    <a:pt x="4362828" y="2426059"/>
                    <a:pt x="4360160" y="2457492"/>
                    <a:pt x="4366446" y="2485307"/>
                  </a:cubicBezTo>
                  <a:cubicBezTo>
                    <a:pt x="4371781" y="2508742"/>
                    <a:pt x="4380354" y="2531409"/>
                    <a:pt x="4388736" y="2554079"/>
                  </a:cubicBezTo>
                  <a:cubicBezTo>
                    <a:pt x="4400168" y="2584942"/>
                    <a:pt x="4412167" y="2615421"/>
                    <a:pt x="4406453" y="2649143"/>
                  </a:cubicBezTo>
                  <a:cubicBezTo>
                    <a:pt x="4399976" y="2687436"/>
                    <a:pt x="4424359" y="2713723"/>
                    <a:pt x="4440554" y="2743826"/>
                  </a:cubicBezTo>
                  <a:cubicBezTo>
                    <a:pt x="4451603" y="2764590"/>
                    <a:pt x="4459795" y="2787259"/>
                    <a:pt x="4466653" y="2809930"/>
                  </a:cubicBezTo>
                  <a:cubicBezTo>
                    <a:pt x="4475607" y="2840219"/>
                    <a:pt x="4480941" y="2871462"/>
                    <a:pt x="4489705" y="2901943"/>
                  </a:cubicBezTo>
                  <a:cubicBezTo>
                    <a:pt x="4502848" y="2948047"/>
                    <a:pt x="4513137" y="2994722"/>
                    <a:pt x="4505897" y="3042728"/>
                  </a:cubicBezTo>
                  <a:cubicBezTo>
                    <a:pt x="4502659" y="3064827"/>
                    <a:pt x="4502848" y="3085403"/>
                    <a:pt x="4507613" y="3107500"/>
                  </a:cubicBezTo>
                  <a:cubicBezTo>
                    <a:pt x="4515422" y="3143695"/>
                    <a:pt x="4516376" y="3180844"/>
                    <a:pt x="4545521" y="3209993"/>
                  </a:cubicBezTo>
                  <a:cubicBezTo>
                    <a:pt x="4555811" y="3220280"/>
                    <a:pt x="4558477" y="3238758"/>
                    <a:pt x="4563811" y="3253809"/>
                  </a:cubicBezTo>
                  <a:cubicBezTo>
                    <a:pt x="4570099" y="3271145"/>
                    <a:pt x="4566858" y="3283908"/>
                    <a:pt x="4548570" y="3293244"/>
                  </a:cubicBezTo>
                  <a:cubicBezTo>
                    <a:pt x="4540379" y="3297434"/>
                    <a:pt x="4532378" y="3309437"/>
                    <a:pt x="4531043" y="3318771"/>
                  </a:cubicBezTo>
                  <a:cubicBezTo>
                    <a:pt x="4527043" y="3346776"/>
                    <a:pt x="4532950" y="3372495"/>
                    <a:pt x="4545904" y="3399546"/>
                  </a:cubicBezTo>
                  <a:cubicBezTo>
                    <a:pt x="4558096" y="3424883"/>
                    <a:pt x="4556762" y="3456508"/>
                    <a:pt x="4561524" y="3485275"/>
                  </a:cubicBezTo>
                  <a:cubicBezTo>
                    <a:pt x="4564954" y="3505657"/>
                    <a:pt x="4572002" y="3526042"/>
                    <a:pt x="4572002" y="3546617"/>
                  </a:cubicBezTo>
                  <a:cubicBezTo>
                    <a:pt x="4572002" y="3572146"/>
                    <a:pt x="4565907" y="3597482"/>
                    <a:pt x="4563620" y="3623201"/>
                  </a:cubicBezTo>
                  <a:cubicBezTo>
                    <a:pt x="4561716" y="3643204"/>
                    <a:pt x="4562478" y="3663589"/>
                    <a:pt x="4560192" y="3683591"/>
                  </a:cubicBezTo>
                  <a:cubicBezTo>
                    <a:pt x="4558477" y="3699976"/>
                    <a:pt x="4554096" y="3716168"/>
                    <a:pt x="4550476" y="3732361"/>
                  </a:cubicBezTo>
                  <a:cubicBezTo>
                    <a:pt x="4549142" y="3738267"/>
                    <a:pt x="4543998" y="3744173"/>
                    <a:pt x="4544759" y="3749506"/>
                  </a:cubicBezTo>
                  <a:cubicBezTo>
                    <a:pt x="4552953" y="3802467"/>
                    <a:pt x="4516376" y="3840569"/>
                    <a:pt x="4500182" y="3885338"/>
                  </a:cubicBezTo>
                  <a:cubicBezTo>
                    <a:pt x="4483035" y="3932394"/>
                    <a:pt x="4456748" y="3977925"/>
                    <a:pt x="4464557" y="4030503"/>
                  </a:cubicBezTo>
                  <a:cubicBezTo>
                    <a:pt x="4469319" y="4062318"/>
                    <a:pt x="4480369" y="4092989"/>
                    <a:pt x="4487039" y="4124614"/>
                  </a:cubicBezTo>
                  <a:cubicBezTo>
                    <a:pt x="4489324" y="4135854"/>
                    <a:pt x="4488943" y="4148427"/>
                    <a:pt x="4486656" y="4159667"/>
                  </a:cubicBezTo>
                  <a:cubicBezTo>
                    <a:pt x="4476177" y="4213961"/>
                    <a:pt x="4474653" y="4267493"/>
                    <a:pt x="4491801" y="4320837"/>
                  </a:cubicBezTo>
                  <a:cubicBezTo>
                    <a:pt x="4494659" y="4329979"/>
                    <a:pt x="4497325" y="4339695"/>
                    <a:pt x="4497325" y="4349222"/>
                  </a:cubicBezTo>
                  <a:cubicBezTo>
                    <a:pt x="4497325" y="4401419"/>
                    <a:pt x="4493324" y="4452665"/>
                    <a:pt x="4474653" y="4502579"/>
                  </a:cubicBezTo>
                  <a:cubicBezTo>
                    <a:pt x="4468368" y="4519343"/>
                    <a:pt x="4472368" y="4539728"/>
                    <a:pt x="4470844" y="4558207"/>
                  </a:cubicBezTo>
                  <a:cubicBezTo>
                    <a:pt x="4469511" y="4575351"/>
                    <a:pt x="4468940" y="4592878"/>
                    <a:pt x="4464557" y="4609452"/>
                  </a:cubicBezTo>
                  <a:cubicBezTo>
                    <a:pt x="4458082" y="4633647"/>
                    <a:pt x="4457320" y="4656126"/>
                    <a:pt x="4463033" y="4681083"/>
                  </a:cubicBezTo>
                  <a:cubicBezTo>
                    <a:pt x="4468368" y="4704895"/>
                    <a:pt x="4465702" y="4730614"/>
                    <a:pt x="4465891" y="4755381"/>
                  </a:cubicBezTo>
                  <a:cubicBezTo>
                    <a:pt x="4466082" y="4783004"/>
                    <a:pt x="4466272" y="4810627"/>
                    <a:pt x="4465319" y="4838250"/>
                  </a:cubicBezTo>
                  <a:cubicBezTo>
                    <a:pt x="4464940" y="4849300"/>
                    <a:pt x="4457320" y="4861873"/>
                    <a:pt x="4460367" y="4871019"/>
                  </a:cubicBezTo>
                  <a:cubicBezTo>
                    <a:pt x="4470653" y="4900546"/>
                    <a:pt x="4458271" y="4930075"/>
                    <a:pt x="4463795" y="4959602"/>
                  </a:cubicBezTo>
                  <a:cubicBezTo>
                    <a:pt x="4466653" y="4974082"/>
                    <a:pt x="4458844" y="4990465"/>
                    <a:pt x="4458082" y="5006086"/>
                  </a:cubicBezTo>
                  <a:cubicBezTo>
                    <a:pt x="4456748" y="5031614"/>
                    <a:pt x="4457320" y="5057141"/>
                    <a:pt x="4456937" y="5082670"/>
                  </a:cubicBezTo>
                  <a:cubicBezTo>
                    <a:pt x="4456748" y="5091052"/>
                    <a:pt x="4455986" y="5099245"/>
                    <a:pt x="4455603" y="5107627"/>
                  </a:cubicBezTo>
                  <a:cubicBezTo>
                    <a:pt x="4455223" y="5115057"/>
                    <a:pt x="4453508" y="5122867"/>
                    <a:pt x="4454840" y="5129916"/>
                  </a:cubicBezTo>
                  <a:cubicBezTo>
                    <a:pt x="4459605" y="5155445"/>
                    <a:pt x="4467415" y="5180591"/>
                    <a:pt x="4470464" y="5206308"/>
                  </a:cubicBezTo>
                  <a:cubicBezTo>
                    <a:pt x="4473130" y="5228597"/>
                    <a:pt x="4469511" y="5251650"/>
                    <a:pt x="4471415" y="5274129"/>
                  </a:cubicBezTo>
                  <a:cubicBezTo>
                    <a:pt x="4474653" y="5313754"/>
                    <a:pt x="4480369" y="5353379"/>
                    <a:pt x="4483990" y="5393005"/>
                  </a:cubicBezTo>
                  <a:cubicBezTo>
                    <a:pt x="4484752" y="5401579"/>
                    <a:pt x="4479988" y="5410531"/>
                    <a:pt x="4479607" y="5419295"/>
                  </a:cubicBezTo>
                  <a:cubicBezTo>
                    <a:pt x="4478656" y="5446728"/>
                    <a:pt x="4478464" y="5474161"/>
                    <a:pt x="4477894" y="5501594"/>
                  </a:cubicBezTo>
                  <a:cubicBezTo>
                    <a:pt x="4477702" y="5517215"/>
                    <a:pt x="4478273" y="5533027"/>
                    <a:pt x="4476560" y="5548460"/>
                  </a:cubicBezTo>
                  <a:cubicBezTo>
                    <a:pt x="4474273" y="5568842"/>
                    <a:pt x="4470844" y="5587321"/>
                    <a:pt x="4485703" y="5606372"/>
                  </a:cubicBezTo>
                  <a:cubicBezTo>
                    <a:pt x="4508755" y="5635711"/>
                    <a:pt x="4499801" y="5673050"/>
                    <a:pt x="4505134" y="5706959"/>
                  </a:cubicBezTo>
                  <a:cubicBezTo>
                    <a:pt x="4506468" y="5715723"/>
                    <a:pt x="4506659" y="5724678"/>
                    <a:pt x="4508183" y="5733440"/>
                  </a:cubicBezTo>
                  <a:cubicBezTo>
                    <a:pt x="4511041" y="5749634"/>
                    <a:pt x="4514279" y="5765635"/>
                    <a:pt x="4517519" y="5781830"/>
                  </a:cubicBezTo>
                  <a:cubicBezTo>
                    <a:pt x="4518089" y="5784686"/>
                    <a:pt x="4518281" y="5787924"/>
                    <a:pt x="4519234" y="5790592"/>
                  </a:cubicBezTo>
                  <a:cubicBezTo>
                    <a:pt x="4527233" y="5815169"/>
                    <a:pt x="4536378" y="5839361"/>
                    <a:pt x="4542855" y="5864318"/>
                  </a:cubicBezTo>
                  <a:cubicBezTo>
                    <a:pt x="4546095" y="5876511"/>
                    <a:pt x="4546476" y="5890037"/>
                    <a:pt x="4544759" y="5902610"/>
                  </a:cubicBezTo>
                  <a:cubicBezTo>
                    <a:pt x="4539808" y="5939377"/>
                    <a:pt x="4537712" y="5975764"/>
                    <a:pt x="4544951" y="6012723"/>
                  </a:cubicBezTo>
                  <a:cubicBezTo>
                    <a:pt x="4547808" y="6027392"/>
                    <a:pt x="4543045" y="6043776"/>
                    <a:pt x="4541332" y="6059397"/>
                  </a:cubicBezTo>
                  <a:cubicBezTo>
                    <a:pt x="4536759" y="6096736"/>
                    <a:pt x="4531805" y="6134075"/>
                    <a:pt x="4527426" y="6171605"/>
                  </a:cubicBezTo>
                  <a:cubicBezTo>
                    <a:pt x="4524758" y="6195037"/>
                    <a:pt x="4523234" y="6218660"/>
                    <a:pt x="4520568" y="6242093"/>
                  </a:cubicBezTo>
                  <a:cubicBezTo>
                    <a:pt x="4517327" y="6269144"/>
                    <a:pt x="4512375" y="6296005"/>
                    <a:pt x="4509706" y="6323058"/>
                  </a:cubicBezTo>
                  <a:cubicBezTo>
                    <a:pt x="4506659" y="6353919"/>
                    <a:pt x="4506089" y="6384972"/>
                    <a:pt x="4502848" y="6415833"/>
                  </a:cubicBezTo>
                  <a:cubicBezTo>
                    <a:pt x="4496563" y="6472225"/>
                    <a:pt x="4489132" y="6528424"/>
                    <a:pt x="4482084" y="6584812"/>
                  </a:cubicBezTo>
                  <a:cubicBezTo>
                    <a:pt x="4475226" y="6639488"/>
                    <a:pt x="4469129" y="6694164"/>
                    <a:pt x="4460557" y="6748458"/>
                  </a:cubicBezTo>
                  <a:cubicBezTo>
                    <a:pt x="4456937" y="6771319"/>
                    <a:pt x="4447030" y="6793035"/>
                    <a:pt x="4441507" y="6815516"/>
                  </a:cubicBezTo>
                  <a:lnTo>
                    <a:pt x="4431806" y="6858001"/>
                  </a:lnTo>
                  <a:lnTo>
                    <a:pt x="4259554" y="6858001"/>
                  </a:lnTo>
                  <a:lnTo>
                    <a:pt x="4259554" y="6858002"/>
                  </a:lnTo>
                  <a:lnTo>
                    <a:pt x="0" y="6858002"/>
                  </a:lnTo>
                  <a:lnTo>
                    <a:pt x="0" y="2"/>
                  </a:lnTo>
                  <a:lnTo>
                    <a:pt x="3766492" y="1"/>
                  </a:lnTo>
                  <a:lnTo>
                    <a:pt x="3769210" y="21486"/>
                  </a:lnTo>
                  <a:close/>
                </a:path>
              </a:pathLst>
            </a:cu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30" name="Group 29">
              <a:extLst>
                <a:ext uri="{FF2B5EF4-FFF2-40B4-BE49-F238E27FC236}">
                  <a16:creationId xmlns:a16="http://schemas.microsoft.com/office/drawing/2014/main" id="{1BCD9601-1F44-4E40-998C-1B256DAE9464}"/>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697284" y="-1"/>
              <a:ext cx="884241" cy="6858002"/>
              <a:chOff x="3697284" y="-1"/>
              <a:chExt cx="884241" cy="6858002"/>
            </a:xfrm>
          </p:grpSpPr>
          <p:grpSp>
            <p:nvGrpSpPr>
              <p:cNvPr id="31" name="Group 30">
                <a:extLst>
                  <a:ext uri="{FF2B5EF4-FFF2-40B4-BE49-F238E27FC236}">
                    <a16:creationId xmlns:a16="http://schemas.microsoft.com/office/drawing/2014/main" id="{1A1CA4E9-12FA-47EB-8471-25E8D55152C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697284" y="-1"/>
                <a:ext cx="884241" cy="6858001"/>
                <a:chOff x="3697284" y="-1"/>
                <a:chExt cx="884241" cy="6858001"/>
              </a:xfrm>
              <a:solidFill>
                <a:srgbClr val="FFFFFF"/>
              </a:solidFill>
              <a:effectLst/>
            </p:grpSpPr>
            <p:sp>
              <p:nvSpPr>
                <p:cNvPr id="35" name="Freeform: Shape 34">
                  <a:extLst>
                    <a:ext uri="{FF2B5EF4-FFF2-40B4-BE49-F238E27FC236}">
                      <a16:creationId xmlns:a16="http://schemas.microsoft.com/office/drawing/2014/main" id="{E13A9BF0-334C-4457-A635-9CA4877EAAF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05641"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6" name="Freeform: Shape 35">
                  <a:extLst>
                    <a:ext uri="{FF2B5EF4-FFF2-40B4-BE49-F238E27FC236}">
                      <a16:creationId xmlns:a16="http://schemas.microsoft.com/office/drawing/2014/main" id="{FF05821A-8598-44E4-A18C-538D5331E45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15166"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nvGrpSpPr>
              <p:cNvPr id="32" name="Group 31">
                <a:extLst>
                  <a:ext uri="{FF2B5EF4-FFF2-40B4-BE49-F238E27FC236}">
                    <a16:creationId xmlns:a16="http://schemas.microsoft.com/office/drawing/2014/main" id="{8A4ECC81-E17F-4F87-9A0B-398363A864A4}"/>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697284" y="0"/>
                <a:ext cx="884241" cy="6858001"/>
                <a:chOff x="3697284" y="-1"/>
                <a:chExt cx="884241" cy="6858001"/>
              </a:xfrm>
              <a:blipFill>
                <a:blip r:embed="rId4">
                  <a:alphaModFix amt="57000"/>
                </a:blip>
                <a:tile tx="0" ty="0" sx="100000" sy="100000" flip="none" algn="tl"/>
              </a:blipFill>
              <a:effectLst/>
            </p:grpSpPr>
            <p:sp>
              <p:nvSpPr>
                <p:cNvPr id="33" name="Freeform: Shape 32">
                  <a:extLst>
                    <a:ext uri="{FF2B5EF4-FFF2-40B4-BE49-F238E27FC236}">
                      <a16:creationId xmlns:a16="http://schemas.microsoft.com/office/drawing/2014/main" id="{1FBBD7D8-A895-40D0-A53D-DEDF495B2F1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05641"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4" name="Freeform: Shape 33">
                  <a:extLst>
                    <a:ext uri="{FF2B5EF4-FFF2-40B4-BE49-F238E27FC236}">
                      <a16:creationId xmlns:a16="http://schemas.microsoft.com/office/drawing/2014/main" id="{BA602493-BC70-48CF-BDBA-88A86622742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15166"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grpSp>
      <p:sp>
        <p:nvSpPr>
          <p:cNvPr id="3" name="Tekstfelt 2">
            <a:extLst>
              <a:ext uri="{FF2B5EF4-FFF2-40B4-BE49-F238E27FC236}">
                <a16:creationId xmlns:a16="http://schemas.microsoft.com/office/drawing/2014/main" id="{0F59B3ED-31EF-A9E0-B494-9FBD7D2CF268}"/>
              </a:ext>
            </a:extLst>
          </p:cNvPr>
          <p:cNvSpPr txBox="1"/>
          <p:nvPr/>
        </p:nvSpPr>
        <p:spPr>
          <a:xfrm>
            <a:off x="232439" y="1022342"/>
            <a:ext cx="3232404" cy="233910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prstClr val="white"/>
                </a:solidFill>
                <a:effectLst/>
                <a:uLnTx/>
                <a:uFillTx/>
                <a:latin typeface="Aptos" panose="02110004020202020204"/>
                <a:ea typeface="Calibri" panose="020F0502020204030204" pitchFamily="34" charset="0"/>
                <a:cs typeface="+mn-cs"/>
              </a:rPr>
              <a:t>Kalender 2026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prstClr val="white"/>
                </a:solidFill>
                <a:effectLst/>
                <a:uLnTx/>
                <a:uFillTx/>
                <a:latin typeface="Aptos" panose="02110004020202020204"/>
                <a:ea typeface="Calibri" panose="020F0502020204030204" pitchFamily="34" charset="0"/>
                <a:cs typeface="+mn-cs"/>
              </a:rPr>
              <a:t>er komm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Aptos" panose="02110004020202020204"/>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Aptos" panose="02110004020202020204"/>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prstClr val="white"/>
                </a:solidFill>
                <a:effectLst/>
                <a:uLnTx/>
                <a:uFillTx/>
                <a:latin typeface="Aptos" panose="02110004020202020204"/>
                <a:ea typeface="Calibri" panose="020F0502020204030204" pitchFamily="34" charset="0"/>
                <a:cs typeface="+mn-cs"/>
              </a:rPr>
              <a:t>Store vægkalendere og små i A4-format ligger klar i trykkeriet i stueetagen i LFS</a:t>
            </a:r>
            <a:endParaRPr kumimoji="0" lang="da-DK"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Billede 3" descr="Et billede, der indeholder tekst, Font/skrifttype, skærmbillede, Grafik&#10;&#10;Automatisk genereret beskrivelse">
            <a:extLst>
              <a:ext uri="{FF2B5EF4-FFF2-40B4-BE49-F238E27FC236}">
                <a16:creationId xmlns:a16="http://schemas.microsoft.com/office/drawing/2014/main" id="{53EC44F4-60F4-C198-0D81-4E129A1BE2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324" y="5555606"/>
            <a:ext cx="3451487" cy="1082319"/>
          </a:xfrm>
          <a:prstGeom prst="rect">
            <a:avLst/>
          </a:prstGeom>
        </p:spPr>
      </p:pic>
    </p:spTree>
    <p:extLst>
      <p:ext uri="{BB962C8B-B14F-4D97-AF65-F5344CB8AC3E}">
        <p14:creationId xmlns:p14="http://schemas.microsoft.com/office/powerpoint/2010/main" val="1720833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FE842C8-A2AD-868D-C0E7-7070DEE63B07}"/>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58D9CEF4-4658-BF2B-A3E0-F61CA7215A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59E24FF2-DC6B-9BA2-E12B-22E15C4EB0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761E3823-3D54-E034-0BBB-8149FE2FD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715DACD1-CE7E-D662-DF37-A8BAC9ADB7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53AE647B-E2F6-3029-CC5C-C2C2CBBFC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8DF089A6-626D-484E-DF21-CAF6F6793E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BAEFCE30-3735-EC22-B333-FBA2F2864556}"/>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D4754DB8-2A24-D154-8BB0-85ADB8099E03}"/>
              </a:ext>
            </a:extLst>
          </p:cNvPr>
          <p:cNvSpPr>
            <a:spLocks noGrp="1"/>
          </p:cNvSpPr>
          <p:nvPr>
            <p:ph idx="1"/>
          </p:nvPr>
        </p:nvSpPr>
        <p:spPr>
          <a:xfrm>
            <a:off x="1367624" y="2490436"/>
            <a:ext cx="9708995" cy="3567173"/>
          </a:xfrm>
        </p:spPr>
        <p:txBody>
          <a:bodyPr anchor="ctr">
            <a:normAutofit/>
          </a:bodyPr>
          <a:lstStyle/>
          <a:p>
            <a:pPr marL="0" indent="0">
              <a:buNone/>
            </a:pPr>
            <a:endParaRPr lang="da-DK" sz="2200" dirty="0"/>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Status OK 26 v Kirsten Løth</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Ferie regl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9317353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7"/>
            <a:ext cx="12192001" cy="6858000"/>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5521" y="-1720"/>
            <a:ext cx="11750040" cy="6840685"/>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6054" y="-1291"/>
            <a:ext cx="3608179" cy="6858864"/>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6059728" y="779270"/>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D2F2EBF9-CB3D-812F-AFB1-24FED8871102}"/>
              </a:ext>
            </a:extLst>
          </p:cNvPr>
          <p:cNvSpPr>
            <a:spLocks noGrp="1"/>
          </p:cNvSpPr>
          <p:nvPr>
            <p:ph type="ctrTitle"/>
          </p:nvPr>
        </p:nvSpPr>
        <p:spPr>
          <a:xfrm>
            <a:off x="1386865" y="818984"/>
            <a:ext cx="6596245" cy="3268520"/>
          </a:xfrm>
        </p:spPr>
        <p:txBody>
          <a:bodyPr>
            <a:normAutofit/>
          </a:bodyPr>
          <a:lstStyle/>
          <a:p>
            <a:pPr algn="r"/>
            <a:r>
              <a:rPr lang="da-DK" sz="4800" b="1">
                <a:solidFill>
                  <a:srgbClr val="FFFFFF"/>
                </a:solidFill>
                <a:effectLst/>
                <a:latin typeface="Calibri" panose="020F0502020204030204" pitchFamily="34" charset="0"/>
                <a:ea typeface="Calibri" panose="020F0502020204030204" pitchFamily="34" charset="0"/>
              </a:rPr>
              <a:t>medlemsmøde: Unge under 30 år og LFS</a:t>
            </a:r>
            <a:endParaRPr lang="da-DK" sz="4800">
              <a:solidFill>
                <a:srgbClr val="FFFFFF"/>
              </a:solidFill>
            </a:endParaRPr>
          </a:p>
        </p:txBody>
      </p:sp>
      <p:sp>
        <p:nvSpPr>
          <p:cNvPr id="18" name="Rectangle 17">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314" y="4480038"/>
            <a:ext cx="12179371" cy="237796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Undertitel 2">
            <a:extLst>
              <a:ext uri="{FF2B5EF4-FFF2-40B4-BE49-F238E27FC236}">
                <a16:creationId xmlns:a16="http://schemas.microsoft.com/office/drawing/2014/main" id="{CFAABF3D-A034-3C3A-0BF4-0A6959C6FFE1}"/>
              </a:ext>
            </a:extLst>
          </p:cNvPr>
          <p:cNvSpPr>
            <a:spLocks noGrp="1"/>
          </p:cNvSpPr>
          <p:nvPr>
            <p:ph type="subTitle" idx="1"/>
          </p:nvPr>
        </p:nvSpPr>
        <p:spPr>
          <a:xfrm>
            <a:off x="1931874" y="4797188"/>
            <a:ext cx="6051236" cy="1241828"/>
          </a:xfrm>
        </p:spPr>
        <p:txBody>
          <a:bodyPr>
            <a:normAutofit/>
          </a:bodyPr>
          <a:lstStyle/>
          <a:p>
            <a:pPr algn="r"/>
            <a:r>
              <a:rPr lang="da-DK" sz="2000" dirty="0">
                <a:solidFill>
                  <a:srgbClr val="FFFFFF"/>
                </a:solidFill>
              </a:rPr>
              <a:t>Den 18.3.26 kl. 17.00</a:t>
            </a:r>
          </a:p>
          <a:p>
            <a:pPr algn="r"/>
            <a:endParaRPr lang="da-DK" sz="2000" dirty="0">
              <a:solidFill>
                <a:srgbClr val="FFFFFF"/>
              </a:solidFill>
            </a:endParaRPr>
          </a:p>
          <a:p>
            <a:pPr algn="r"/>
            <a:r>
              <a:rPr lang="da-DK" sz="2000" dirty="0">
                <a:solidFill>
                  <a:srgbClr val="FFFFFF"/>
                </a:solidFill>
              </a:rPr>
              <a:t>Alle medlemmer under 30 år vil få en invitation</a:t>
            </a:r>
          </a:p>
        </p:txBody>
      </p:sp>
      <p:sp>
        <p:nvSpPr>
          <p:cNvPr id="20" name="Rectangle 19">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6967085" y="1632660"/>
            <a:ext cx="6857572" cy="3592258"/>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33607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0" name="Rectangle 28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Billede 3" descr="Et billede, der indeholder tekst, linje/række, Font/skrifttype, diagram&#10;&#10;AI-genereret indhold kan være ukorrekt.">
            <a:extLst>
              <a:ext uri="{FF2B5EF4-FFF2-40B4-BE49-F238E27FC236}">
                <a16:creationId xmlns:a16="http://schemas.microsoft.com/office/drawing/2014/main" id="{3E368312-70E3-3D59-E570-3F900A2A2C85}"/>
              </a:ext>
            </a:extLst>
          </p:cNvPr>
          <p:cNvPicPr>
            <a:picLocks noChangeAspect="1"/>
          </p:cNvPicPr>
          <p:nvPr/>
        </p:nvPicPr>
        <p:blipFill>
          <a:blip r:embed="rId3">
            <a:extLst>
              <a:ext uri="{28A0092B-C50C-407E-A947-70E740481C1C}">
                <a14:useLocalDpi xmlns:a14="http://schemas.microsoft.com/office/drawing/2010/main" val="0"/>
              </a:ext>
            </a:extLst>
          </a:blip>
          <a:srcRect t="1831" b="13915"/>
          <a:stretch>
            <a:fillRect/>
          </a:stretch>
        </p:blipFill>
        <p:spPr>
          <a:xfrm>
            <a:off x="20" y="1282"/>
            <a:ext cx="12191980" cy="6856718"/>
          </a:xfrm>
          <a:prstGeom prst="rect">
            <a:avLst/>
          </a:prstGeom>
        </p:spPr>
      </p:pic>
    </p:spTree>
    <p:extLst>
      <p:ext uri="{BB962C8B-B14F-4D97-AF65-F5344CB8AC3E}">
        <p14:creationId xmlns:p14="http://schemas.microsoft.com/office/powerpoint/2010/main" val="218269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2D89423-98C1-F003-FF7C-5F8E9874166D}"/>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D17F43A0-AFD3-6446-4464-B280CFFCE2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08962478-7981-76B8-4F5E-21C7621EB6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57FD3568-6F62-5A15-F8B7-51E4B8EA72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6D07015-6EA9-8DA4-3D71-C337C8C581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80A08AE2-39B8-7D87-ACA3-BEFEB6FED3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6A431BB1-2342-9991-B61B-091DE5C426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F0C0D7BC-53DE-B91E-E30E-4F4A3938A86C}"/>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336544B4-33B3-683B-8B0A-5205EFC2073E}"/>
              </a:ext>
            </a:extLst>
          </p:cNvPr>
          <p:cNvSpPr>
            <a:spLocks noGrp="1"/>
          </p:cNvSpPr>
          <p:nvPr>
            <p:ph idx="1"/>
          </p:nvPr>
        </p:nvSpPr>
        <p:spPr>
          <a:xfrm>
            <a:off x="1367624" y="2490436"/>
            <a:ext cx="9708995" cy="3567173"/>
          </a:xfrm>
        </p:spPr>
        <p:txBody>
          <a:bodyPr anchor="ctr">
            <a:normAutofit/>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Status OK 26 v Kirsten Løth</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Ferie regl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Evt. </a:t>
            </a:r>
            <a:endParaRPr lang="da-DK" sz="1800" b="1"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12663892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C0E97D23-F9CA-46C0-A4FE-5D65019966FE}"/>
              </a:ext>
            </a:extLst>
          </p:cNvPr>
          <p:cNvSpPr>
            <a:spLocks noGrp="1"/>
          </p:cNvSpPr>
          <p:nvPr>
            <p:ph type="ctrTitle"/>
          </p:nvPr>
        </p:nvSpPr>
        <p:spPr>
          <a:xfrm>
            <a:off x="3045368" y="2043663"/>
            <a:ext cx="6105194" cy="2031055"/>
          </a:xfrm>
        </p:spPr>
        <p:txBody>
          <a:bodyPr>
            <a:normAutofit/>
          </a:bodyPr>
          <a:lstStyle/>
          <a:p>
            <a:r>
              <a:rPr lang="da-DK" dirty="0">
                <a:solidFill>
                  <a:srgbClr val="FFFFFF"/>
                </a:solidFill>
              </a:rPr>
              <a:t>Tak for i dag</a:t>
            </a:r>
            <a:br>
              <a:rPr lang="da-DK" dirty="0">
                <a:solidFill>
                  <a:srgbClr val="FFFFFF"/>
                </a:solidFill>
              </a:rPr>
            </a:br>
            <a:endParaRPr lang="da-DK" dirty="0">
              <a:solidFill>
                <a:srgbClr val="FFFFFF"/>
              </a:solidFill>
            </a:endParaRPr>
          </a:p>
        </p:txBody>
      </p:sp>
      <p:sp>
        <p:nvSpPr>
          <p:cNvPr id="3" name="Undertitel 2">
            <a:extLst>
              <a:ext uri="{FF2B5EF4-FFF2-40B4-BE49-F238E27FC236}">
                <a16:creationId xmlns:a16="http://schemas.microsoft.com/office/drawing/2014/main" id="{6C6918AB-15E2-4003-B44F-568352B03D17}"/>
              </a:ext>
            </a:extLst>
          </p:cNvPr>
          <p:cNvSpPr>
            <a:spLocks noGrp="1"/>
          </p:cNvSpPr>
          <p:nvPr>
            <p:ph type="subTitle" idx="1"/>
          </p:nvPr>
        </p:nvSpPr>
        <p:spPr>
          <a:xfrm>
            <a:off x="3045368" y="4074718"/>
            <a:ext cx="6105194" cy="682079"/>
          </a:xfrm>
        </p:spPr>
        <p:txBody>
          <a:bodyPr>
            <a:normAutofit/>
          </a:bodyPr>
          <a:lstStyle/>
          <a:p>
            <a:r>
              <a:rPr lang="da-DK" dirty="0">
                <a:solidFill>
                  <a:srgbClr val="FFFFFF"/>
                </a:solidFill>
                <a:sym typeface="Wingdings" panose="05000000000000000000" pitchFamily="2" charset="2"/>
              </a:rPr>
              <a:t></a:t>
            </a:r>
            <a:endParaRPr lang="da-DK" dirty="0">
              <a:solidFill>
                <a:srgbClr val="FFFFFF"/>
              </a:solidFill>
            </a:endParaRPr>
          </a:p>
        </p:txBody>
      </p:sp>
    </p:spTree>
    <p:extLst>
      <p:ext uri="{BB962C8B-B14F-4D97-AF65-F5344CB8AC3E}">
        <p14:creationId xmlns:p14="http://schemas.microsoft.com/office/powerpoint/2010/main" val="1577678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B92FAF7-0AD3-4B47-9111-D0E9CD79E2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2" name="Group 11">
            <a:extLst>
              <a:ext uri="{FF2B5EF4-FFF2-40B4-BE49-F238E27FC236}">
                <a16:creationId xmlns:a16="http://schemas.microsoft.com/office/drawing/2014/main" id="{D6A77139-BADB-4B2C-BD41-B67A4D37D75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855526" y="2227167"/>
            <a:ext cx="4336168" cy="4630834"/>
            <a:chOff x="7855526" y="2145638"/>
            <a:chExt cx="4336168" cy="4630834"/>
          </a:xfr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p:grpSpPr>
        <p:sp useBgFill="1">
          <p:nvSpPr>
            <p:cNvPr id="13" name="Freeform: Shape 12">
              <a:extLst>
                <a:ext uri="{FF2B5EF4-FFF2-40B4-BE49-F238E27FC236}">
                  <a16:creationId xmlns:a16="http://schemas.microsoft.com/office/drawing/2014/main" id="{DAC7B25D-E1A6-459A-B45A-1912B0CD957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875903" y="2463723"/>
              <a:ext cx="4315791" cy="4312749"/>
            </a:xfrm>
            <a:custGeom>
              <a:avLst/>
              <a:gdLst>
                <a:gd name="connsiteX0" fmla="*/ 2987009 w 4315791"/>
                <a:gd name="connsiteY0" fmla="*/ 0 h 4312749"/>
                <a:gd name="connsiteX1" fmla="*/ 4136908 w 4315791"/>
                <a:gd name="connsiteY1" fmla="*/ 333995 h 4312749"/>
                <a:gd name="connsiteX2" fmla="*/ 4315791 w 4315791"/>
                <a:gd name="connsiteY2" fmla="*/ 445229 h 4312749"/>
                <a:gd name="connsiteX3" fmla="*/ 4315791 w 4315791"/>
                <a:gd name="connsiteY3" fmla="*/ 1208150 h 4312749"/>
                <a:gd name="connsiteX4" fmla="*/ 4145996 w 4315791"/>
                <a:gd name="connsiteY4" fmla="*/ 1085198 h 4312749"/>
                <a:gd name="connsiteX5" fmla="*/ 3631470 w 4315791"/>
                <a:gd name="connsiteY5" fmla="*/ 767158 h 4312749"/>
                <a:gd name="connsiteX6" fmla="*/ 2987009 w 4315791"/>
                <a:gd name="connsiteY6" fmla="*/ 611504 h 4312749"/>
                <a:gd name="connsiteX7" fmla="*/ 1985110 w 4315791"/>
                <a:gd name="connsiteY7" fmla="*/ 855943 h 4312749"/>
                <a:gd name="connsiteX8" fmla="*/ 1223061 w 4315791"/>
                <a:gd name="connsiteY8" fmla="*/ 1585590 h 4312749"/>
                <a:gd name="connsiteX9" fmla="*/ 1023311 w 4315791"/>
                <a:gd name="connsiteY9" fmla="*/ 1849089 h 4312749"/>
                <a:gd name="connsiteX10" fmla="*/ 652067 w 4315791"/>
                <a:gd name="connsiteY10" fmla="*/ 2610233 h 4312749"/>
                <a:gd name="connsiteX11" fmla="*/ 876921 w 4315791"/>
                <a:gd name="connsiteY11" fmla="*/ 3447930 h 4312749"/>
                <a:gd name="connsiteX12" fmla="*/ 1504428 w 4315791"/>
                <a:gd name="connsiteY12" fmla="*/ 4177169 h 4312749"/>
                <a:gd name="connsiteX13" fmla="*/ 1689053 w 4315791"/>
                <a:gd name="connsiteY13" fmla="*/ 4312749 h 4312749"/>
                <a:gd name="connsiteX14" fmla="*/ 729636 w 4315791"/>
                <a:gd name="connsiteY14" fmla="*/ 4312749 h 4312749"/>
                <a:gd name="connsiteX15" fmla="*/ 638463 w 4315791"/>
                <a:gd name="connsiteY15" fmla="*/ 4216521 h 4312749"/>
                <a:gd name="connsiteX16" fmla="*/ 0 w 4315791"/>
                <a:gd name="connsiteY16" fmla="*/ 2610335 h 4312749"/>
                <a:gd name="connsiteX17" fmla="*/ 683474 w 4315791"/>
                <a:gd name="connsiteY17" fmla="*/ 1242376 h 4312749"/>
                <a:gd name="connsiteX18" fmla="*/ 2987009 w 4315791"/>
                <a:gd name="connsiteY18" fmla="*/ 0 h 43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15791" h="4312749">
                  <a:moveTo>
                    <a:pt x="2987009" y="0"/>
                  </a:moveTo>
                  <a:cubicBezTo>
                    <a:pt x="3434423" y="0"/>
                    <a:pt x="3798884" y="137413"/>
                    <a:pt x="4136908" y="333995"/>
                  </a:cubicBezTo>
                  <a:lnTo>
                    <a:pt x="4315791" y="445229"/>
                  </a:lnTo>
                  <a:lnTo>
                    <a:pt x="4315791" y="1208150"/>
                  </a:lnTo>
                  <a:lnTo>
                    <a:pt x="4145996" y="1085198"/>
                  </a:lnTo>
                  <a:cubicBezTo>
                    <a:pt x="3968282" y="958859"/>
                    <a:pt x="3800518" y="848961"/>
                    <a:pt x="3631470" y="767158"/>
                  </a:cubicBezTo>
                  <a:cubicBezTo>
                    <a:pt x="3411941" y="660943"/>
                    <a:pt x="3207191" y="611504"/>
                    <a:pt x="2987009" y="611504"/>
                  </a:cubicBezTo>
                  <a:cubicBezTo>
                    <a:pt x="2599030" y="611504"/>
                    <a:pt x="2271258" y="691421"/>
                    <a:pt x="1985110" y="855943"/>
                  </a:cubicBezTo>
                  <a:cubicBezTo>
                    <a:pt x="1715153" y="1011087"/>
                    <a:pt x="1465955" y="1249819"/>
                    <a:pt x="1223061" y="1585590"/>
                  </a:cubicBezTo>
                  <a:cubicBezTo>
                    <a:pt x="1154375" y="1680490"/>
                    <a:pt x="1087756" y="1766217"/>
                    <a:pt x="1023311" y="1849089"/>
                  </a:cubicBezTo>
                  <a:cubicBezTo>
                    <a:pt x="765853" y="2180172"/>
                    <a:pt x="652067" y="2338069"/>
                    <a:pt x="652067" y="2610233"/>
                  </a:cubicBezTo>
                  <a:cubicBezTo>
                    <a:pt x="652067" y="2895038"/>
                    <a:pt x="727707" y="3176887"/>
                    <a:pt x="876921" y="3447930"/>
                  </a:cubicBezTo>
                  <a:cubicBezTo>
                    <a:pt x="1022224" y="3711838"/>
                    <a:pt x="1239145" y="3964023"/>
                    <a:pt x="1504428" y="4177169"/>
                  </a:cubicBezTo>
                  <a:lnTo>
                    <a:pt x="1689053" y="4312749"/>
                  </a:lnTo>
                  <a:lnTo>
                    <a:pt x="729636" y="4312749"/>
                  </a:lnTo>
                  <a:lnTo>
                    <a:pt x="638463" y="4216521"/>
                  </a:lnTo>
                  <a:cubicBezTo>
                    <a:pt x="243716" y="3758034"/>
                    <a:pt x="0" y="3205314"/>
                    <a:pt x="0" y="2610335"/>
                  </a:cubicBezTo>
                  <a:cubicBezTo>
                    <a:pt x="0" y="2015344"/>
                    <a:pt x="351790" y="1700877"/>
                    <a:pt x="683474" y="1242376"/>
                  </a:cubicBezTo>
                  <a:cubicBezTo>
                    <a:pt x="1236211" y="478174"/>
                    <a:pt x="1925445" y="0"/>
                    <a:pt x="298700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useBgFill="1">
          <p:nvSpPr>
            <p:cNvPr id="14" name="Freeform: Shape 13">
              <a:extLst>
                <a:ext uri="{FF2B5EF4-FFF2-40B4-BE49-F238E27FC236}">
                  <a16:creationId xmlns:a16="http://schemas.microsoft.com/office/drawing/2014/main" id="{920A7C7E-00F6-490C-A8E7-5167EA6A4B8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875903" y="2463723"/>
              <a:ext cx="4315791" cy="4312749"/>
            </a:xfrm>
            <a:custGeom>
              <a:avLst/>
              <a:gdLst>
                <a:gd name="connsiteX0" fmla="*/ 2987009 w 4315791"/>
                <a:gd name="connsiteY0" fmla="*/ 0 h 4312749"/>
                <a:gd name="connsiteX1" fmla="*/ 4136908 w 4315791"/>
                <a:gd name="connsiteY1" fmla="*/ 333995 h 4312749"/>
                <a:gd name="connsiteX2" fmla="*/ 4315791 w 4315791"/>
                <a:gd name="connsiteY2" fmla="*/ 445229 h 4312749"/>
                <a:gd name="connsiteX3" fmla="*/ 4315791 w 4315791"/>
                <a:gd name="connsiteY3" fmla="*/ 1079495 h 4312749"/>
                <a:gd name="connsiteX4" fmla="*/ 4206793 w 4315791"/>
                <a:gd name="connsiteY4" fmla="*/ 1000737 h 4312749"/>
                <a:gd name="connsiteX5" fmla="*/ 2987119 w 4315791"/>
                <a:gd name="connsiteY5" fmla="*/ 509571 h 4312749"/>
                <a:gd name="connsiteX6" fmla="*/ 1133184 w 4315791"/>
                <a:gd name="connsiteY6" fmla="*/ 1528405 h 4312749"/>
                <a:gd name="connsiteX7" fmla="*/ 935607 w 4315791"/>
                <a:gd name="connsiteY7" fmla="*/ 1789050 h 4312749"/>
                <a:gd name="connsiteX8" fmla="*/ 543498 w 4315791"/>
                <a:gd name="connsiteY8" fmla="*/ 2610233 h 4312749"/>
                <a:gd name="connsiteX9" fmla="*/ 780416 w 4315791"/>
                <a:gd name="connsiteY9" fmla="*/ 3494616 h 4312749"/>
                <a:gd name="connsiteX10" fmla="*/ 1433786 w 4315791"/>
                <a:gd name="connsiteY10" fmla="*/ 4254537 h 4312749"/>
                <a:gd name="connsiteX11" fmla="*/ 1513041 w 4315791"/>
                <a:gd name="connsiteY11" fmla="*/ 4312749 h 4312749"/>
                <a:gd name="connsiteX12" fmla="*/ 729636 w 4315791"/>
                <a:gd name="connsiteY12" fmla="*/ 4312749 h 4312749"/>
                <a:gd name="connsiteX13" fmla="*/ 638463 w 4315791"/>
                <a:gd name="connsiteY13" fmla="*/ 4216521 h 4312749"/>
                <a:gd name="connsiteX14" fmla="*/ 0 w 4315791"/>
                <a:gd name="connsiteY14" fmla="*/ 2610335 h 4312749"/>
                <a:gd name="connsiteX15" fmla="*/ 683474 w 4315791"/>
                <a:gd name="connsiteY15" fmla="*/ 1242376 h 4312749"/>
                <a:gd name="connsiteX16" fmla="*/ 2987009 w 4315791"/>
                <a:gd name="connsiteY16" fmla="*/ 0 h 43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791" h="4312749">
                  <a:moveTo>
                    <a:pt x="2987009" y="0"/>
                  </a:moveTo>
                  <a:cubicBezTo>
                    <a:pt x="3434423" y="0"/>
                    <a:pt x="3798884" y="137413"/>
                    <a:pt x="4136908" y="333995"/>
                  </a:cubicBezTo>
                  <a:lnTo>
                    <a:pt x="4315791" y="445229"/>
                  </a:lnTo>
                  <a:lnTo>
                    <a:pt x="4315791" y="1079495"/>
                  </a:lnTo>
                  <a:lnTo>
                    <a:pt x="4206793" y="1000737"/>
                  </a:lnTo>
                  <a:cubicBezTo>
                    <a:pt x="3781561" y="699607"/>
                    <a:pt x="3436718" y="509571"/>
                    <a:pt x="2987119" y="509571"/>
                  </a:cubicBezTo>
                  <a:cubicBezTo>
                    <a:pt x="2204204" y="509571"/>
                    <a:pt x="1649730" y="814251"/>
                    <a:pt x="1133184" y="1528405"/>
                  </a:cubicBezTo>
                  <a:cubicBezTo>
                    <a:pt x="1065585" y="1621878"/>
                    <a:pt x="999510" y="1706892"/>
                    <a:pt x="935607" y="1789050"/>
                  </a:cubicBezTo>
                  <a:cubicBezTo>
                    <a:pt x="670760" y="2129716"/>
                    <a:pt x="543498" y="2306877"/>
                    <a:pt x="543498" y="2610233"/>
                  </a:cubicBezTo>
                  <a:cubicBezTo>
                    <a:pt x="543498" y="2911449"/>
                    <a:pt x="623267" y="3208997"/>
                    <a:pt x="780416" y="3494616"/>
                  </a:cubicBezTo>
                  <a:cubicBezTo>
                    <a:pt x="934194" y="3774018"/>
                    <a:pt x="1154050" y="4029772"/>
                    <a:pt x="1433786" y="4254537"/>
                  </a:cubicBezTo>
                  <a:lnTo>
                    <a:pt x="1513041" y="4312749"/>
                  </a:lnTo>
                  <a:lnTo>
                    <a:pt x="729636" y="4312749"/>
                  </a:lnTo>
                  <a:lnTo>
                    <a:pt x="638463" y="4216521"/>
                  </a:lnTo>
                  <a:cubicBezTo>
                    <a:pt x="243716" y="3758034"/>
                    <a:pt x="0" y="3205314"/>
                    <a:pt x="0" y="2610335"/>
                  </a:cubicBezTo>
                  <a:cubicBezTo>
                    <a:pt x="0" y="2015344"/>
                    <a:pt x="351790" y="1700877"/>
                    <a:pt x="683474" y="1242376"/>
                  </a:cubicBezTo>
                  <a:cubicBezTo>
                    <a:pt x="1236211" y="478174"/>
                    <a:pt x="1925445" y="0"/>
                    <a:pt x="298700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useBgFill="1">
          <p:nvSpPr>
            <p:cNvPr id="15" name="Freeform: Shape 14">
              <a:extLst>
                <a:ext uri="{FF2B5EF4-FFF2-40B4-BE49-F238E27FC236}">
                  <a16:creationId xmlns:a16="http://schemas.microsoft.com/office/drawing/2014/main" id="{2E166FC5-8F23-41C3-879A-BFF8D5B7051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877037" y="2411531"/>
              <a:ext cx="4314657" cy="4364939"/>
            </a:xfrm>
            <a:custGeom>
              <a:avLst/>
              <a:gdLst>
                <a:gd name="connsiteX0" fmla="*/ 3028307 w 4314657"/>
                <a:gd name="connsiteY0" fmla="*/ 21 h 4364939"/>
                <a:gd name="connsiteX1" fmla="*/ 3066670 w 4314657"/>
                <a:gd name="connsiteY1" fmla="*/ 836 h 4364939"/>
                <a:gd name="connsiteX2" fmla="*/ 3220125 w 4314657"/>
                <a:gd name="connsiteY2" fmla="*/ 9909 h 4364939"/>
                <a:gd name="connsiteX3" fmla="*/ 3816113 w 4314657"/>
                <a:gd name="connsiteY3" fmla="*/ 150272 h 4364939"/>
                <a:gd name="connsiteX4" fmla="*/ 4089981 w 4314657"/>
                <a:gd name="connsiteY4" fmla="*/ 272287 h 4364939"/>
                <a:gd name="connsiteX5" fmla="*/ 4314657 w 4314657"/>
                <a:gd name="connsiteY5" fmla="*/ 398926 h 4364939"/>
                <a:gd name="connsiteX6" fmla="*/ 4314657 w 4314657"/>
                <a:gd name="connsiteY6" fmla="*/ 911199 h 4364939"/>
                <a:gd name="connsiteX7" fmla="*/ 4310597 w 4314657"/>
                <a:gd name="connsiteY7" fmla="*/ 908154 h 4364939"/>
                <a:gd name="connsiteX8" fmla="*/ 4203223 w 4314657"/>
                <a:gd name="connsiteY8" fmla="*/ 829562 h 4364939"/>
                <a:gd name="connsiteX9" fmla="*/ 4095850 w 4314657"/>
                <a:gd name="connsiteY9" fmla="*/ 753520 h 4364939"/>
                <a:gd name="connsiteX10" fmla="*/ 3652987 w 4314657"/>
                <a:gd name="connsiteY10" fmla="*/ 494811 h 4364939"/>
                <a:gd name="connsiteX11" fmla="*/ 3173610 w 4314657"/>
                <a:gd name="connsiteY11" fmla="*/ 347209 h 4364939"/>
                <a:gd name="connsiteX12" fmla="*/ 3047760 w 4314657"/>
                <a:gd name="connsiteY12" fmla="*/ 332632 h 4364939"/>
                <a:gd name="connsiteX13" fmla="*/ 3016027 w 4314657"/>
                <a:gd name="connsiteY13" fmla="*/ 330186 h 4364939"/>
                <a:gd name="connsiteX14" fmla="*/ 2984184 w 4314657"/>
                <a:gd name="connsiteY14" fmla="*/ 328658 h 4364939"/>
                <a:gd name="connsiteX15" fmla="*/ 2952233 w 4314657"/>
                <a:gd name="connsiteY15" fmla="*/ 327332 h 4364939"/>
                <a:gd name="connsiteX16" fmla="*/ 2919085 w 4314657"/>
                <a:gd name="connsiteY16" fmla="*/ 327026 h 4364939"/>
                <a:gd name="connsiteX17" fmla="*/ 2852901 w 4314657"/>
                <a:gd name="connsiteY17" fmla="*/ 326720 h 4364939"/>
                <a:gd name="connsiteX18" fmla="*/ 2786826 w 4314657"/>
                <a:gd name="connsiteY18" fmla="*/ 328148 h 4364939"/>
                <a:gd name="connsiteX19" fmla="*/ 2720965 w 4314657"/>
                <a:gd name="connsiteY19" fmla="*/ 331409 h 4364939"/>
                <a:gd name="connsiteX20" fmla="*/ 2655325 w 4314657"/>
                <a:gd name="connsiteY20" fmla="*/ 336098 h 4364939"/>
                <a:gd name="connsiteX21" fmla="*/ 2524803 w 4314657"/>
                <a:gd name="connsiteY21" fmla="*/ 350573 h 4364939"/>
                <a:gd name="connsiteX22" fmla="*/ 2460139 w 4314657"/>
                <a:gd name="connsiteY22" fmla="*/ 360664 h 4364939"/>
                <a:gd name="connsiteX23" fmla="*/ 2396019 w 4314657"/>
                <a:gd name="connsiteY23" fmla="*/ 372693 h 4364939"/>
                <a:gd name="connsiteX24" fmla="*/ 2145843 w 4314657"/>
                <a:gd name="connsiteY24" fmla="*/ 440989 h 4364939"/>
                <a:gd name="connsiteX25" fmla="*/ 1698635 w 4314657"/>
                <a:gd name="connsiteY25" fmla="*/ 682676 h 4364939"/>
                <a:gd name="connsiteX26" fmla="*/ 1498450 w 4314657"/>
                <a:gd name="connsiteY26" fmla="*/ 835474 h 4364939"/>
                <a:gd name="connsiteX27" fmla="*/ 1307285 w 4314657"/>
                <a:gd name="connsiteY27" fmla="*/ 1001220 h 4364939"/>
                <a:gd name="connsiteX28" fmla="*/ 947780 w 4314657"/>
                <a:gd name="connsiteY28" fmla="*/ 1369612 h 4364939"/>
                <a:gd name="connsiteX29" fmla="*/ 905939 w 4314657"/>
                <a:gd name="connsiteY29" fmla="*/ 1419458 h 4364939"/>
                <a:gd name="connsiteX30" fmla="*/ 863228 w 4314657"/>
                <a:gd name="connsiteY30" fmla="*/ 1471545 h 4364939"/>
                <a:gd name="connsiteX31" fmla="*/ 774330 w 4314657"/>
                <a:gd name="connsiteY31" fmla="*/ 1577659 h 4364939"/>
                <a:gd name="connsiteX32" fmla="*/ 595554 w 4314657"/>
                <a:gd name="connsiteY32" fmla="*/ 1780916 h 4364939"/>
                <a:gd name="connsiteX33" fmla="*/ 430365 w 4314657"/>
                <a:gd name="connsiteY33" fmla="*/ 1982644 h 4364939"/>
                <a:gd name="connsiteX34" fmla="*/ 358855 w 4314657"/>
                <a:gd name="connsiteY34" fmla="*/ 2087025 h 4364939"/>
                <a:gd name="connsiteX35" fmla="*/ 296583 w 4314657"/>
                <a:gd name="connsiteY35" fmla="*/ 2194872 h 4364939"/>
                <a:gd name="connsiteX36" fmla="*/ 207358 w 4314657"/>
                <a:gd name="connsiteY36" fmla="*/ 2423918 h 4364939"/>
                <a:gd name="connsiteX37" fmla="*/ 177146 w 4314657"/>
                <a:gd name="connsiteY37" fmla="*/ 2668765 h 4364939"/>
                <a:gd name="connsiteX38" fmla="*/ 248763 w 4314657"/>
                <a:gd name="connsiteY38" fmla="*/ 3168854 h 4364939"/>
                <a:gd name="connsiteX39" fmla="*/ 445688 w 4314657"/>
                <a:gd name="connsiteY39" fmla="*/ 3637956 h 4364939"/>
                <a:gd name="connsiteX40" fmla="*/ 735859 w 4314657"/>
                <a:gd name="connsiteY40" fmla="*/ 4062310 h 4364939"/>
                <a:gd name="connsiteX41" fmla="*/ 910884 w 4314657"/>
                <a:gd name="connsiteY41" fmla="*/ 4254366 h 4364939"/>
                <a:gd name="connsiteX42" fmla="*/ 1030507 w 4314657"/>
                <a:gd name="connsiteY42" fmla="*/ 4364939 h 4364939"/>
                <a:gd name="connsiteX43" fmla="*/ 676755 w 4314657"/>
                <a:gd name="connsiteY43" fmla="*/ 4364939 h 4364939"/>
                <a:gd name="connsiteX44" fmla="*/ 538105 w 4314657"/>
                <a:gd name="connsiteY44" fmla="*/ 4202315 h 4364939"/>
                <a:gd name="connsiteX45" fmla="*/ 241592 w 4314657"/>
                <a:gd name="connsiteY45" fmla="*/ 3731226 h 4364939"/>
                <a:gd name="connsiteX46" fmla="*/ 60317 w 4314657"/>
                <a:gd name="connsiteY46" fmla="*/ 3211362 h 4364939"/>
                <a:gd name="connsiteX47" fmla="*/ 0 w 4314657"/>
                <a:gd name="connsiteY47" fmla="*/ 2668765 h 4364939"/>
                <a:gd name="connsiteX48" fmla="*/ 21736 w 4314657"/>
                <a:gd name="connsiteY48" fmla="*/ 2390280 h 4364939"/>
                <a:gd name="connsiteX49" fmla="*/ 27605 w 4314657"/>
                <a:gd name="connsiteY49" fmla="*/ 2355521 h 4364939"/>
                <a:gd name="connsiteX50" fmla="*/ 34669 w 4314657"/>
                <a:gd name="connsiteY50" fmla="*/ 2320862 h 4364939"/>
                <a:gd name="connsiteX51" fmla="*/ 50753 w 4314657"/>
                <a:gd name="connsiteY51" fmla="*/ 2251750 h 4364939"/>
                <a:gd name="connsiteX52" fmla="*/ 93899 w 4314657"/>
                <a:gd name="connsiteY52" fmla="*/ 2116179 h 4364939"/>
                <a:gd name="connsiteX53" fmla="*/ 150194 w 4314657"/>
                <a:gd name="connsiteY53" fmla="*/ 1985498 h 4364939"/>
                <a:gd name="connsiteX54" fmla="*/ 216486 w 4314657"/>
                <a:gd name="connsiteY54" fmla="*/ 1860628 h 4364939"/>
                <a:gd name="connsiteX55" fmla="*/ 363527 w 4314657"/>
                <a:gd name="connsiteY55" fmla="*/ 1625058 h 4364939"/>
                <a:gd name="connsiteX56" fmla="*/ 514155 w 4314657"/>
                <a:gd name="connsiteY56" fmla="*/ 1402231 h 4364939"/>
                <a:gd name="connsiteX57" fmla="*/ 586861 w 4314657"/>
                <a:gd name="connsiteY57" fmla="*/ 1293160 h 4364939"/>
                <a:gd name="connsiteX58" fmla="*/ 623702 w 4314657"/>
                <a:gd name="connsiteY58" fmla="*/ 1236892 h 4364939"/>
                <a:gd name="connsiteX59" fmla="*/ 662283 w 4314657"/>
                <a:gd name="connsiteY59" fmla="*/ 1178892 h 4364939"/>
                <a:gd name="connsiteX60" fmla="*/ 827364 w 4314657"/>
                <a:gd name="connsiteY60" fmla="*/ 951170 h 4364939"/>
                <a:gd name="connsiteX61" fmla="*/ 1016355 w 4314657"/>
                <a:gd name="connsiteY61" fmla="*/ 736089 h 4364939"/>
                <a:gd name="connsiteX62" fmla="*/ 1482474 w 4314657"/>
                <a:gd name="connsiteY62" fmla="*/ 378707 h 4364939"/>
                <a:gd name="connsiteX63" fmla="*/ 2035644 w 4314657"/>
                <a:gd name="connsiteY63" fmla="*/ 149151 h 4364939"/>
                <a:gd name="connsiteX64" fmla="*/ 2324619 w 4314657"/>
                <a:gd name="connsiteY64" fmla="*/ 72802 h 4364939"/>
                <a:gd name="connsiteX65" fmla="*/ 2618809 w 4314657"/>
                <a:gd name="connsiteY65" fmla="*/ 24078 h 4364939"/>
                <a:gd name="connsiteX66" fmla="*/ 2914849 w 4314657"/>
                <a:gd name="connsiteY66" fmla="*/ 1957 h 4364939"/>
                <a:gd name="connsiteX67" fmla="*/ 2951907 w 4314657"/>
                <a:gd name="connsiteY67" fmla="*/ 633 h 4364939"/>
                <a:gd name="connsiteX68" fmla="*/ 2990052 w 4314657"/>
                <a:gd name="connsiteY68" fmla="*/ 224 h 4364939"/>
                <a:gd name="connsiteX69" fmla="*/ 3028307 w 4314657"/>
                <a:gd name="connsiteY69" fmla="*/ 21 h 436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14657" h="4364939">
                  <a:moveTo>
                    <a:pt x="3028307" y="21"/>
                  </a:moveTo>
                  <a:lnTo>
                    <a:pt x="3066670" y="836"/>
                  </a:lnTo>
                  <a:cubicBezTo>
                    <a:pt x="3117749" y="1856"/>
                    <a:pt x="3168937" y="5320"/>
                    <a:pt x="3220125" y="9909"/>
                  </a:cubicBezTo>
                  <a:cubicBezTo>
                    <a:pt x="3424763" y="29073"/>
                    <a:pt x="3627448" y="77898"/>
                    <a:pt x="3816113" y="150272"/>
                  </a:cubicBezTo>
                  <a:cubicBezTo>
                    <a:pt x="3910880" y="185950"/>
                    <a:pt x="4001951" y="227538"/>
                    <a:pt x="4089981" y="272287"/>
                  </a:cubicBezTo>
                  <a:lnTo>
                    <a:pt x="4314657" y="398926"/>
                  </a:lnTo>
                  <a:lnTo>
                    <a:pt x="4314657" y="911199"/>
                  </a:lnTo>
                  <a:lnTo>
                    <a:pt x="4310597" y="908154"/>
                  </a:lnTo>
                  <a:cubicBezTo>
                    <a:pt x="4274842" y="881549"/>
                    <a:pt x="4239087" y="855352"/>
                    <a:pt x="4203223" y="829562"/>
                  </a:cubicBezTo>
                  <a:cubicBezTo>
                    <a:pt x="4167576" y="803773"/>
                    <a:pt x="4131821" y="778086"/>
                    <a:pt x="4095850" y="753520"/>
                  </a:cubicBezTo>
                  <a:cubicBezTo>
                    <a:pt x="3951852" y="654949"/>
                    <a:pt x="3806115" y="565043"/>
                    <a:pt x="3652987" y="494811"/>
                  </a:cubicBezTo>
                  <a:cubicBezTo>
                    <a:pt x="3500404" y="423761"/>
                    <a:pt x="3340213" y="373101"/>
                    <a:pt x="3173610" y="347209"/>
                  </a:cubicBezTo>
                  <a:cubicBezTo>
                    <a:pt x="3131987" y="341093"/>
                    <a:pt x="3090036" y="335792"/>
                    <a:pt x="3047760" y="332632"/>
                  </a:cubicBezTo>
                  <a:lnTo>
                    <a:pt x="3016027" y="330186"/>
                  </a:lnTo>
                  <a:cubicBezTo>
                    <a:pt x="3005485" y="329472"/>
                    <a:pt x="2994834" y="329168"/>
                    <a:pt x="2984184" y="328658"/>
                  </a:cubicBezTo>
                  <a:cubicBezTo>
                    <a:pt x="2973533" y="328249"/>
                    <a:pt x="2962992" y="327638"/>
                    <a:pt x="2952233" y="327332"/>
                  </a:cubicBezTo>
                  <a:lnTo>
                    <a:pt x="2919085" y="327026"/>
                  </a:lnTo>
                  <a:cubicBezTo>
                    <a:pt x="2897025" y="326925"/>
                    <a:pt x="2874854" y="326212"/>
                    <a:pt x="2852901" y="326720"/>
                  </a:cubicBezTo>
                  <a:lnTo>
                    <a:pt x="2786826" y="328148"/>
                  </a:lnTo>
                  <a:cubicBezTo>
                    <a:pt x="2764763" y="328759"/>
                    <a:pt x="2742919" y="330391"/>
                    <a:pt x="2720965" y="331409"/>
                  </a:cubicBezTo>
                  <a:cubicBezTo>
                    <a:pt x="2699013" y="332326"/>
                    <a:pt x="2677170" y="334162"/>
                    <a:pt x="2655325" y="336098"/>
                  </a:cubicBezTo>
                  <a:cubicBezTo>
                    <a:pt x="2611528" y="339463"/>
                    <a:pt x="2568165" y="345170"/>
                    <a:pt x="2524803" y="350573"/>
                  </a:cubicBezTo>
                  <a:lnTo>
                    <a:pt x="2460139" y="360664"/>
                  </a:lnTo>
                  <a:cubicBezTo>
                    <a:pt x="2438622" y="364130"/>
                    <a:pt x="2417430" y="368717"/>
                    <a:pt x="2396019" y="372693"/>
                  </a:cubicBezTo>
                  <a:cubicBezTo>
                    <a:pt x="2310709" y="389513"/>
                    <a:pt x="2226809" y="411836"/>
                    <a:pt x="2145843" y="440989"/>
                  </a:cubicBezTo>
                  <a:cubicBezTo>
                    <a:pt x="1983479" y="499295"/>
                    <a:pt x="1835678" y="585838"/>
                    <a:pt x="1698635" y="682676"/>
                  </a:cubicBezTo>
                  <a:cubicBezTo>
                    <a:pt x="1629841" y="730992"/>
                    <a:pt x="1563549" y="782367"/>
                    <a:pt x="1498450" y="835474"/>
                  </a:cubicBezTo>
                  <a:cubicBezTo>
                    <a:pt x="1433352" y="888583"/>
                    <a:pt x="1369775" y="943932"/>
                    <a:pt x="1307285" y="1001220"/>
                  </a:cubicBezTo>
                  <a:cubicBezTo>
                    <a:pt x="1182958" y="1116304"/>
                    <a:pt x="1060588" y="1237708"/>
                    <a:pt x="947780" y="1369612"/>
                  </a:cubicBezTo>
                  <a:cubicBezTo>
                    <a:pt x="933325" y="1385818"/>
                    <a:pt x="919958" y="1402841"/>
                    <a:pt x="905939" y="1419458"/>
                  </a:cubicBezTo>
                  <a:lnTo>
                    <a:pt x="863228" y="1471545"/>
                  </a:lnTo>
                  <a:cubicBezTo>
                    <a:pt x="833776" y="1507529"/>
                    <a:pt x="804215" y="1543001"/>
                    <a:pt x="774330" y="1577659"/>
                  </a:cubicBezTo>
                  <a:cubicBezTo>
                    <a:pt x="714665" y="1647178"/>
                    <a:pt x="653806" y="1714046"/>
                    <a:pt x="595554" y="1780916"/>
                  </a:cubicBezTo>
                  <a:cubicBezTo>
                    <a:pt x="537303" y="1847683"/>
                    <a:pt x="481009" y="1914144"/>
                    <a:pt x="430365" y="1982644"/>
                  </a:cubicBezTo>
                  <a:cubicBezTo>
                    <a:pt x="405369" y="2016995"/>
                    <a:pt x="381351" y="2051756"/>
                    <a:pt x="358855" y="2087025"/>
                  </a:cubicBezTo>
                  <a:cubicBezTo>
                    <a:pt x="336685" y="2122396"/>
                    <a:pt x="315601" y="2158277"/>
                    <a:pt x="296583" y="2194872"/>
                  </a:cubicBezTo>
                  <a:cubicBezTo>
                    <a:pt x="258980" y="2268161"/>
                    <a:pt x="227572" y="2344307"/>
                    <a:pt x="207358" y="2423918"/>
                  </a:cubicBezTo>
                  <a:cubicBezTo>
                    <a:pt x="186817" y="2503426"/>
                    <a:pt x="178124" y="2585790"/>
                    <a:pt x="177146" y="2668765"/>
                  </a:cubicBezTo>
                  <a:cubicBezTo>
                    <a:pt x="177037" y="2837670"/>
                    <a:pt x="201490" y="3006472"/>
                    <a:pt x="248763" y="3168854"/>
                  </a:cubicBezTo>
                  <a:cubicBezTo>
                    <a:pt x="295931" y="3331644"/>
                    <a:pt x="363962" y="3488316"/>
                    <a:pt x="445688" y="3637956"/>
                  </a:cubicBezTo>
                  <a:cubicBezTo>
                    <a:pt x="527413" y="3787697"/>
                    <a:pt x="625115" y="3929794"/>
                    <a:pt x="735859" y="4062310"/>
                  </a:cubicBezTo>
                  <a:cubicBezTo>
                    <a:pt x="791121" y="4128668"/>
                    <a:pt x="849589" y="4192733"/>
                    <a:pt x="910884" y="4254366"/>
                  </a:cubicBezTo>
                  <a:lnTo>
                    <a:pt x="1030507" y="4364939"/>
                  </a:lnTo>
                  <a:lnTo>
                    <a:pt x="676755" y="4364939"/>
                  </a:lnTo>
                  <a:lnTo>
                    <a:pt x="538105" y="4202315"/>
                  </a:lnTo>
                  <a:cubicBezTo>
                    <a:pt x="423518" y="4054791"/>
                    <a:pt x="323372" y="3897379"/>
                    <a:pt x="241592" y="3731226"/>
                  </a:cubicBezTo>
                  <a:cubicBezTo>
                    <a:pt x="160193" y="3565073"/>
                    <a:pt x="99768" y="3389950"/>
                    <a:pt x="60317" y="3211362"/>
                  </a:cubicBezTo>
                  <a:cubicBezTo>
                    <a:pt x="20759" y="3032669"/>
                    <a:pt x="435" y="2850716"/>
                    <a:pt x="0" y="2668765"/>
                  </a:cubicBezTo>
                  <a:cubicBezTo>
                    <a:pt x="0" y="2576309"/>
                    <a:pt x="6413" y="2483039"/>
                    <a:pt x="21736" y="2390280"/>
                  </a:cubicBezTo>
                  <a:lnTo>
                    <a:pt x="27605" y="2355521"/>
                  </a:lnTo>
                  <a:lnTo>
                    <a:pt x="34669" y="2320862"/>
                  </a:lnTo>
                  <a:cubicBezTo>
                    <a:pt x="39343" y="2297723"/>
                    <a:pt x="45102" y="2274686"/>
                    <a:pt x="50753" y="2251750"/>
                  </a:cubicBezTo>
                  <a:cubicBezTo>
                    <a:pt x="62708" y="2205881"/>
                    <a:pt x="77379" y="2160723"/>
                    <a:pt x="93899" y="2116179"/>
                  </a:cubicBezTo>
                  <a:cubicBezTo>
                    <a:pt x="110744" y="2071734"/>
                    <a:pt x="129762" y="2028209"/>
                    <a:pt x="150194" y="1985498"/>
                  </a:cubicBezTo>
                  <a:cubicBezTo>
                    <a:pt x="170734" y="1942890"/>
                    <a:pt x="193229" y="1901402"/>
                    <a:pt x="216486" y="1860628"/>
                  </a:cubicBezTo>
                  <a:cubicBezTo>
                    <a:pt x="263109" y="1779183"/>
                    <a:pt x="312993" y="1701000"/>
                    <a:pt x="363527" y="1625058"/>
                  </a:cubicBezTo>
                  <a:lnTo>
                    <a:pt x="514155" y="1402231"/>
                  </a:lnTo>
                  <a:cubicBezTo>
                    <a:pt x="538825" y="1365636"/>
                    <a:pt x="563277" y="1329551"/>
                    <a:pt x="586861" y="1293160"/>
                  </a:cubicBezTo>
                  <a:lnTo>
                    <a:pt x="623702" y="1236892"/>
                  </a:lnTo>
                  <a:cubicBezTo>
                    <a:pt x="636526" y="1217525"/>
                    <a:pt x="649025" y="1198055"/>
                    <a:pt x="662283" y="1178892"/>
                  </a:cubicBezTo>
                  <a:cubicBezTo>
                    <a:pt x="713905" y="1101523"/>
                    <a:pt x="769222" y="1025786"/>
                    <a:pt x="827364" y="951170"/>
                  </a:cubicBezTo>
                  <a:cubicBezTo>
                    <a:pt x="885834" y="876861"/>
                    <a:pt x="947997" y="804283"/>
                    <a:pt x="1016355" y="736089"/>
                  </a:cubicBezTo>
                  <a:cubicBezTo>
                    <a:pt x="1152311" y="599497"/>
                    <a:pt x="1308047" y="476054"/>
                    <a:pt x="1482474" y="378707"/>
                  </a:cubicBezTo>
                  <a:cubicBezTo>
                    <a:pt x="1656793" y="281156"/>
                    <a:pt x="1845132" y="207966"/>
                    <a:pt x="2035644" y="149151"/>
                  </a:cubicBezTo>
                  <a:cubicBezTo>
                    <a:pt x="2131063" y="119997"/>
                    <a:pt x="2227460" y="94412"/>
                    <a:pt x="2324619" y="72802"/>
                  </a:cubicBezTo>
                  <a:cubicBezTo>
                    <a:pt x="2421885" y="51396"/>
                    <a:pt x="2520239" y="35291"/>
                    <a:pt x="2618809" y="24078"/>
                  </a:cubicBezTo>
                  <a:cubicBezTo>
                    <a:pt x="2717272" y="12252"/>
                    <a:pt x="2816168" y="4914"/>
                    <a:pt x="2914849" y="1957"/>
                  </a:cubicBezTo>
                  <a:lnTo>
                    <a:pt x="2951907" y="633"/>
                  </a:lnTo>
                  <a:lnTo>
                    <a:pt x="2990052" y="224"/>
                  </a:lnTo>
                  <a:cubicBezTo>
                    <a:pt x="3002768" y="224"/>
                    <a:pt x="3015592" y="-81"/>
                    <a:pt x="3028307" y="2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useBgFill="1">
          <p:nvSpPr>
            <p:cNvPr id="16" name="Freeform: Shape 15">
              <a:extLst>
                <a:ext uri="{FF2B5EF4-FFF2-40B4-BE49-F238E27FC236}">
                  <a16:creationId xmlns:a16="http://schemas.microsoft.com/office/drawing/2014/main" id="{5C727C6A-DB0B-482E-B0E4-4F035FC0231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855526" y="2145638"/>
              <a:ext cx="4336168" cy="4630833"/>
            </a:xfrm>
            <a:custGeom>
              <a:avLst/>
              <a:gdLst>
                <a:gd name="connsiteX0" fmla="*/ 3053738 w 4336168"/>
                <a:gd name="connsiteY0" fmla="*/ 111 h 4630833"/>
                <a:gd name="connsiteX1" fmla="*/ 3093948 w 4336168"/>
                <a:gd name="connsiteY1" fmla="*/ 316 h 4630833"/>
                <a:gd name="connsiteX2" fmla="*/ 3134268 w 4336168"/>
                <a:gd name="connsiteY2" fmla="*/ 1743 h 4630833"/>
                <a:gd name="connsiteX3" fmla="*/ 3295438 w 4336168"/>
                <a:gd name="connsiteY3" fmla="*/ 13058 h 4630833"/>
                <a:gd name="connsiteX4" fmla="*/ 3918813 w 4336168"/>
                <a:gd name="connsiteY4" fmla="*/ 169935 h 4630833"/>
                <a:gd name="connsiteX5" fmla="*/ 4203331 w 4336168"/>
                <a:gd name="connsiteY5" fmla="*/ 305405 h 4630833"/>
                <a:gd name="connsiteX6" fmla="*/ 4336168 w 4336168"/>
                <a:gd name="connsiteY6" fmla="*/ 386579 h 4630833"/>
                <a:gd name="connsiteX7" fmla="*/ 4336168 w 4336168"/>
                <a:gd name="connsiteY7" fmla="*/ 772673 h 4630833"/>
                <a:gd name="connsiteX8" fmla="*/ 4270820 w 4336168"/>
                <a:gd name="connsiteY8" fmla="*/ 728127 h 4630833"/>
                <a:gd name="connsiteX9" fmla="*/ 4030208 w 4336168"/>
                <a:gd name="connsiteY9" fmla="*/ 587253 h 4630833"/>
                <a:gd name="connsiteX10" fmla="*/ 3781010 w 4336168"/>
                <a:gd name="connsiteY10" fmla="*/ 471455 h 4630833"/>
                <a:gd name="connsiteX11" fmla="*/ 3254466 w 4336168"/>
                <a:gd name="connsiteY11" fmla="*/ 338024 h 4630833"/>
                <a:gd name="connsiteX12" fmla="*/ 3117966 w 4336168"/>
                <a:gd name="connsiteY12" fmla="*/ 326812 h 4630833"/>
                <a:gd name="connsiteX13" fmla="*/ 3083625 w 4336168"/>
                <a:gd name="connsiteY13" fmla="*/ 325179 h 4630833"/>
                <a:gd name="connsiteX14" fmla="*/ 3049173 w 4336168"/>
                <a:gd name="connsiteY14" fmla="*/ 324366 h 4630833"/>
                <a:gd name="connsiteX15" fmla="*/ 2978858 w 4336168"/>
                <a:gd name="connsiteY15" fmla="*/ 323855 h 4630833"/>
                <a:gd name="connsiteX16" fmla="*/ 2695862 w 4336168"/>
                <a:gd name="connsiteY16" fmla="*/ 335373 h 4630833"/>
                <a:gd name="connsiteX17" fmla="*/ 2417972 w 4336168"/>
                <a:gd name="connsiteY17" fmla="*/ 372070 h 4630833"/>
                <a:gd name="connsiteX18" fmla="*/ 2148451 w 4336168"/>
                <a:gd name="connsiteY18" fmla="*/ 437613 h 4630833"/>
                <a:gd name="connsiteX19" fmla="*/ 1889690 w 4336168"/>
                <a:gd name="connsiteY19" fmla="*/ 532515 h 4630833"/>
                <a:gd name="connsiteX20" fmla="*/ 1644512 w 4336168"/>
                <a:gd name="connsiteY20" fmla="*/ 658098 h 4630833"/>
                <a:gd name="connsiteX21" fmla="*/ 1200999 w 4336168"/>
                <a:gd name="connsiteY21" fmla="*/ 992137 h 4630833"/>
                <a:gd name="connsiteX22" fmla="*/ 1003531 w 4336168"/>
                <a:gd name="connsiteY22" fmla="*/ 1192234 h 4630833"/>
                <a:gd name="connsiteX23" fmla="*/ 910394 w 4336168"/>
                <a:gd name="connsiteY23" fmla="*/ 1298347 h 4630833"/>
                <a:gd name="connsiteX24" fmla="*/ 821278 w 4336168"/>
                <a:gd name="connsiteY24" fmla="*/ 1408233 h 4630833"/>
                <a:gd name="connsiteX25" fmla="*/ 732162 w 4336168"/>
                <a:gd name="connsiteY25" fmla="*/ 1521993 h 4630833"/>
                <a:gd name="connsiteX26" fmla="*/ 640548 w 4336168"/>
                <a:gd name="connsiteY26" fmla="*/ 1634323 h 4630833"/>
                <a:gd name="connsiteX27" fmla="*/ 457317 w 4336168"/>
                <a:gd name="connsiteY27" fmla="*/ 1855930 h 4630833"/>
                <a:gd name="connsiteX28" fmla="*/ 369288 w 4336168"/>
                <a:gd name="connsiteY28" fmla="*/ 1967955 h 4630833"/>
                <a:gd name="connsiteX29" fmla="*/ 287128 w 4336168"/>
                <a:gd name="connsiteY29" fmla="*/ 2083243 h 4630833"/>
                <a:gd name="connsiteX30" fmla="*/ 212683 w 4336168"/>
                <a:gd name="connsiteY30" fmla="*/ 2202607 h 4630833"/>
                <a:gd name="connsiteX31" fmla="*/ 179101 w 4336168"/>
                <a:gd name="connsiteY31" fmla="*/ 2264177 h 4630833"/>
                <a:gd name="connsiteX32" fmla="*/ 148890 w 4336168"/>
                <a:gd name="connsiteY32" fmla="*/ 2327172 h 4630833"/>
                <a:gd name="connsiteX33" fmla="*/ 61295 w 4336168"/>
                <a:gd name="connsiteY33" fmla="*/ 2590672 h 4630833"/>
                <a:gd name="connsiteX34" fmla="*/ 32604 w 4336168"/>
                <a:gd name="connsiteY34" fmla="*/ 2866202 h 4630833"/>
                <a:gd name="connsiteX35" fmla="*/ 100853 w 4336168"/>
                <a:gd name="connsiteY35" fmla="*/ 3418074 h 4630833"/>
                <a:gd name="connsiteX36" fmla="*/ 184971 w 4336168"/>
                <a:gd name="connsiteY36" fmla="*/ 3684428 h 4630833"/>
                <a:gd name="connsiteX37" fmla="*/ 210836 w 4336168"/>
                <a:gd name="connsiteY37" fmla="*/ 3749462 h 4630833"/>
                <a:gd name="connsiteX38" fmla="*/ 238440 w 4336168"/>
                <a:gd name="connsiteY38" fmla="*/ 3813783 h 4630833"/>
                <a:gd name="connsiteX39" fmla="*/ 252894 w 4336168"/>
                <a:gd name="connsiteY39" fmla="*/ 3845688 h 4630833"/>
                <a:gd name="connsiteX40" fmla="*/ 268109 w 4336168"/>
                <a:gd name="connsiteY40" fmla="*/ 3877287 h 4630833"/>
                <a:gd name="connsiteX41" fmla="*/ 299409 w 4336168"/>
                <a:gd name="connsiteY41" fmla="*/ 3939978 h 4630833"/>
                <a:gd name="connsiteX42" fmla="*/ 440689 w 4336168"/>
                <a:gd name="connsiteY42" fmla="*/ 4182378 h 4630833"/>
                <a:gd name="connsiteX43" fmla="*/ 606640 w 4336168"/>
                <a:gd name="connsiteY43" fmla="*/ 4409488 h 4630833"/>
                <a:gd name="connsiteX44" fmla="*/ 792425 w 4336168"/>
                <a:gd name="connsiteY44" fmla="*/ 4621205 h 4630833"/>
                <a:gd name="connsiteX45" fmla="*/ 802442 w 4336168"/>
                <a:gd name="connsiteY45" fmla="*/ 4630833 h 4630833"/>
                <a:gd name="connsiteX46" fmla="*/ 592561 w 4336168"/>
                <a:gd name="connsiteY46" fmla="*/ 4630833 h 4630833"/>
                <a:gd name="connsiteX47" fmla="*/ 489377 w 4336168"/>
                <a:gd name="connsiteY47" fmla="*/ 4483185 h 4630833"/>
                <a:gd name="connsiteX48" fmla="*/ 344944 w 4336168"/>
                <a:gd name="connsiteY48" fmla="*/ 4231611 h 4630833"/>
                <a:gd name="connsiteX49" fmla="*/ 224311 w 4336168"/>
                <a:gd name="connsiteY49" fmla="*/ 3970456 h 4630833"/>
                <a:gd name="connsiteX50" fmla="*/ 0 w 4336168"/>
                <a:gd name="connsiteY50" fmla="*/ 2866202 h 4630833"/>
                <a:gd name="connsiteX51" fmla="*/ 25105 w 4336168"/>
                <a:gd name="connsiteY51" fmla="*/ 2584351 h 4630833"/>
                <a:gd name="connsiteX52" fmla="*/ 105200 w 4336168"/>
                <a:gd name="connsiteY52" fmla="*/ 2310863 h 4630833"/>
                <a:gd name="connsiteX53" fmla="*/ 232245 w 4336168"/>
                <a:gd name="connsiteY53" fmla="*/ 2053172 h 4630833"/>
                <a:gd name="connsiteX54" fmla="*/ 307667 w 4336168"/>
                <a:gd name="connsiteY54" fmla="*/ 1930341 h 4630833"/>
                <a:gd name="connsiteX55" fmla="*/ 386893 w 4336168"/>
                <a:gd name="connsiteY55" fmla="*/ 1810161 h 4630833"/>
                <a:gd name="connsiteX56" fmla="*/ 548823 w 4336168"/>
                <a:gd name="connsiteY56" fmla="*/ 1573876 h 4630833"/>
                <a:gd name="connsiteX57" fmla="*/ 626419 w 4336168"/>
                <a:gd name="connsiteY57" fmla="*/ 1455224 h 4630833"/>
                <a:gd name="connsiteX58" fmla="*/ 701081 w 4336168"/>
                <a:gd name="connsiteY58" fmla="*/ 1334534 h 4630833"/>
                <a:gd name="connsiteX59" fmla="*/ 861162 w 4336168"/>
                <a:gd name="connsiteY59" fmla="*/ 1091320 h 4630833"/>
                <a:gd name="connsiteX60" fmla="*/ 1042329 w 4336168"/>
                <a:gd name="connsiteY60" fmla="*/ 858093 h 4630833"/>
                <a:gd name="connsiteX61" fmla="*/ 1487799 w 4336168"/>
                <a:gd name="connsiteY61" fmla="*/ 446686 h 4630833"/>
                <a:gd name="connsiteX62" fmla="*/ 1754060 w 4336168"/>
                <a:gd name="connsiteY62" fmla="*/ 283388 h 4630833"/>
                <a:gd name="connsiteX63" fmla="*/ 2044121 w 4336168"/>
                <a:gd name="connsiteY63" fmla="*/ 157906 h 4630833"/>
                <a:gd name="connsiteX64" fmla="*/ 2349287 w 4336168"/>
                <a:gd name="connsiteY64" fmla="*/ 71364 h 4630833"/>
                <a:gd name="connsiteX65" fmla="*/ 2661411 w 4336168"/>
                <a:gd name="connsiteY65" fmla="*/ 21213 h 4630833"/>
                <a:gd name="connsiteX66" fmla="*/ 2818124 w 4336168"/>
                <a:gd name="connsiteY66" fmla="*/ 7146 h 4630833"/>
                <a:gd name="connsiteX67" fmla="*/ 2974728 w 4336168"/>
                <a:gd name="connsiteY67" fmla="*/ 1029 h 4630833"/>
                <a:gd name="connsiteX68" fmla="*/ 3053738 w 4336168"/>
                <a:gd name="connsiteY68" fmla="*/ 111 h 463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336168" h="4630833">
                  <a:moveTo>
                    <a:pt x="3053738" y="111"/>
                  </a:moveTo>
                  <a:lnTo>
                    <a:pt x="3093948" y="316"/>
                  </a:lnTo>
                  <a:lnTo>
                    <a:pt x="3134268" y="1743"/>
                  </a:lnTo>
                  <a:cubicBezTo>
                    <a:pt x="3187955" y="3475"/>
                    <a:pt x="3241749" y="7756"/>
                    <a:pt x="3295438" y="13058"/>
                  </a:cubicBezTo>
                  <a:cubicBezTo>
                    <a:pt x="3510076" y="35585"/>
                    <a:pt x="3722324" y="89406"/>
                    <a:pt x="3918813" y="169935"/>
                  </a:cubicBezTo>
                  <a:cubicBezTo>
                    <a:pt x="4017384" y="209689"/>
                    <a:pt x="4111933" y="255763"/>
                    <a:pt x="4203331" y="305405"/>
                  </a:cubicBezTo>
                  <a:lnTo>
                    <a:pt x="4336168" y="386579"/>
                  </a:lnTo>
                  <a:lnTo>
                    <a:pt x="4336168" y="772673"/>
                  </a:lnTo>
                  <a:lnTo>
                    <a:pt x="4270820" y="728127"/>
                  </a:lnTo>
                  <a:cubicBezTo>
                    <a:pt x="4191920" y="677771"/>
                    <a:pt x="4111825" y="630168"/>
                    <a:pt x="4030208" y="587253"/>
                  </a:cubicBezTo>
                  <a:cubicBezTo>
                    <a:pt x="3948699" y="544136"/>
                    <a:pt x="3865886" y="504687"/>
                    <a:pt x="3781010" y="471455"/>
                  </a:cubicBezTo>
                  <a:cubicBezTo>
                    <a:pt x="3611688" y="404384"/>
                    <a:pt x="3435522" y="358818"/>
                    <a:pt x="3254466" y="338024"/>
                  </a:cubicBezTo>
                  <a:cubicBezTo>
                    <a:pt x="3209255" y="333029"/>
                    <a:pt x="3163720" y="328748"/>
                    <a:pt x="3117966" y="326812"/>
                  </a:cubicBezTo>
                  <a:lnTo>
                    <a:pt x="3083625" y="325179"/>
                  </a:lnTo>
                  <a:lnTo>
                    <a:pt x="3049173" y="324366"/>
                  </a:lnTo>
                  <a:cubicBezTo>
                    <a:pt x="3026568" y="323447"/>
                    <a:pt x="3002550" y="323855"/>
                    <a:pt x="2978858" y="323855"/>
                  </a:cubicBezTo>
                  <a:cubicBezTo>
                    <a:pt x="2883983" y="323956"/>
                    <a:pt x="2789434" y="327423"/>
                    <a:pt x="2695862" y="335373"/>
                  </a:cubicBezTo>
                  <a:cubicBezTo>
                    <a:pt x="2602290" y="343223"/>
                    <a:pt x="2509371" y="354945"/>
                    <a:pt x="2417972" y="372070"/>
                  </a:cubicBezTo>
                  <a:cubicBezTo>
                    <a:pt x="2326683" y="389500"/>
                    <a:pt x="2236697" y="411009"/>
                    <a:pt x="2148451" y="437613"/>
                  </a:cubicBezTo>
                  <a:cubicBezTo>
                    <a:pt x="2060204" y="464116"/>
                    <a:pt x="1973588" y="495411"/>
                    <a:pt x="1889690" y="532515"/>
                  </a:cubicBezTo>
                  <a:cubicBezTo>
                    <a:pt x="1805247" y="568599"/>
                    <a:pt x="1723848" y="611411"/>
                    <a:pt x="1644512" y="658098"/>
                  </a:cubicBezTo>
                  <a:cubicBezTo>
                    <a:pt x="1486169" y="751979"/>
                    <a:pt x="1338149" y="865229"/>
                    <a:pt x="1200999" y="992137"/>
                  </a:cubicBezTo>
                  <a:cubicBezTo>
                    <a:pt x="1132531" y="1055744"/>
                    <a:pt x="1066782" y="1122715"/>
                    <a:pt x="1003531" y="1192234"/>
                  </a:cubicBezTo>
                  <a:cubicBezTo>
                    <a:pt x="971688" y="1226790"/>
                    <a:pt x="941150" y="1262568"/>
                    <a:pt x="910394" y="1298347"/>
                  </a:cubicBezTo>
                  <a:cubicBezTo>
                    <a:pt x="880507" y="1334738"/>
                    <a:pt x="850187" y="1370925"/>
                    <a:pt x="821278" y="1408233"/>
                  </a:cubicBezTo>
                  <a:cubicBezTo>
                    <a:pt x="792152" y="1444624"/>
                    <a:pt x="762266" y="1484480"/>
                    <a:pt x="732162" y="1521993"/>
                  </a:cubicBezTo>
                  <a:cubicBezTo>
                    <a:pt x="701950" y="1559810"/>
                    <a:pt x="671302" y="1597219"/>
                    <a:pt x="640548" y="1634323"/>
                  </a:cubicBezTo>
                  <a:cubicBezTo>
                    <a:pt x="579362" y="1708838"/>
                    <a:pt x="516980" y="1781618"/>
                    <a:pt x="457317" y="1855930"/>
                  </a:cubicBezTo>
                  <a:cubicBezTo>
                    <a:pt x="427540" y="1893033"/>
                    <a:pt x="397870" y="1930239"/>
                    <a:pt x="369288" y="1967955"/>
                  </a:cubicBezTo>
                  <a:cubicBezTo>
                    <a:pt x="341141" y="2005976"/>
                    <a:pt x="313211" y="2044100"/>
                    <a:pt x="287128" y="2083243"/>
                  </a:cubicBezTo>
                  <a:cubicBezTo>
                    <a:pt x="260936" y="2122284"/>
                    <a:pt x="235506" y="2161835"/>
                    <a:pt x="212683" y="2202607"/>
                  </a:cubicBezTo>
                  <a:cubicBezTo>
                    <a:pt x="200728" y="2222791"/>
                    <a:pt x="190187" y="2243586"/>
                    <a:pt x="179101" y="2264177"/>
                  </a:cubicBezTo>
                  <a:cubicBezTo>
                    <a:pt x="168886" y="2285072"/>
                    <a:pt x="158127" y="2305867"/>
                    <a:pt x="148890" y="2327172"/>
                  </a:cubicBezTo>
                  <a:cubicBezTo>
                    <a:pt x="109982" y="2411777"/>
                    <a:pt x="81183" y="2500256"/>
                    <a:pt x="61295" y="2590672"/>
                  </a:cubicBezTo>
                  <a:cubicBezTo>
                    <a:pt x="42386" y="2681292"/>
                    <a:pt x="33147" y="2773643"/>
                    <a:pt x="32604" y="2866202"/>
                  </a:cubicBezTo>
                  <a:cubicBezTo>
                    <a:pt x="32495" y="3051925"/>
                    <a:pt x="55643" y="3237650"/>
                    <a:pt x="100853" y="3418074"/>
                  </a:cubicBezTo>
                  <a:cubicBezTo>
                    <a:pt x="123133" y="3508490"/>
                    <a:pt x="151498" y="3597377"/>
                    <a:pt x="184971" y="3684428"/>
                  </a:cubicBezTo>
                  <a:cubicBezTo>
                    <a:pt x="192796" y="3706344"/>
                    <a:pt x="202250" y="3727751"/>
                    <a:pt x="210836" y="3749462"/>
                  </a:cubicBezTo>
                  <a:cubicBezTo>
                    <a:pt x="219421" y="3771175"/>
                    <a:pt x="228985" y="3792479"/>
                    <a:pt x="238440" y="3813783"/>
                  </a:cubicBezTo>
                  <a:lnTo>
                    <a:pt x="252894" y="3845688"/>
                  </a:lnTo>
                  <a:lnTo>
                    <a:pt x="268109" y="3877287"/>
                  </a:lnTo>
                  <a:cubicBezTo>
                    <a:pt x="278215" y="3898287"/>
                    <a:pt x="288432" y="3919284"/>
                    <a:pt x="299409" y="3939978"/>
                  </a:cubicBezTo>
                  <a:cubicBezTo>
                    <a:pt x="341792" y="4023258"/>
                    <a:pt x="389828" y="4103787"/>
                    <a:pt x="440689" y="4182378"/>
                  </a:cubicBezTo>
                  <a:cubicBezTo>
                    <a:pt x="492420" y="4260561"/>
                    <a:pt x="547953" y="4336299"/>
                    <a:pt x="606640" y="4409488"/>
                  </a:cubicBezTo>
                  <a:cubicBezTo>
                    <a:pt x="665381" y="4482677"/>
                    <a:pt x="727435" y="4553292"/>
                    <a:pt x="792425" y="4621205"/>
                  </a:cubicBezTo>
                  <a:lnTo>
                    <a:pt x="802442" y="4630833"/>
                  </a:lnTo>
                  <a:lnTo>
                    <a:pt x="592561" y="4630833"/>
                  </a:lnTo>
                  <a:lnTo>
                    <a:pt x="489377" y="4483185"/>
                  </a:lnTo>
                  <a:cubicBezTo>
                    <a:pt x="437212" y="4401230"/>
                    <a:pt x="388850" y="4317339"/>
                    <a:pt x="344944" y="4231611"/>
                  </a:cubicBezTo>
                  <a:cubicBezTo>
                    <a:pt x="300386" y="4146191"/>
                    <a:pt x="260828" y="4058731"/>
                    <a:pt x="224311" y="3970456"/>
                  </a:cubicBezTo>
                  <a:cubicBezTo>
                    <a:pt x="78901" y="3617049"/>
                    <a:pt x="1413" y="3242136"/>
                    <a:pt x="0" y="2866202"/>
                  </a:cubicBezTo>
                  <a:cubicBezTo>
                    <a:pt x="0" y="2771912"/>
                    <a:pt x="8043" y="2677417"/>
                    <a:pt x="25105" y="2584351"/>
                  </a:cubicBezTo>
                  <a:cubicBezTo>
                    <a:pt x="42928" y="2491285"/>
                    <a:pt x="69446" y="2399444"/>
                    <a:pt x="105200" y="2310863"/>
                  </a:cubicBezTo>
                  <a:cubicBezTo>
                    <a:pt x="140304" y="2221974"/>
                    <a:pt x="184318" y="2136351"/>
                    <a:pt x="232245" y="2053172"/>
                  </a:cubicBezTo>
                  <a:cubicBezTo>
                    <a:pt x="256154" y="2011379"/>
                    <a:pt x="281802" y="1970810"/>
                    <a:pt x="307667" y="1930341"/>
                  </a:cubicBezTo>
                  <a:cubicBezTo>
                    <a:pt x="333533" y="1889873"/>
                    <a:pt x="360049" y="1849915"/>
                    <a:pt x="386893" y="1810161"/>
                  </a:cubicBezTo>
                  <a:lnTo>
                    <a:pt x="548823" y="1573876"/>
                  </a:lnTo>
                  <a:cubicBezTo>
                    <a:pt x="575341" y="1534529"/>
                    <a:pt x="601098" y="1494877"/>
                    <a:pt x="626419" y="1455224"/>
                  </a:cubicBezTo>
                  <a:cubicBezTo>
                    <a:pt x="651959" y="1415266"/>
                    <a:pt x="675434" y="1376225"/>
                    <a:pt x="701081" y="1334534"/>
                  </a:cubicBezTo>
                  <a:cubicBezTo>
                    <a:pt x="751290" y="1252070"/>
                    <a:pt x="804324" y="1170828"/>
                    <a:pt x="861162" y="1091320"/>
                  </a:cubicBezTo>
                  <a:cubicBezTo>
                    <a:pt x="917894" y="1011810"/>
                    <a:pt x="977884" y="933729"/>
                    <a:pt x="1042329" y="858093"/>
                  </a:cubicBezTo>
                  <a:cubicBezTo>
                    <a:pt x="1171765" y="707536"/>
                    <a:pt x="1319348" y="566764"/>
                    <a:pt x="1487799" y="446686"/>
                  </a:cubicBezTo>
                  <a:cubicBezTo>
                    <a:pt x="1571699" y="386340"/>
                    <a:pt x="1661031" y="332010"/>
                    <a:pt x="1754060" y="283388"/>
                  </a:cubicBezTo>
                  <a:cubicBezTo>
                    <a:pt x="1847414" y="235478"/>
                    <a:pt x="1944463" y="193278"/>
                    <a:pt x="2044121" y="157906"/>
                  </a:cubicBezTo>
                  <a:cubicBezTo>
                    <a:pt x="2143778" y="122638"/>
                    <a:pt x="2245936" y="93789"/>
                    <a:pt x="2349287" y="71364"/>
                  </a:cubicBezTo>
                  <a:cubicBezTo>
                    <a:pt x="2452641" y="48939"/>
                    <a:pt x="2556971" y="32935"/>
                    <a:pt x="2661411" y="21213"/>
                  </a:cubicBezTo>
                  <a:cubicBezTo>
                    <a:pt x="2713576" y="14994"/>
                    <a:pt x="2765850" y="11222"/>
                    <a:pt x="2818124" y="7146"/>
                  </a:cubicBezTo>
                  <a:cubicBezTo>
                    <a:pt x="2870290" y="4596"/>
                    <a:pt x="2922672" y="1640"/>
                    <a:pt x="2974728" y="1029"/>
                  </a:cubicBezTo>
                  <a:cubicBezTo>
                    <a:pt x="3000811" y="519"/>
                    <a:pt x="3026568" y="-296"/>
                    <a:pt x="3053738" y="11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nvGrpSpPr>
          <p:cNvPr id="18" name="Group 17">
            <a:extLst>
              <a:ext uri="{FF2B5EF4-FFF2-40B4-BE49-F238E27FC236}">
                <a16:creationId xmlns:a16="http://schemas.microsoft.com/office/drawing/2014/main" id="{2786ABD8-AB9F-46F2-A7D9-36F1F7338CF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5112326" y="0"/>
            <a:ext cx="4683941" cy="3456291"/>
            <a:chOff x="4345582" y="0"/>
            <a:chExt cx="5069918" cy="3741104"/>
          </a:xfrm>
          <a:solidFill>
            <a:schemeClr val="accent5">
              <a:alpha val="5000"/>
            </a:schemeClr>
          </a:solidFill>
        </p:grpSpPr>
        <p:sp>
          <p:nvSpPr>
            <p:cNvPr id="19" name="Freeform: Shape 18">
              <a:extLst>
                <a:ext uri="{FF2B5EF4-FFF2-40B4-BE49-F238E27FC236}">
                  <a16:creationId xmlns:a16="http://schemas.microsoft.com/office/drawing/2014/main" id="{DB26E49F-E19A-487B-A8A4-A26128CFDC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345582" y="1"/>
              <a:ext cx="5069918" cy="3741103"/>
            </a:xfrm>
            <a:custGeom>
              <a:avLst/>
              <a:gdLst>
                <a:gd name="connsiteX0" fmla="*/ 475344 w 5069918"/>
                <a:gd name="connsiteY0" fmla="*/ 0 h 3741103"/>
                <a:gd name="connsiteX1" fmla="*/ 643707 w 5069918"/>
                <a:gd name="connsiteY1" fmla="*/ 0 h 3741103"/>
                <a:gd name="connsiteX2" fmla="*/ 635672 w 5069918"/>
                <a:gd name="connsiteY2" fmla="*/ 7778 h 3741103"/>
                <a:gd name="connsiteX3" fmla="*/ 486638 w 5069918"/>
                <a:gd name="connsiteY3" fmla="*/ 178818 h 3741103"/>
                <a:gd name="connsiteX4" fmla="*/ 353514 w 5069918"/>
                <a:gd name="connsiteY4" fmla="*/ 362293 h 3741103"/>
                <a:gd name="connsiteX5" fmla="*/ 240181 w 5069918"/>
                <a:gd name="connsiteY5" fmla="*/ 558120 h 3741103"/>
                <a:gd name="connsiteX6" fmla="*/ 215073 w 5069918"/>
                <a:gd name="connsiteY6" fmla="*/ 608766 h 3741103"/>
                <a:gd name="connsiteX7" fmla="*/ 202868 w 5069918"/>
                <a:gd name="connsiteY7" fmla="*/ 634294 h 3741103"/>
                <a:gd name="connsiteX8" fmla="*/ 191273 w 5069918"/>
                <a:gd name="connsiteY8" fmla="*/ 660069 h 3741103"/>
                <a:gd name="connsiteX9" fmla="*/ 169129 w 5069918"/>
                <a:gd name="connsiteY9" fmla="*/ 712032 h 3741103"/>
                <a:gd name="connsiteX10" fmla="*/ 148381 w 5069918"/>
                <a:gd name="connsiteY10" fmla="*/ 764571 h 3741103"/>
                <a:gd name="connsiteX11" fmla="*/ 80903 w 5069918"/>
                <a:gd name="connsiteY11" fmla="*/ 979750 h 3741103"/>
                <a:gd name="connsiteX12" fmla="*/ 26154 w 5069918"/>
                <a:gd name="connsiteY12" fmla="*/ 1425590 h 3741103"/>
                <a:gd name="connsiteX13" fmla="*/ 49170 w 5069918"/>
                <a:gd name="connsiteY13" fmla="*/ 1648182 h 3741103"/>
                <a:gd name="connsiteX14" fmla="*/ 119437 w 5069918"/>
                <a:gd name="connsiteY14" fmla="*/ 1861055 h 3741103"/>
                <a:gd name="connsiteX15" fmla="*/ 143672 w 5069918"/>
                <a:gd name="connsiteY15" fmla="*/ 1911947 h 3741103"/>
                <a:gd name="connsiteX16" fmla="*/ 170611 w 5069918"/>
                <a:gd name="connsiteY16" fmla="*/ 1961687 h 3741103"/>
                <a:gd name="connsiteX17" fmla="*/ 230330 w 5069918"/>
                <a:gd name="connsiteY17" fmla="*/ 2058118 h 3741103"/>
                <a:gd name="connsiteX18" fmla="*/ 296237 w 5069918"/>
                <a:gd name="connsiteY18" fmla="*/ 2151255 h 3741103"/>
                <a:gd name="connsiteX19" fmla="*/ 366853 w 5069918"/>
                <a:gd name="connsiteY19" fmla="*/ 2241757 h 3741103"/>
                <a:gd name="connsiteX20" fmla="*/ 513838 w 5069918"/>
                <a:gd name="connsiteY20" fmla="*/ 2420786 h 3741103"/>
                <a:gd name="connsiteX21" fmla="*/ 587330 w 5069918"/>
                <a:gd name="connsiteY21" fmla="*/ 2511534 h 3741103"/>
                <a:gd name="connsiteX22" fmla="*/ 658817 w 5069918"/>
                <a:gd name="connsiteY22" fmla="*/ 2603437 h 3741103"/>
                <a:gd name="connsiteX23" fmla="*/ 730305 w 5069918"/>
                <a:gd name="connsiteY23" fmla="*/ 2692210 h 3741103"/>
                <a:gd name="connsiteX24" fmla="*/ 805018 w 5069918"/>
                <a:gd name="connsiteY24" fmla="*/ 2777936 h 3741103"/>
                <a:gd name="connsiteX25" fmla="*/ 963424 w 5069918"/>
                <a:gd name="connsiteY25" fmla="*/ 2939588 h 3741103"/>
                <a:gd name="connsiteX26" fmla="*/ 1319204 w 5069918"/>
                <a:gd name="connsiteY26" fmla="*/ 3209447 h 3741103"/>
                <a:gd name="connsiteX27" fmla="*/ 1515882 w 5069918"/>
                <a:gd name="connsiteY27" fmla="*/ 3310902 h 3741103"/>
                <a:gd name="connsiteX28" fmla="*/ 1723456 w 5069918"/>
                <a:gd name="connsiteY28" fmla="*/ 3387570 h 3741103"/>
                <a:gd name="connsiteX29" fmla="*/ 1939662 w 5069918"/>
                <a:gd name="connsiteY29" fmla="*/ 3440520 h 3741103"/>
                <a:gd name="connsiteX30" fmla="*/ 2162581 w 5069918"/>
                <a:gd name="connsiteY30" fmla="*/ 3470167 h 3741103"/>
                <a:gd name="connsiteX31" fmla="*/ 2389597 w 5069918"/>
                <a:gd name="connsiteY31" fmla="*/ 3479472 h 3741103"/>
                <a:gd name="connsiteX32" fmla="*/ 2446002 w 5069918"/>
                <a:gd name="connsiteY32" fmla="*/ 3479059 h 3741103"/>
                <a:gd name="connsiteX33" fmla="*/ 2473639 w 5069918"/>
                <a:gd name="connsiteY33" fmla="*/ 3478402 h 3741103"/>
                <a:gd name="connsiteX34" fmla="*/ 2501187 w 5069918"/>
                <a:gd name="connsiteY34" fmla="*/ 3477083 h 3741103"/>
                <a:gd name="connsiteX35" fmla="*/ 2610685 w 5069918"/>
                <a:gd name="connsiteY35" fmla="*/ 3468025 h 3741103"/>
                <a:gd name="connsiteX36" fmla="*/ 3033071 w 5069918"/>
                <a:gd name="connsiteY36" fmla="*/ 3360230 h 3741103"/>
                <a:gd name="connsiteX37" fmla="*/ 3232974 w 5069918"/>
                <a:gd name="connsiteY37" fmla="*/ 3266681 h 3741103"/>
                <a:gd name="connsiteX38" fmla="*/ 3425990 w 5069918"/>
                <a:gd name="connsiteY38" fmla="*/ 3152873 h 3741103"/>
                <a:gd name="connsiteX39" fmla="*/ 3613601 w 5069918"/>
                <a:gd name="connsiteY39" fmla="*/ 3024078 h 3741103"/>
                <a:gd name="connsiteX40" fmla="*/ 3706185 w 5069918"/>
                <a:gd name="connsiteY40" fmla="*/ 2955893 h 3741103"/>
                <a:gd name="connsiteX41" fmla="*/ 3799729 w 5069918"/>
                <a:gd name="connsiteY41" fmla="*/ 2885155 h 3741103"/>
                <a:gd name="connsiteX42" fmla="*/ 4175561 w 5069918"/>
                <a:gd name="connsiteY42" fmla="*/ 2606072 h 3741103"/>
                <a:gd name="connsiteX43" fmla="*/ 4517132 w 5069918"/>
                <a:gd name="connsiteY43" fmla="*/ 2312331 h 3741103"/>
                <a:gd name="connsiteX44" fmla="*/ 4659758 w 5069918"/>
                <a:gd name="connsiteY44" fmla="*/ 2148703 h 3741103"/>
                <a:gd name="connsiteX45" fmla="*/ 4773178 w 5069918"/>
                <a:gd name="connsiteY45" fmla="*/ 1969674 h 3741103"/>
                <a:gd name="connsiteX46" fmla="*/ 4892092 w 5069918"/>
                <a:gd name="connsiteY46" fmla="*/ 1567562 h 3741103"/>
                <a:gd name="connsiteX47" fmla="*/ 4898804 w 5069918"/>
                <a:gd name="connsiteY47" fmla="*/ 1460754 h 3741103"/>
                <a:gd name="connsiteX48" fmla="*/ 4899153 w 5069918"/>
                <a:gd name="connsiteY48" fmla="*/ 1406239 h 3741103"/>
                <a:gd name="connsiteX49" fmla="*/ 4898456 w 5069918"/>
                <a:gd name="connsiteY49" fmla="*/ 1350735 h 3741103"/>
                <a:gd name="connsiteX50" fmla="*/ 4886774 w 5069918"/>
                <a:gd name="connsiteY50" fmla="*/ 1128886 h 3741103"/>
                <a:gd name="connsiteX51" fmla="*/ 4815896 w 5069918"/>
                <a:gd name="connsiteY51" fmla="*/ 689221 h 3741103"/>
                <a:gd name="connsiteX52" fmla="*/ 4673183 w 5069918"/>
                <a:gd name="connsiteY52" fmla="*/ 264874 h 3741103"/>
                <a:gd name="connsiteX53" fmla="*/ 4625496 w 5069918"/>
                <a:gd name="connsiteY53" fmla="*/ 162925 h 3741103"/>
                <a:gd name="connsiteX54" fmla="*/ 4572490 w 5069918"/>
                <a:gd name="connsiteY54" fmla="*/ 63364 h 3741103"/>
                <a:gd name="connsiteX55" fmla="*/ 4532299 w 5069918"/>
                <a:gd name="connsiteY55" fmla="*/ 0 h 3741103"/>
                <a:gd name="connsiteX56" fmla="*/ 4626680 w 5069918"/>
                <a:gd name="connsiteY56" fmla="*/ 0 h 3741103"/>
                <a:gd name="connsiteX57" fmla="*/ 4643978 w 5069918"/>
                <a:gd name="connsiteY57" fmla="*/ 26636 h 3741103"/>
                <a:gd name="connsiteX58" fmla="*/ 4700644 w 5069918"/>
                <a:gd name="connsiteY58" fmla="*/ 128338 h 3741103"/>
                <a:gd name="connsiteX59" fmla="*/ 4753214 w 5069918"/>
                <a:gd name="connsiteY59" fmla="*/ 232016 h 3741103"/>
                <a:gd name="connsiteX60" fmla="*/ 4921297 w 5069918"/>
                <a:gd name="connsiteY60" fmla="*/ 663363 h 3741103"/>
                <a:gd name="connsiteX61" fmla="*/ 5027482 w 5069918"/>
                <a:gd name="connsiteY61" fmla="*/ 1112991 h 3741103"/>
                <a:gd name="connsiteX62" fmla="*/ 5058082 w 5069918"/>
                <a:gd name="connsiteY62" fmla="*/ 1342088 h 3741103"/>
                <a:gd name="connsiteX63" fmla="*/ 5063486 w 5069918"/>
                <a:gd name="connsiteY63" fmla="*/ 1399651 h 3741103"/>
                <a:gd name="connsiteX64" fmla="*/ 5067846 w 5069918"/>
                <a:gd name="connsiteY64" fmla="*/ 1458284 h 3741103"/>
                <a:gd name="connsiteX65" fmla="*/ 5069414 w 5069918"/>
                <a:gd name="connsiteY65" fmla="*/ 1577772 h 3741103"/>
                <a:gd name="connsiteX66" fmla="*/ 5040732 w 5069918"/>
                <a:gd name="connsiteY66" fmla="*/ 1817822 h 3741103"/>
                <a:gd name="connsiteX67" fmla="*/ 4964102 w 5069918"/>
                <a:gd name="connsiteY67" fmla="*/ 2050871 h 3741103"/>
                <a:gd name="connsiteX68" fmla="*/ 4689486 w 5069918"/>
                <a:gd name="connsiteY68" fmla="*/ 2458008 h 3741103"/>
                <a:gd name="connsiteX69" fmla="*/ 4333792 w 5069918"/>
                <a:gd name="connsiteY69" fmla="*/ 2784606 h 3741103"/>
                <a:gd name="connsiteX70" fmla="*/ 3965197 w 5069918"/>
                <a:gd name="connsiteY70" fmla="*/ 3076041 h 3741103"/>
                <a:gd name="connsiteX71" fmla="*/ 3873745 w 5069918"/>
                <a:gd name="connsiteY71" fmla="*/ 3149167 h 3741103"/>
                <a:gd name="connsiteX72" fmla="*/ 3779416 w 5069918"/>
                <a:gd name="connsiteY72" fmla="*/ 3222705 h 3741103"/>
                <a:gd name="connsiteX73" fmla="*/ 3582739 w 5069918"/>
                <a:gd name="connsiteY73" fmla="*/ 3364594 h 3741103"/>
                <a:gd name="connsiteX74" fmla="*/ 3371851 w 5069918"/>
                <a:gd name="connsiteY74" fmla="*/ 3494377 h 3741103"/>
                <a:gd name="connsiteX75" fmla="*/ 3143615 w 5069918"/>
                <a:gd name="connsiteY75" fmla="*/ 3603819 h 3741103"/>
                <a:gd name="connsiteX76" fmla="*/ 2643552 w 5069918"/>
                <a:gd name="connsiteY76" fmla="*/ 3730555 h 3741103"/>
                <a:gd name="connsiteX77" fmla="*/ 2514264 w 5069918"/>
                <a:gd name="connsiteY77" fmla="*/ 3739696 h 3741103"/>
                <a:gd name="connsiteX78" fmla="*/ 2481920 w 5069918"/>
                <a:gd name="connsiteY78" fmla="*/ 3740849 h 3741103"/>
                <a:gd name="connsiteX79" fmla="*/ 2449664 w 5069918"/>
                <a:gd name="connsiteY79" fmla="*/ 3741014 h 3741103"/>
                <a:gd name="connsiteX80" fmla="*/ 2386284 w 5069918"/>
                <a:gd name="connsiteY80" fmla="*/ 3740273 h 3741103"/>
                <a:gd name="connsiteX81" fmla="*/ 2260658 w 5069918"/>
                <a:gd name="connsiteY81" fmla="*/ 3735331 h 3741103"/>
                <a:gd name="connsiteX82" fmla="*/ 2134945 w 5069918"/>
                <a:gd name="connsiteY82" fmla="*/ 3723967 h 3741103"/>
                <a:gd name="connsiteX83" fmla="*/ 1884564 w 5069918"/>
                <a:gd name="connsiteY83" fmla="*/ 3683451 h 3741103"/>
                <a:gd name="connsiteX84" fmla="*/ 1639764 w 5069918"/>
                <a:gd name="connsiteY84" fmla="*/ 3613537 h 3741103"/>
                <a:gd name="connsiteX85" fmla="*/ 1407081 w 5069918"/>
                <a:gd name="connsiteY85" fmla="*/ 3512164 h 3741103"/>
                <a:gd name="connsiteX86" fmla="*/ 1193491 w 5069918"/>
                <a:gd name="connsiteY86" fmla="*/ 3380240 h 3741103"/>
                <a:gd name="connsiteX87" fmla="*/ 836141 w 5069918"/>
                <a:gd name="connsiteY87" fmla="*/ 3047878 h 3741103"/>
                <a:gd name="connsiteX88" fmla="*/ 690812 w 5069918"/>
                <a:gd name="connsiteY88" fmla="*/ 2859461 h 3741103"/>
                <a:gd name="connsiteX89" fmla="*/ 562397 w 5069918"/>
                <a:gd name="connsiteY89" fmla="*/ 2662976 h 3741103"/>
                <a:gd name="connsiteX90" fmla="*/ 502504 w 5069918"/>
                <a:gd name="connsiteY90" fmla="*/ 2565474 h 3741103"/>
                <a:gd name="connsiteX91" fmla="*/ 440258 w 5069918"/>
                <a:gd name="connsiteY91" fmla="*/ 2469619 h 3741103"/>
                <a:gd name="connsiteX92" fmla="*/ 310360 w 5069918"/>
                <a:gd name="connsiteY92" fmla="*/ 2278732 h 3741103"/>
                <a:gd name="connsiteX93" fmla="*/ 246806 w 5069918"/>
                <a:gd name="connsiteY93" fmla="*/ 2181642 h 3741103"/>
                <a:gd name="connsiteX94" fmla="*/ 186303 w 5069918"/>
                <a:gd name="connsiteY94" fmla="*/ 2082411 h 3741103"/>
                <a:gd name="connsiteX95" fmla="*/ 84390 w 5069918"/>
                <a:gd name="connsiteY95" fmla="*/ 1874231 h 3741103"/>
                <a:gd name="connsiteX96" fmla="*/ 20139 w 5069918"/>
                <a:gd name="connsiteY96" fmla="*/ 1653288 h 3741103"/>
                <a:gd name="connsiteX97" fmla="*/ 0 w 5069918"/>
                <a:gd name="connsiteY97" fmla="*/ 1425590 h 3741103"/>
                <a:gd name="connsiteX98" fmla="*/ 179939 w 5069918"/>
                <a:gd name="connsiteY98" fmla="*/ 533498 h 3741103"/>
                <a:gd name="connsiteX99" fmla="*/ 276709 w 5069918"/>
                <a:gd name="connsiteY99" fmla="*/ 322519 h 3741103"/>
                <a:gd name="connsiteX100" fmla="*/ 392571 w 5069918"/>
                <a:gd name="connsiteY100" fmla="*/ 119280 h 374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5069918" h="3741103">
                  <a:moveTo>
                    <a:pt x="475344" y="0"/>
                  </a:moveTo>
                  <a:lnTo>
                    <a:pt x="643707" y="0"/>
                  </a:lnTo>
                  <a:lnTo>
                    <a:pt x="635672" y="7778"/>
                  </a:lnTo>
                  <a:cubicBezTo>
                    <a:pt x="583538" y="62643"/>
                    <a:pt x="533759" y="119691"/>
                    <a:pt x="486638" y="178818"/>
                  </a:cubicBezTo>
                  <a:cubicBezTo>
                    <a:pt x="439560" y="237945"/>
                    <a:pt x="395012" y="299131"/>
                    <a:pt x="353514" y="362293"/>
                  </a:cubicBezTo>
                  <a:cubicBezTo>
                    <a:pt x="312714" y="425784"/>
                    <a:pt x="274180" y="490841"/>
                    <a:pt x="240181" y="558120"/>
                  </a:cubicBezTo>
                  <a:cubicBezTo>
                    <a:pt x="231376" y="574838"/>
                    <a:pt x="223180" y="591801"/>
                    <a:pt x="215073" y="608766"/>
                  </a:cubicBezTo>
                  <a:lnTo>
                    <a:pt x="202868" y="634294"/>
                  </a:lnTo>
                  <a:lnTo>
                    <a:pt x="191273" y="660069"/>
                  </a:lnTo>
                  <a:cubicBezTo>
                    <a:pt x="183688" y="677280"/>
                    <a:pt x="176016" y="694491"/>
                    <a:pt x="169129" y="712032"/>
                  </a:cubicBezTo>
                  <a:cubicBezTo>
                    <a:pt x="162242" y="729572"/>
                    <a:pt x="154658" y="746866"/>
                    <a:pt x="148381" y="764571"/>
                  </a:cubicBezTo>
                  <a:cubicBezTo>
                    <a:pt x="121529" y="834897"/>
                    <a:pt x="98775" y="906706"/>
                    <a:pt x="80903" y="979750"/>
                  </a:cubicBezTo>
                  <a:cubicBezTo>
                    <a:pt x="44636" y="1125509"/>
                    <a:pt x="26067" y="1275550"/>
                    <a:pt x="26154" y="1425590"/>
                  </a:cubicBezTo>
                  <a:cubicBezTo>
                    <a:pt x="26590" y="1500365"/>
                    <a:pt x="34001" y="1574973"/>
                    <a:pt x="49170" y="1648182"/>
                  </a:cubicBezTo>
                  <a:cubicBezTo>
                    <a:pt x="65124" y="1721226"/>
                    <a:pt x="88226" y="1792705"/>
                    <a:pt x="119437" y="1861055"/>
                  </a:cubicBezTo>
                  <a:cubicBezTo>
                    <a:pt x="126847" y="1878267"/>
                    <a:pt x="135478" y="1895066"/>
                    <a:pt x="143672" y="1911947"/>
                  </a:cubicBezTo>
                  <a:cubicBezTo>
                    <a:pt x="152565" y="1928582"/>
                    <a:pt x="161021" y="1945381"/>
                    <a:pt x="170611" y="1961687"/>
                  </a:cubicBezTo>
                  <a:cubicBezTo>
                    <a:pt x="188919" y="1994626"/>
                    <a:pt x="209319" y="2026578"/>
                    <a:pt x="230330" y="2058118"/>
                  </a:cubicBezTo>
                  <a:cubicBezTo>
                    <a:pt x="251253" y="2089740"/>
                    <a:pt x="273658" y="2120539"/>
                    <a:pt x="296237" y="2151255"/>
                  </a:cubicBezTo>
                  <a:cubicBezTo>
                    <a:pt x="319165" y="2181725"/>
                    <a:pt x="342966" y="2211782"/>
                    <a:pt x="366853" y="2241757"/>
                  </a:cubicBezTo>
                  <a:cubicBezTo>
                    <a:pt x="414714" y="2301791"/>
                    <a:pt x="464756" y="2360588"/>
                    <a:pt x="513838" y="2420786"/>
                  </a:cubicBezTo>
                  <a:cubicBezTo>
                    <a:pt x="538509" y="2450761"/>
                    <a:pt x="563094" y="2480983"/>
                    <a:pt x="587330" y="2511534"/>
                  </a:cubicBezTo>
                  <a:cubicBezTo>
                    <a:pt x="611479" y="2541839"/>
                    <a:pt x="635453" y="2574038"/>
                    <a:pt x="658817" y="2603437"/>
                  </a:cubicBezTo>
                  <a:cubicBezTo>
                    <a:pt x="682008" y="2633577"/>
                    <a:pt x="706330" y="2662811"/>
                    <a:pt x="730305" y="2692210"/>
                  </a:cubicBezTo>
                  <a:cubicBezTo>
                    <a:pt x="754977" y="2721115"/>
                    <a:pt x="779474" y="2750019"/>
                    <a:pt x="805018" y="2777936"/>
                  </a:cubicBezTo>
                  <a:cubicBezTo>
                    <a:pt x="855757" y="2834098"/>
                    <a:pt x="908500" y="2888202"/>
                    <a:pt x="963424" y="2939588"/>
                  </a:cubicBezTo>
                  <a:cubicBezTo>
                    <a:pt x="1073444" y="3042113"/>
                    <a:pt x="1192183" y="3133604"/>
                    <a:pt x="1319204" y="3209447"/>
                  </a:cubicBezTo>
                  <a:cubicBezTo>
                    <a:pt x="1382846" y="3247164"/>
                    <a:pt x="1448143" y="3281751"/>
                    <a:pt x="1515882" y="3310902"/>
                  </a:cubicBezTo>
                  <a:cubicBezTo>
                    <a:pt x="1583184" y="3340877"/>
                    <a:pt x="1652666" y="3366159"/>
                    <a:pt x="1723456" y="3387570"/>
                  </a:cubicBezTo>
                  <a:cubicBezTo>
                    <a:pt x="1794246" y="3409063"/>
                    <a:pt x="1866431" y="3426439"/>
                    <a:pt x="1939662" y="3440520"/>
                  </a:cubicBezTo>
                  <a:cubicBezTo>
                    <a:pt x="2012981" y="3454355"/>
                    <a:pt x="2087519" y="3463825"/>
                    <a:pt x="2162581" y="3470167"/>
                  </a:cubicBezTo>
                  <a:cubicBezTo>
                    <a:pt x="2237643" y="3476589"/>
                    <a:pt x="2313489" y="3479390"/>
                    <a:pt x="2389597" y="3479472"/>
                  </a:cubicBezTo>
                  <a:cubicBezTo>
                    <a:pt x="2408602" y="3479472"/>
                    <a:pt x="2427869" y="3479801"/>
                    <a:pt x="2446002" y="3479059"/>
                  </a:cubicBezTo>
                  <a:lnTo>
                    <a:pt x="2473639" y="3478402"/>
                  </a:lnTo>
                  <a:lnTo>
                    <a:pt x="2501187" y="3477083"/>
                  </a:lnTo>
                  <a:cubicBezTo>
                    <a:pt x="2537890" y="3475519"/>
                    <a:pt x="2574418" y="3472060"/>
                    <a:pt x="2610685" y="3468025"/>
                  </a:cubicBezTo>
                  <a:cubicBezTo>
                    <a:pt x="2755926" y="3451226"/>
                    <a:pt x="2897244" y="3414415"/>
                    <a:pt x="3033071" y="3360230"/>
                  </a:cubicBezTo>
                  <a:cubicBezTo>
                    <a:pt x="3101158" y="3333383"/>
                    <a:pt x="3167589" y="3301514"/>
                    <a:pt x="3232974" y="3266681"/>
                  </a:cubicBezTo>
                  <a:cubicBezTo>
                    <a:pt x="3298446" y="3232011"/>
                    <a:pt x="3362697" y="3193554"/>
                    <a:pt x="3425990" y="3152873"/>
                  </a:cubicBezTo>
                  <a:cubicBezTo>
                    <a:pt x="3489282" y="3112110"/>
                    <a:pt x="3551529" y="3068712"/>
                    <a:pt x="3613601" y="3024078"/>
                  </a:cubicBezTo>
                  <a:cubicBezTo>
                    <a:pt x="3644549" y="3001762"/>
                    <a:pt x="3675411" y="2978868"/>
                    <a:pt x="3706185" y="2955893"/>
                  </a:cubicBezTo>
                  <a:lnTo>
                    <a:pt x="3799729" y="2885155"/>
                  </a:lnTo>
                  <a:cubicBezTo>
                    <a:pt x="3926402" y="2790205"/>
                    <a:pt x="4053597" y="2699374"/>
                    <a:pt x="4175561" y="2606072"/>
                  </a:cubicBezTo>
                  <a:cubicBezTo>
                    <a:pt x="4297526" y="2512852"/>
                    <a:pt x="4414084" y="2416833"/>
                    <a:pt x="4517132" y="2312331"/>
                  </a:cubicBezTo>
                  <a:cubicBezTo>
                    <a:pt x="4568480" y="2259956"/>
                    <a:pt x="4616604" y="2205689"/>
                    <a:pt x="4659758" y="2148703"/>
                  </a:cubicBezTo>
                  <a:cubicBezTo>
                    <a:pt x="4702650" y="2091634"/>
                    <a:pt x="4741184" y="2032096"/>
                    <a:pt x="4773178" y="1969674"/>
                  </a:cubicBezTo>
                  <a:cubicBezTo>
                    <a:pt x="4837865" y="1845080"/>
                    <a:pt x="4877446" y="1709038"/>
                    <a:pt x="4892092" y="1567562"/>
                  </a:cubicBezTo>
                  <a:cubicBezTo>
                    <a:pt x="4895666" y="1532233"/>
                    <a:pt x="4897845" y="1496576"/>
                    <a:pt x="4898804" y="1460754"/>
                  </a:cubicBezTo>
                  <a:cubicBezTo>
                    <a:pt x="4899066" y="1442884"/>
                    <a:pt x="4899414" y="1425015"/>
                    <a:pt x="4899153" y="1406239"/>
                  </a:cubicBezTo>
                  <a:cubicBezTo>
                    <a:pt x="4898979" y="1387711"/>
                    <a:pt x="4899066" y="1369263"/>
                    <a:pt x="4898456" y="1350735"/>
                  </a:cubicBezTo>
                  <a:cubicBezTo>
                    <a:pt x="4896974" y="1276703"/>
                    <a:pt x="4893226" y="1202753"/>
                    <a:pt x="4886774" y="1128886"/>
                  </a:cubicBezTo>
                  <a:cubicBezTo>
                    <a:pt x="4873610" y="981232"/>
                    <a:pt x="4851030" y="833991"/>
                    <a:pt x="4815896" y="689221"/>
                  </a:cubicBezTo>
                  <a:cubicBezTo>
                    <a:pt x="4780676" y="544533"/>
                    <a:pt x="4733860" y="402068"/>
                    <a:pt x="4673183" y="264874"/>
                  </a:cubicBezTo>
                  <a:cubicBezTo>
                    <a:pt x="4658101" y="230533"/>
                    <a:pt x="4642147" y="196605"/>
                    <a:pt x="4625496" y="162925"/>
                  </a:cubicBezTo>
                  <a:cubicBezTo>
                    <a:pt x="4608583" y="129326"/>
                    <a:pt x="4590885" y="96222"/>
                    <a:pt x="4572490" y="63364"/>
                  </a:cubicBezTo>
                  <a:lnTo>
                    <a:pt x="4532299" y="0"/>
                  </a:lnTo>
                  <a:lnTo>
                    <a:pt x="4626680" y="0"/>
                  </a:lnTo>
                  <a:lnTo>
                    <a:pt x="4643978" y="26636"/>
                  </a:lnTo>
                  <a:cubicBezTo>
                    <a:pt x="4663594" y="60152"/>
                    <a:pt x="4682598" y="94080"/>
                    <a:pt x="4700644" y="128338"/>
                  </a:cubicBezTo>
                  <a:cubicBezTo>
                    <a:pt x="4718866" y="162595"/>
                    <a:pt x="4736476" y="197100"/>
                    <a:pt x="4753214" y="232016"/>
                  </a:cubicBezTo>
                  <a:cubicBezTo>
                    <a:pt x="4820082" y="371681"/>
                    <a:pt x="4875964" y="515957"/>
                    <a:pt x="4921297" y="663363"/>
                  </a:cubicBezTo>
                  <a:cubicBezTo>
                    <a:pt x="4966630" y="810687"/>
                    <a:pt x="5002460" y="960975"/>
                    <a:pt x="5027482" y="1112991"/>
                  </a:cubicBezTo>
                  <a:cubicBezTo>
                    <a:pt x="5040123" y="1189000"/>
                    <a:pt x="5050323" y="1265421"/>
                    <a:pt x="5058082" y="1342088"/>
                  </a:cubicBezTo>
                  <a:cubicBezTo>
                    <a:pt x="5060261" y="1361276"/>
                    <a:pt x="5061743" y="1380464"/>
                    <a:pt x="5063486" y="1399651"/>
                  </a:cubicBezTo>
                  <a:cubicBezTo>
                    <a:pt x="5065318" y="1418591"/>
                    <a:pt x="5066625" y="1438437"/>
                    <a:pt x="5067846" y="1458284"/>
                  </a:cubicBezTo>
                  <a:cubicBezTo>
                    <a:pt x="5069851" y="1497894"/>
                    <a:pt x="5070461" y="1537751"/>
                    <a:pt x="5069414" y="1577772"/>
                  </a:cubicBezTo>
                  <a:cubicBezTo>
                    <a:pt x="5067060" y="1657734"/>
                    <a:pt x="5057820" y="1738272"/>
                    <a:pt x="5040732" y="1817822"/>
                  </a:cubicBezTo>
                  <a:cubicBezTo>
                    <a:pt x="5023123" y="1897289"/>
                    <a:pt x="4997578" y="1975686"/>
                    <a:pt x="4964102" y="2050871"/>
                  </a:cubicBezTo>
                  <a:cubicBezTo>
                    <a:pt x="4897409" y="2201736"/>
                    <a:pt x="4799942" y="2338271"/>
                    <a:pt x="4689486" y="2458008"/>
                  </a:cubicBezTo>
                  <a:cubicBezTo>
                    <a:pt x="4579116" y="2578485"/>
                    <a:pt x="4456716" y="2684139"/>
                    <a:pt x="4333792" y="2784606"/>
                  </a:cubicBezTo>
                  <a:cubicBezTo>
                    <a:pt x="4210520" y="2884908"/>
                    <a:pt x="4085853" y="2979775"/>
                    <a:pt x="3965197" y="3076041"/>
                  </a:cubicBezTo>
                  <a:lnTo>
                    <a:pt x="3873745" y="3149167"/>
                  </a:lnTo>
                  <a:cubicBezTo>
                    <a:pt x="3842621" y="3173790"/>
                    <a:pt x="3811325" y="3198413"/>
                    <a:pt x="3779416" y="3222705"/>
                  </a:cubicBezTo>
                  <a:cubicBezTo>
                    <a:pt x="3715863" y="3271374"/>
                    <a:pt x="3650652" y="3319055"/>
                    <a:pt x="3582739" y="3364594"/>
                  </a:cubicBezTo>
                  <a:cubicBezTo>
                    <a:pt x="3514913" y="3410051"/>
                    <a:pt x="3445170" y="3454190"/>
                    <a:pt x="3371851" y="3494377"/>
                  </a:cubicBezTo>
                  <a:cubicBezTo>
                    <a:pt x="3298533" y="3534481"/>
                    <a:pt x="3222687" y="3571703"/>
                    <a:pt x="3143615" y="3603819"/>
                  </a:cubicBezTo>
                  <a:cubicBezTo>
                    <a:pt x="2985994" y="3668876"/>
                    <a:pt x="2815732" y="3712356"/>
                    <a:pt x="2643552" y="3730555"/>
                  </a:cubicBezTo>
                  <a:cubicBezTo>
                    <a:pt x="2600484" y="3734838"/>
                    <a:pt x="2557331" y="3738297"/>
                    <a:pt x="2514264" y="3739696"/>
                  </a:cubicBezTo>
                  <a:lnTo>
                    <a:pt x="2481920" y="3740849"/>
                  </a:lnTo>
                  <a:lnTo>
                    <a:pt x="2449664" y="3741014"/>
                  </a:lnTo>
                  <a:cubicBezTo>
                    <a:pt x="2427869" y="3741343"/>
                    <a:pt x="2407207" y="3740685"/>
                    <a:pt x="2386284" y="3740273"/>
                  </a:cubicBezTo>
                  <a:cubicBezTo>
                    <a:pt x="2344525" y="3739779"/>
                    <a:pt x="2302505" y="3737391"/>
                    <a:pt x="2260658" y="3735331"/>
                  </a:cubicBezTo>
                  <a:cubicBezTo>
                    <a:pt x="2218725" y="3732038"/>
                    <a:pt x="2176791" y="3728991"/>
                    <a:pt x="2134945" y="3723967"/>
                  </a:cubicBezTo>
                  <a:cubicBezTo>
                    <a:pt x="2051165" y="3714497"/>
                    <a:pt x="1967473" y="3701568"/>
                    <a:pt x="1884564" y="3683451"/>
                  </a:cubicBezTo>
                  <a:cubicBezTo>
                    <a:pt x="1801657" y="3665335"/>
                    <a:pt x="1719708" y="3642029"/>
                    <a:pt x="1639764" y="3613537"/>
                  </a:cubicBezTo>
                  <a:cubicBezTo>
                    <a:pt x="1559820" y="3584961"/>
                    <a:pt x="1481969" y="3550869"/>
                    <a:pt x="1407081" y="3512164"/>
                  </a:cubicBezTo>
                  <a:cubicBezTo>
                    <a:pt x="1332455" y="3472884"/>
                    <a:pt x="1260794" y="3428992"/>
                    <a:pt x="1193491" y="3380240"/>
                  </a:cubicBezTo>
                  <a:cubicBezTo>
                    <a:pt x="1058362" y="3283233"/>
                    <a:pt x="939973" y="3169508"/>
                    <a:pt x="836141" y="3047878"/>
                  </a:cubicBezTo>
                  <a:cubicBezTo>
                    <a:pt x="784444" y="2986774"/>
                    <a:pt x="736321" y="2923695"/>
                    <a:pt x="690812" y="2859461"/>
                  </a:cubicBezTo>
                  <a:cubicBezTo>
                    <a:pt x="645217" y="2795229"/>
                    <a:pt x="602674" y="2729596"/>
                    <a:pt x="562397" y="2662976"/>
                  </a:cubicBezTo>
                  <a:cubicBezTo>
                    <a:pt x="541823" y="2629295"/>
                    <a:pt x="522992" y="2597755"/>
                    <a:pt x="502504" y="2565474"/>
                  </a:cubicBezTo>
                  <a:cubicBezTo>
                    <a:pt x="482192" y="2533440"/>
                    <a:pt x="461530" y="2501406"/>
                    <a:pt x="440258" y="2469619"/>
                  </a:cubicBezTo>
                  <a:lnTo>
                    <a:pt x="310360" y="2278732"/>
                  </a:lnTo>
                  <a:cubicBezTo>
                    <a:pt x="288826" y="2246616"/>
                    <a:pt x="267555" y="2214335"/>
                    <a:pt x="246806" y="2181642"/>
                  </a:cubicBezTo>
                  <a:cubicBezTo>
                    <a:pt x="226057" y="2148949"/>
                    <a:pt x="205483" y="2116174"/>
                    <a:pt x="186303" y="2082411"/>
                  </a:cubicBezTo>
                  <a:cubicBezTo>
                    <a:pt x="147857" y="2015213"/>
                    <a:pt x="112550" y="1946041"/>
                    <a:pt x="84390" y="1874231"/>
                  </a:cubicBezTo>
                  <a:cubicBezTo>
                    <a:pt x="55708" y="1802669"/>
                    <a:pt x="34436" y="1728473"/>
                    <a:pt x="20139" y="1653288"/>
                  </a:cubicBezTo>
                  <a:cubicBezTo>
                    <a:pt x="6452" y="1578103"/>
                    <a:pt x="0" y="1501764"/>
                    <a:pt x="0" y="1425590"/>
                  </a:cubicBezTo>
                  <a:cubicBezTo>
                    <a:pt x="1133" y="1121885"/>
                    <a:pt x="63293" y="819004"/>
                    <a:pt x="179939" y="533498"/>
                  </a:cubicBezTo>
                  <a:cubicBezTo>
                    <a:pt x="209232" y="462183"/>
                    <a:pt x="240965" y="391527"/>
                    <a:pt x="276709" y="322519"/>
                  </a:cubicBezTo>
                  <a:cubicBezTo>
                    <a:pt x="311930" y="253262"/>
                    <a:pt x="350725" y="185489"/>
                    <a:pt x="392571" y="11928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 name="Freeform: Shape 19">
              <a:extLst>
                <a:ext uri="{FF2B5EF4-FFF2-40B4-BE49-F238E27FC236}">
                  <a16:creationId xmlns:a16="http://schemas.microsoft.com/office/drawing/2014/main" id="{58E67742-7BE5-458C-BC8D-9EE8557636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362838" y="1"/>
              <a:ext cx="4960548" cy="3526297"/>
            </a:xfrm>
            <a:custGeom>
              <a:avLst/>
              <a:gdLst>
                <a:gd name="connsiteX0" fmla="*/ 542883 w 4960548"/>
                <a:gd name="connsiteY0" fmla="*/ 0 h 3526297"/>
                <a:gd name="connsiteX1" fmla="*/ 826658 w 4960548"/>
                <a:gd name="connsiteY1" fmla="*/ 0 h 3526297"/>
                <a:gd name="connsiteX2" fmla="*/ 730698 w 4960548"/>
                <a:gd name="connsiteY2" fmla="*/ 89329 h 3526297"/>
                <a:gd name="connsiteX3" fmla="*/ 590295 w 4960548"/>
                <a:gd name="connsiteY3" fmla="*/ 244485 h 3526297"/>
                <a:gd name="connsiteX4" fmla="*/ 357524 w 4960548"/>
                <a:gd name="connsiteY4" fmla="*/ 587307 h 3526297"/>
                <a:gd name="connsiteX5" fmla="*/ 199554 w 4960548"/>
                <a:gd name="connsiteY5" fmla="*/ 966280 h 3526297"/>
                <a:gd name="connsiteX6" fmla="*/ 142104 w 4960548"/>
                <a:gd name="connsiteY6" fmla="*/ 1370286 h 3526297"/>
                <a:gd name="connsiteX7" fmla="*/ 166339 w 4960548"/>
                <a:gd name="connsiteY7" fmla="*/ 1568090 h 3526297"/>
                <a:gd name="connsiteX8" fmla="*/ 237914 w 4960548"/>
                <a:gd name="connsiteY8" fmla="*/ 1753129 h 3526297"/>
                <a:gd name="connsiteX9" fmla="*/ 287868 w 4960548"/>
                <a:gd name="connsiteY9" fmla="*/ 1840255 h 3526297"/>
                <a:gd name="connsiteX10" fmla="*/ 345232 w 4960548"/>
                <a:gd name="connsiteY10" fmla="*/ 1924581 h 3526297"/>
                <a:gd name="connsiteX11" fmla="*/ 477745 w 4960548"/>
                <a:gd name="connsiteY11" fmla="*/ 2087551 h 3526297"/>
                <a:gd name="connsiteX12" fmla="*/ 621156 w 4960548"/>
                <a:gd name="connsiteY12" fmla="*/ 2251756 h 3526297"/>
                <a:gd name="connsiteX13" fmla="*/ 692469 w 4960548"/>
                <a:gd name="connsiteY13" fmla="*/ 2337482 h 3526297"/>
                <a:gd name="connsiteX14" fmla="*/ 726731 w 4960548"/>
                <a:gd name="connsiteY14" fmla="*/ 2379562 h 3526297"/>
                <a:gd name="connsiteX15" fmla="*/ 760295 w 4960548"/>
                <a:gd name="connsiteY15" fmla="*/ 2419831 h 3526297"/>
                <a:gd name="connsiteX16" fmla="*/ 1048685 w 4960548"/>
                <a:gd name="connsiteY16" fmla="*/ 2717443 h 3526297"/>
                <a:gd name="connsiteX17" fmla="*/ 1202035 w 4960548"/>
                <a:gd name="connsiteY17" fmla="*/ 2851344 h 3526297"/>
                <a:gd name="connsiteX18" fmla="*/ 1362620 w 4960548"/>
                <a:gd name="connsiteY18" fmla="*/ 2974785 h 3526297"/>
                <a:gd name="connsiteX19" fmla="*/ 1721364 w 4960548"/>
                <a:gd name="connsiteY19" fmla="*/ 3170036 h 3526297"/>
                <a:gd name="connsiteX20" fmla="*/ 1922052 w 4960548"/>
                <a:gd name="connsiteY20" fmla="*/ 3225210 h 3526297"/>
                <a:gd name="connsiteX21" fmla="*/ 1973488 w 4960548"/>
                <a:gd name="connsiteY21" fmla="*/ 3234928 h 3526297"/>
                <a:gd name="connsiteX22" fmla="*/ 2025360 w 4960548"/>
                <a:gd name="connsiteY22" fmla="*/ 3243080 h 3526297"/>
                <a:gd name="connsiteX23" fmla="*/ 2130063 w 4960548"/>
                <a:gd name="connsiteY23" fmla="*/ 3254774 h 3526297"/>
                <a:gd name="connsiteX24" fmla="*/ 2182719 w 4960548"/>
                <a:gd name="connsiteY24" fmla="*/ 3258562 h 3526297"/>
                <a:gd name="connsiteX25" fmla="*/ 2235551 w 4960548"/>
                <a:gd name="connsiteY25" fmla="*/ 3261197 h 3526297"/>
                <a:gd name="connsiteX26" fmla="*/ 2288556 w 4960548"/>
                <a:gd name="connsiteY26" fmla="*/ 3262350 h 3526297"/>
                <a:gd name="connsiteX27" fmla="*/ 2341648 w 4960548"/>
                <a:gd name="connsiteY27" fmla="*/ 3262103 h 3526297"/>
                <a:gd name="connsiteX28" fmla="*/ 2368238 w 4960548"/>
                <a:gd name="connsiteY28" fmla="*/ 3261856 h 3526297"/>
                <a:gd name="connsiteX29" fmla="*/ 2393869 w 4960548"/>
                <a:gd name="connsiteY29" fmla="*/ 3260785 h 3526297"/>
                <a:gd name="connsiteX30" fmla="*/ 2419413 w 4960548"/>
                <a:gd name="connsiteY30" fmla="*/ 3259550 h 3526297"/>
                <a:gd name="connsiteX31" fmla="*/ 2444869 w 4960548"/>
                <a:gd name="connsiteY31" fmla="*/ 3257574 h 3526297"/>
                <a:gd name="connsiteX32" fmla="*/ 2545824 w 4960548"/>
                <a:gd name="connsiteY32" fmla="*/ 3245798 h 3526297"/>
                <a:gd name="connsiteX33" fmla="*/ 2930373 w 4960548"/>
                <a:gd name="connsiteY33" fmla="*/ 3126555 h 3526297"/>
                <a:gd name="connsiteX34" fmla="*/ 3285631 w 4960548"/>
                <a:gd name="connsiteY34" fmla="*/ 2917552 h 3526297"/>
                <a:gd name="connsiteX35" fmla="*/ 3371764 w 4960548"/>
                <a:gd name="connsiteY35" fmla="*/ 2856120 h 3526297"/>
                <a:gd name="connsiteX36" fmla="*/ 3457898 w 4960548"/>
                <a:gd name="connsiteY36" fmla="*/ 2792628 h 3526297"/>
                <a:gd name="connsiteX37" fmla="*/ 3632344 w 4960548"/>
                <a:gd name="connsiteY37" fmla="*/ 2660869 h 3526297"/>
                <a:gd name="connsiteX38" fmla="*/ 3990915 w 4960548"/>
                <a:gd name="connsiteY38" fmla="*/ 2405832 h 3526297"/>
                <a:gd name="connsiteX39" fmla="*/ 4324988 w 4960548"/>
                <a:gd name="connsiteY39" fmla="*/ 2152196 h 3526297"/>
                <a:gd name="connsiteX40" fmla="*/ 4592106 w 4960548"/>
                <a:gd name="connsiteY40" fmla="*/ 1861501 h 3526297"/>
                <a:gd name="connsiteX41" fmla="*/ 4683122 w 4960548"/>
                <a:gd name="connsiteY41" fmla="*/ 1692521 h 3526297"/>
                <a:gd name="connsiteX42" fmla="*/ 4738568 w 4960548"/>
                <a:gd name="connsiteY42" fmla="*/ 1507893 h 3526297"/>
                <a:gd name="connsiteX43" fmla="*/ 4753912 w 4960548"/>
                <a:gd name="connsiteY43" fmla="*/ 1411050 h 3526297"/>
                <a:gd name="connsiteX44" fmla="*/ 4756440 w 4960548"/>
                <a:gd name="connsiteY44" fmla="*/ 1386509 h 3526297"/>
                <a:gd name="connsiteX45" fmla="*/ 4758358 w 4960548"/>
                <a:gd name="connsiteY45" fmla="*/ 1361475 h 3526297"/>
                <a:gd name="connsiteX46" fmla="*/ 4761148 w 4960548"/>
                <a:gd name="connsiteY46" fmla="*/ 1309759 h 3526297"/>
                <a:gd name="connsiteX47" fmla="*/ 4756354 w 4960548"/>
                <a:gd name="connsiteY47" fmla="*/ 1102980 h 3526297"/>
                <a:gd name="connsiteX48" fmla="*/ 4725578 w 4960548"/>
                <a:gd name="connsiteY48" fmla="*/ 898753 h 3526297"/>
                <a:gd name="connsiteX49" fmla="*/ 4673358 w 4960548"/>
                <a:gd name="connsiteY49" fmla="*/ 699384 h 3526297"/>
                <a:gd name="connsiteX50" fmla="*/ 4538491 w 4960548"/>
                <a:gd name="connsiteY50" fmla="*/ 312754 h 3526297"/>
                <a:gd name="connsiteX51" fmla="*/ 4446604 w 4960548"/>
                <a:gd name="connsiteY51" fmla="*/ 129196 h 3526297"/>
                <a:gd name="connsiteX52" fmla="*/ 4419840 w 4960548"/>
                <a:gd name="connsiteY52" fmla="*/ 85222 h 3526297"/>
                <a:gd name="connsiteX53" fmla="*/ 4391680 w 4960548"/>
                <a:gd name="connsiteY53" fmla="*/ 42071 h 3526297"/>
                <a:gd name="connsiteX54" fmla="*/ 4361930 w 4960548"/>
                <a:gd name="connsiteY54" fmla="*/ 0 h 3526297"/>
                <a:gd name="connsiteX55" fmla="*/ 4588871 w 4960548"/>
                <a:gd name="connsiteY55" fmla="*/ 0 h 3526297"/>
                <a:gd name="connsiteX56" fmla="*/ 4613640 w 4960548"/>
                <a:gd name="connsiteY56" fmla="*/ 38859 h 3526297"/>
                <a:gd name="connsiteX57" fmla="*/ 4724445 w 4960548"/>
                <a:gd name="connsiteY57" fmla="*/ 234687 h 3526297"/>
                <a:gd name="connsiteX58" fmla="*/ 4876138 w 4960548"/>
                <a:gd name="connsiteY58" fmla="*/ 653022 h 3526297"/>
                <a:gd name="connsiteX59" fmla="*/ 4911707 w 4960548"/>
                <a:gd name="connsiteY59" fmla="*/ 870671 h 3526297"/>
                <a:gd name="connsiteX60" fmla="*/ 4934810 w 4960548"/>
                <a:gd name="connsiteY60" fmla="*/ 1088487 h 3526297"/>
                <a:gd name="connsiteX61" fmla="*/ 4953206 w 4960548"/>
                <a:gd name="connsiteY61" fmla="*/ 1306301 h 3526297"/>
                <a:gd name="connsiteX62" fmla="*/ 4956954 w 4960548"/>
                <a:gd name="connsiteY62" fmla="*/ 1360899 h 3526297"/>
                <a:gd name="connsiteX63" fmla="*/ 4958610 w 4960548"/>
                <a:gd name="connsiteY63" fmla="*/ 1388980 h 3526297"/>
                <a:gd name="connsiteX64" fmla="*/ 4959830 w 4960548"/>
                <a:gd name="connsiteY64" fmla="*/ 1417555 h 3526297"/>
                <a:gd name="connsiteX65" fmla="*/ 4958174 w 4960548"/>
                <a:gd name="connsiteY65" fmla="*/ 1532680 h 3526297"/>
                <a:gd name="connsiteX66" fmla="*/ 4834030 w 4960548"/>
                <a:gd name="connsiteY66" fmla="*/ 1984861 h 3526297"/>
                <a:gd name="connsiteX67" fmla="*/ 4558106 w 4960548"/>
                <a:gd name="connsiteY67" fmla="*/ 2368857 h 3526297"/>
                <a:gd name="connsiteX68" fmla="*/ 4389936 w 4960548"/>
                <a:gd name="connsiteY68" fmla="*/ 2528945 h 3526297"/>
                <a:gd name="connsiteX69" fmla="*/ 4214618 w 4960548"/>
                <a:gd name="connsiteY69" fmla="*/ 2674457 h 3526297"/>
                <a:gd name="connsiteX70" fmla="*/ 3858489 w 4960548"/>
                <a:gd name="connsiteY70" fmla="*/ 2936658 h 3526297"/>
                <a:gd name="connsiteX71" fmla="*/ 3768868 w 4960548"/>
                <a:gd name="connsiteY71" fmla="*/ 3000643 h 3526297"/>
                <a:gd name="connsiteX72" fmla="*/ 3676806 w 4960548"/>
                <a:gd name="connsiteY72" fmla="*/ 3065040 h 3526297"/>
                <a:gd name="connsiteX73" fmla="*/ 3582477 w 4960548"/>
                <a:gd name="connsiteY73" fmla="*/ 3128614 h 3526297"/>
                <a:gd name="connsiteX74" fmla="*/ 3485185 w 4960548"/>
                <a:gd name="connsiteY74" fmla="*/ 3190377 h 3526297"/>
                <a:gd name="connsiteX75" fmla="*/ 3280923 w 4960548"/>
                <a:gd name="connsiteY75" fmla="*/ 3306325 h 3526297"/>
                <a:gd name="connsiteX76" fmla="*/ 3061230 w 4960548"/>
                <a:gd name="connsiteY76" fmla="*/ 3404897 h 3526297"/>
                <a:gd name="connsiteX77" fmla="*/ 2583137 w 4960548"/>
                <a:gd name="connsiteY77" fmla="*/ 3518292 h 3526297"/>
                <a:gd name="connsiteX78" fmla="*/ 2460038 w 4960548"/>
                <a:gd name="connsiteY78" fmla="*/ 3525622 h 3526297"/>
                <a:gd name="connsiteX79" fmla="*/ 2429264 w 4960548"/>
                <a:gd name="connsiteY79" fmla="*/ 3526280 h 3526297"/>
                <a:gd name="connsiteX80" fmla="*/ 2398576 w 4960548"/>
                <a:gd name="connsiteY80" fmla="*/ 3526116 h 3526297"/>
                <a:gd name="connsiteX81" fmla="*/ 2367977 w 4960548"/>
                <a:gd name="connsiteY81" fmla="*/ 3525786 h 3526297"/>
                <a:gd name="connsiteX82" fmla="*/ 2338249 w 4960548"/>
                <a:gd name="connsiteY82" fmla="*/ 3524716 h 3526297"/>
                <a:gd name="connsiteX83" fmla="*/ 2100770 w 4960548"/>
                <a:gd name="connsiteY83" fmla="*/ 3506845 h 3526297"/>
                <a:gd name="connsiteX84" fmla="*/ 1864776 w 4960548"/>
                <a:gd name="connsiteY84" fmla="*/ 3467483 h 3526297"/>
                <a:gd name="connsiteX85" fmla="*/ 1632964 w 4960548"/>
                <a:gd name="connsiteY85" fmla="*/ 3405803 h 3526297"/>
                <a:gd name="connsiteX86" fmla="*/ 1189219 w 4960548"/>
                <a:gd name="connsiteY86" fmla="*/ 3220352 h 3526297"/>
                <a:gd name="connsiteX87" fmla="*/ 815305 w 4960548"/>
                <a:gd name="connsiteY87" fmla="*/ 2931634 h 3526297"/>
                <a:gd name="connsiteX88" fmla="*/ 663699 w 4960548"/>
                <a:gd name="connsiteY88" fmla="*/ 2757877 h 3526297"/>
                <a:gd name="connsiteX89" fmla="*/ 531274 w 4960548"/>
                <a:gd name="connsiteY89" fmla="*/ 2573907 h 3526297"/>
                <a:gd name="connsiteX90" fmla="*/ 500325 w 4960548"/>
                <a:gd name="connsiteY90" fmla="*/ 2527051 h 3526297"/>
                <a:gd name="connsiteX91" fmla="*/ 470771 w 4960548"/>
                <a:gd name="connsiteY91" fmla="*/ 2481594 h 3526297"/>
                <a:gd name="connsiteX92" fmla="*/ 412448 w 4960548"/>
                <a:gd name="connsiteY92" fmla="*/ 2393479 h 3526297"/>
                <a:gd name="connsiteX93" fmla="*/ 291616 w 4960548"/>
                <a:gd name="connsiteY93" fmla="*/ 2213464 h 3526297"/>
                <a:gd name="connsiteX94" fmla="*/ 173662 w 4960548"/>
                <a:gd name="connsiteY94" fmla="*/ 2023154 h 3526297"/>
                <a:gd name="connsiteX95" fmla="*/ 120483 w 4960548"/>
                <a:gd name="connsiteY95" fmla="*/ 1922276 h 3526297"/>
                <a:gd name="connsiteX96" fmla="*/ 75324 w 4960548"/>
                <a:gd name="connsiteY96" fmla="*/ 1816703 h 3526297"/>
                <a:gd name="connsiteX97" fmla="*/ 40713 w 4960548"/>
                <a:gd name="connsiteY97" fmla="*/ 1707179 h 3526297"/>
                <a:gd name="connsiteX98" fmla="*/ 27811 w 4960548"/>
                <a:gd name="connsiteY98" fmla="*/ 1651346 h 3526297"/>
                <a:gd name="connsiteX99" fmla="*/ 22144 w 4960548"/>
                <a:gd name="connsiteY99" fmla="*/ 1623346 h 3526297"/>
                <a:gd name="connsiteX100" fmla="*/ 17436 w 4960548"/>
                <a:gd name="connsiteY100" fmla="*/ 1595265 h 3526297"/>
                <a:gd name="connsiteX101" fmla="*/ 0 w 4960548"/>
                <a:gd name="connsiteY101" fmla="*/ 1370286 h 3526297"/>
                <a:gd name="connsiteX102" fmla="*/ 48385 w 4960548"/>
                <a:gd name="connsiteY102" fmla="*/ 931939 h 3526297"/>
                <a:gd name="connsiteX103" fmla="*/ 193801 w 4960548"/>
                <a:gd name="connsiteY103" fmla="*/ 511957 h 3526297"/>
                <a:gd name="connsiteX104" fmla="*/ 431660 w 4960548"/>
                <a:gd name="connsiteY104" fmla="*/ 131379 h 3526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960548" h="3526297">
                  <a:moveTo>
                    <a:pt x="542883" y="0"/>
                  </a:moveTo>
                  <a:lnTo>
                    <a:pt x="826658" y="0"/>
                  </a:lnTo>
                  <a:lnTo>
                    <a:pt x="730698" y="89329"/>
                  </a:lnTo>
                  <a:cubicBezTo>
                    <a:pt x="681528" y="139120"/>
                    <a:pt x="634626" y="190876"/>
                    <a:pt x="590295" y="244485"/>
                  </a:cubicBezTo>
                  <a:cubicBezTo>
                    <a:pt x="501458" y="351540"/>
                    <a:pt x="423083" y="466336"/>
                    <a:pt x="357524" y="587307"/>
                  </a:cubicBezTo>
                  <a:cubicBezTo>
                    <a:pt x="291965" y="708196"/>
                    <a:pt x="237391" y="834767"/>
                    <a:pt x="199554" y="966280"/>
                  </a:cubicBezTo>
                  <a:cubicBezTo>
                    <a:pt x="161632" y="1097463"/>
                    <a:pt x="142016" y="1233833"/>
                    <a:pt x="142104" y="1370286"/>
                  </a:cubicBezTo>
                  <a:cubicBezTo>
                    <a:pt x="142888" y="1437319"/>
                    <a:pt x="149862" y="1503858"/>
                    <a:pt x="166339" y="1568090"/>
                  </a:cubicBezTo>
                  <a:cubicBezTo>
                    <a:pt x="182555" y="1632405"/>
                    <a:pt x="207750" y="1693921"/>
                    <a:pt x="237914" y="1753129"/>
                  </a:cubicBezTo>
                  <a:cubicBezTo>
                    <a:pt x="253170" y="1782693"/>
                    <a:pt x="270084" y="1811680"/>
                    <a:pt x="287868" y="1840255"/>
                  </a:cubicBezTo>
                  <a:cubicBezTo>
                    <a:pt x="305914" y="1868748"/>
                    <a:pt x="325181" y="1896830"/>
                    <a:pt x="345232" y="1924581"/>
                  </a:cubicBezTo>
                  <a:cubicBezTo>
                    <a:pt x="385858" y="1979920"/>
                    <a:pt x="431017" y="2033612"/>
                    <a:pt x="477745" y="2087551"/>
                  </a:cubicBezTo>
                  <a:cubicBezTo>
                    <a:pt x="524474" y="2141573"/>
                    <a:pt x="573294" y="2195594"/>
                    <a:pt x="621156" y="2251756"/>
                  </a:cubicBezTo>
                  <a:cubicBezTo>
                    <a:pt x="645130" y="2279755"/>
                    <a:pt x="668843" y="2308412"/>
                    <a:pt x="692469" y="2337482"/>
                  </a:cubicBezTo>
                  <a:lnTo>
                    <a:pt x="726731" y="2379562"/>
                  </a:lnTo>
                  <a:cubicBezTo>
                    <a:pt x="737977" y="2392986"/>
                    <a:pt x="748700" y="2406738"/>
                    <a:pt x="760295" y="2419831"/>
                  </a:cubicBezTo>
                  <a:cubicBezTo>
                    <a:pt x="850788" y="2526392"/>
                    <a:pt x="948952" y="2624470"/>
                    <a:pt x="1048685" y="2717443"/>
                  </a:cubicBezTo>
                  <a:cubicBezTo>
                    <a:pt x="1098814" y="2763724"/>
                    <a:pt x="1149814" y="2808439"/>
                    <a:pt x="1202035" y="2851344"/>
                  </a:cubicBezTo>
                  <a:cubicBezTo>
                    <a:pt x="1254256" y="2894248"/>
                    <a:pt x="1307435" y="2935752"/>
                    <a:pt x="1362620" y="2974785"/>
                  </a:cubicBezTo>
                  <a:cubicBezTo>
                    <a:pt x="1472554" y="3053017"/>
                    <a:pt x="1591118" y="3122932"/>
                    <a:pt x="1721364" y="3170036"/>
                  </a:cubicBezTo>
                  <a:cubicBezTo>
                    <a:pt x="1786314" y="3193588"/>
                    <a:pt x="1853617" y="3211622"/>
                    <a:pt x="1922052" y="3225210"/>
                  </a:cubicBezTo>
                  <a:cubicBezTo>
                    <a:pt x="1939227" y="3228422"/>
                    <a:pt x="1956227" y="3232128"/>
                    <a:pt x="1973488" y="3234928"/>
                  </a:cubicBezTo>
                  <a:lnTo>
                    <a:pt x="2025360" y="3243080"/>
                  </a:lnTo>
                  <a:cubicBezTo>
                    <a:pt x="2060145" y="3247445"/>
                    <a:pt x="2094930" y="3252056"/>
                    <a:pt x="2130063" y="3254774"/>
                  </a:cubicBezTo>
                  <a:cubicBezTo>
                    <a:pt x="2147587" y="3256338"/>
                    <a:pt x="2165109" y="3257821"/>
                    <a:pt x="2182719" y="3258562"/>
                  </a:cubicBezTo>
                  <a:cubicBezTo>
                    <a:pt x="2200330" y="3259385"/>
                    <a:pt x="2217853" y="3260703"/>
                    <a:pt x="2235551" y="3261197"/>
                  </a:cubicBezTo>
                  <a:lnTo>
                    <a:pt x="2288556" y="3262350"/>
                  </a:lnTo>
                  <a:cubicBezTo>
                    <a:pt x="2306166" y="3262761"/>
                    <a:pt x="2323951" y="3262185"/>
                    <a:pt x="2341648" y="3262103"/>
                  </a:cubicBezTo>
                  <a:lnTo>
                    <a:pt x="2368238" y="3261856"/>
                  </a:lnTo>
                  <a:cubicBezTo>
                    <a:pt x="2376869" y="3261609"/>
                    <a:pt x="2385325" y="3261115"/>
                    <a:pt x="2393869" y="3260785"/>
                  </a:cubicBezTo>
                  <a:cubicBezTo>
                    <a:pt x="2402412" y="3260373"/>
                    <a:pt x="2410956" y="3260127"/>
                    <a:pt x="2419413" y="3259550"/>
                  </a:cubicBezTo>
                  <a:lnTo>
                    <a:pt x="2444869" y="3257574"/>
                  </a:lnTo>
                  <a:cubicBezTo>
                    <a:pt x="2478782" y="3255021"/>
                    <a:pt x="2512434" y="3250739"/>
                    <a:pt x="2545824" y="3245798"/>
                  </a:cubicBezTo>
                  <a:cubicBezTo>
                    <a:pt x="2679470" y="3224881"/>
                    <a:pt x="2807973" y="3183954"/>
                    <a:pt x="2930373" y="3126555"/>
                  </a:cubicBezTo>
                  <a:cubicBezTo>
                    <a:pt x="3053210" y="3069817"/>
                    <a:pt x="3170118" y="2997184"/>
                    <a:pt x="3285631" y="2917552"/>
                  </a:cubicBezTo>
                  <a:cubicBezTo>
                    <a:pt x="3314487" y="2897706"/>
                    <a:pt x="3343169" y="2876954"/>
                    <a:pt x="3371764" y="2856120"/>
                  </a:cubicBezTo>
                  <a:cubicBezTo>
                    <a:pt x="3400534" y="2835285"/>
                    <a:pt x="3429216" y="2814121"/>
                    <a:pt x="3457898" y="2792628"/>
                  </a:cubicBezTo>
                  <a:lnTo>
                    <a:pt x="3632344" y="2660869"/>
                  </a:lnTo>
                  <a:cubicBezTo>
                    <a:pt x="3752043" y="2571190"/>
                    <a:pt x="3872873" y="2487687"/>
                    <a:pt x="3990915" y="2405832"/>
                  </a:cubicBezTo>
                  <a:cubicBezTo>
                    <a:pt x="4108869" y="2323976"/>
                    <a:pt x="4222378" y="2241297"/>
                    <a:pt x="4324988" y="2152196"/>
                  </a:cubicBezTo>
                  <a:cubicBezTo>
                    <a:pt x="4427598" y="2063258"/>
                    <a:pt x="4520270" y="1968474"/>
                    <a:pt x="4592106" y="1861501"/>
                  </a:cubicBezTo>
                  <a:cubicBezTo>
                    <a:pt x="4628024" y="1808057"/>
                    <a:pt x="4658712" y="1751730"/>
                    <a:pt x="4683122" y="1692521"/>
                  </a:cubicBezTo>
                  <a:cubicBezTo>
                    <a:pt x="4707706" y="1633393"/>
                    <a:pt x="4725404" y="1571467"/>
                    <a:pt x="4738568" y="1507893"/>
                  </a:cubicBezTo>
                  <a:cubicBezTo>
                    <a:pt x="4745106" y="1476106"/>
                    <a:pt x="4750338" y="1443742"/>
                    <a:pt x="4753912" y="1411050"/>
                  </a:cubicBezTo>
                  <a:cubicBezTo>
                    <a:pt x="4754958" y="1402897"/>
                    <a:pt x="4755656" y="1394662"/>
                    <a:pt x="4756440" y="1386509"/>
                  </a:cubicBezTo>
                  <a:cubicBezTo>
                    <a:pt x="4757138" y="1378274"/>
                    <a:pt x="4758010" y="1370204"/>
                    <a:pt x="4758358" y="1361475"/>
                  </a:cubicBezTo>
                  <a:lnTo>
                    <a:pt x="4761148" y="1309759"/>
                  </a:lnTo>
                  <a:cubicBezTo>
                    <a:pt x="4763676" y="1240751"/>
                    <a:pt x="4762106" y="1171659"/>
                    <a:pt x="4756354" y="1102980"/>
                  </a:cubicBezTo>
                  <a:cubicBezTo>
                    <a:pt x="4750774" y="1034218"/>
                    <a:pt x="4740050" y="966033"/>
                    <a:pt x="4725578" y="898753"/>
                  </a:cubicBezTo>
                  <a:cubicBezTo>
                    <a:pt x="4710932" y="831473"/>
                    <a:pt x="4692624" y="765100"/>
                    <a:pt x="4673358" y="699384"/>
                  </a:cubicBezTo>
                  <a:cubicBezTo>
                    <a:pt x="4634912" y="568037"/>
                    <a:pt x="4592456" y="438419"/>
                    <a:pt x="4538491" y="312754"/>
                  </a:cubicBezTo>
                  <a:cubicBezTo>
                    <a:pt x="4511464" y="250003"/>
                    <a:pt x="4481301" y="188406"/>
                    <a:pt x="4446604" y="129196"/>
                  </a:cubicBezTo>
                  <a:cubicBezTo>
                    <a:pt x="4438147" y="114291"/>
                    <a:pt x="4428819" y="99798"/>
                    <a:pt x="4419840" y="85222"/>
                  </a:cubicBezTo>
                  <a:cubicBezTo>
                    <a:pt x="4410598" y="70728"/>
                    <a:pt x="4401008" y="56482"/>
                    <a:pt x="4391680" y="42071"/>
                  </a:cubicBezTo>
                  <a:lnTo>
                    <a:pt x="4361930" y="0"/>
                  </a:lnTo>
                  <a:lnTo>
                    <a:pt x="4588871" y="0"/>
                  </a:lnTo>
                  <a:lnTo>
                    <a:pt x="4613640" y="38859"/>
                  </a:lnTo>
                  <a:cubicBezTo>
                    <a:pt x="4653306" y="102762"/>
                    <a:pt x="4690706" y="167901"/>
                    <a:pt x="4724445" y="234687"/>
                  </a:cubicBezTo>
                  <a:cubicBezTo>
                    <a:pt x="4792096" y="368257"/>
                    <a:pt x="4844230" y="508828"/>
                    <a:pt x="4876138" y="653022"/>
                  </a:cubicBezTo>
                  <a:cubicBezTo>
                    <a:pt x="4892005" y="725161"/>
                    <a:pt x="4903077" y="797874"/>
                    <a:pt x="4911707" y="870671"/>
                  </a:cubicBezTo>
                  <a:cubicBezTo>
                    <a:pt x="4920513" y="943386"/>
                    <a:pt x="4927574" y="1016019"/>
                    <a:pt x="4934810" y="1088487"/>
                  </a:cubicBezTo>
                  <a:cubicBezTo>
                    <a:pt x="4941697" y="1161036"/>
                    <a:pt x="4947799" y="1233586"/>
                    <a:pt x="4953206" y="1306301"/>
                  </a:cubicBezTo>
                  <a:lnTo>
                    <a:pt x="4956954" y="1360899"/>
                  </a:lnTo>
                  <a:cubicBezTo>
                    <a:pt x="4957651" y="1369875"/>
                    <a:pt x="4958087" y="1379510"/>
                    <a:pt x="4958610" y="1388980"/>
                  </a:cubicBezTo>
                  <a:cubicBezTo>
                    <a:pt x="4959133" y="1398450"/>
                    <a:pt x="4959656" y="1408003"/>
                    <a:pt x="4959830" y="1417555"/>
                  </a:cubicBezTo>
                  <a:cubicBezTo>
                    <a:pt x="4961138" y="1455683"/>
                    <a:pt x="4960702" y="1494140"/>
                    <a:pt x="4958174" y="1532680"/>
                  </a:cubicBezTo>
                  <a:cubicBezTo>
                    <a:pt x="4948760" y="1686920"/>
                    <a:pt x="4904908" y="1842314"/>
                    <a:pt x="4834030" y="1984861"/>
                  </a:cubicBezTo>
                  <a:cubicBezTo>
                    <a:pt x="4763328" y="2127820"/>
                    <a:pt x="4665860" y="2256121"/>
                    <a:pt x="4558106" y="2368857"/>
                  </a:cubicBezTo>
                  <a:cubicBezTo>
                    <a:pt x="4504230" y="2425432"/>
                    <a:pt x="4447650" y="2478465"/>
                    <a:pt x="4389936" y="2528945"/>
                  </a:cubicBezTo>
                  <a:cubicBezTo>
                    <a:pt x="4332223" y="2579425"/>
                    <a:pt x="4273726" y="2628011"/>
                    <a:pt x="4214618" y="2674457"/>
                  </a:cubicBezTo>
                  <a:cubicBezTo>
                    <a:pt x="4096664" y="2767759"/>
                    <a:pt x="3976094" y="2852826"/>
                    <a:pt x="3858489" y="2936658"/>
                  </a:cubicBezTo>
                  <a:lnTo>
                    <a:pt x="3768868" y="3000643"/>
                  </a:lnTo>
                  <a:cubicBezTo>
                    <a:pt x="3738530" y="3022136"/>
                    <a:pt x="3707929" y="3043794"/>
                    <a:pt x="3676806" y="3065040"/>
                  </a:cubicBezTo>
                  <a:cubicBezTo>
                    <a:pt x="3645770" y="3086369"/>
                    <a:pt x="3614386" y="3107615"/>
                    <a:pt x="3582477" y="3128614"/>
                  </a:cubicBezTo>
                  <a:cubicBezTo>
                    <a:pt x="3550483" y="3149449"/>
                    <a:pt x="3518226" y="3170118"/>
                    <a:pt x="3485185" y="3190377"/>
                  </a:cubicBezTo>
                  <a:cubicBezTo>
                    <a:pt x="3419452" y="3230975"/>
                    <a:pt x="3351625" y="3270338"/>
                    <a:pt x="3280923" y="3306325"/>
                  </a:cubicBezTo>
                  <a:cubicBezTo>
                    <a:pt x="3210307" y="3342476"/>
                    <a:pt x="3137251" y="3376074"/>
                    <a:pt x="3061230" y="3404897"/>
                  </a:cubicBezTo>
                  <a:cubicBezTo>
                    <a:pt x="2909886" y="3463366"/>
                    <a:pt x="2747295" y="3502810"/>
                    <a:pt x="2583137" y="3518292"/>
                  </a:cubicBezTo>
                  <a:cubicBezTo>
                    <a:pt x="2542075" y="3521999"/>
                    <a:pt x="2501013" y="3524798"/>
                    <a:pt x="2460038" y="3525622"/>
                  </a:cubicBezTo>
                  <a:lnTo>
                    <a:pt x="2429264" y="3526280"/>
                  </a:lnTo>
                  <a:cubicBezTo>
                    <a:pt x="2419064" y="3526363"/>
                    <a:pt x="2408777" y="3526116"/>
                    <a:pt x="2398576" y="3526116"/>
                  </a:cubicBezTo>
                  <a:lnTo>
                    <a:pt x="2367977" y="3525786"/>
                  </a:lnTo>
                  <a:lnTo>
                    <a:pt x="2338249" y="3524716"/>
                  </a:lnTo>
                  <a:cubicBezTo>
                    <a:pt x="2259089" y="3522327"/>
                    <a:pt x="2179756" y="3516399"/>
                    <a:pt x="2100770" y="3506845"/>
                  </a:cubicBezTo>
                  <a:cubicBezTo>
                    <a:pt x="2021699" y="3497787"/>
                    <a:pt x="1942801" y="3484776"/>
                    <a:pt x="1864776" y="3467483"/>
                  </a:cubicBezTo>
                  <a:cubicBezTo>
                    <a:pt x="1786836" y="3450025"/>
                    <a:pt x="1709508" y="3429355"/>
                    <a:pt x="1632964" y="3405803"/>
                  </a:cubicBezTo>
                  <a:cubicBezTo>
                    <a:pt x="1480138" y="3358288"/>
                    <a:pt x="1329055" y="3299160"/>
                    <a:pt x="1189219" y="3220352"/>
                  </a:cubicBezTo>
                  <a:cubicBezTo>
                    <a:pt x="1049296" y="3141708"/>
                    <a:pt x="924367" y="3041982"/>
                    <a:pt x="815305" y="2931634"/>
                  </a:cubicBezTo>
                  <a:cubicBezTo>
                    <a:pt x="760469" y="2876542"/>
                    <a:pt x="710603" y="2817909"/>
                    <a:pt x="663699" y="2757877"/>
                  </a:cubicBezTo>
                  <a:cubicBezTo>
                    <a:pt x="617059" y="2697597"/>
                    <a:pt x="572684" y="2636411"/>
                    <a:pt x="531274" y="2573907"/>
                  </a:cubicBezTo>
                  <a:cubicBezTo>
                    <a:pt x="520638" y="2558426"/>
                    <a:pt x="510612" y="2542697"/>
                    <a:pt x="500325" y="2527051"/>
                  </a:cubicBezTo>
                  <a:lnTo>
                    <a:pt x="470771" y="2481594"/>
                  </a:lnTo>
                  <a:cubicBezTo>
                    <a:pt x="451853" y="2452195"/>
                    <a:pt x="432238" y="2423043"/>
                    <a:pt x="412448" y="2393479"/>
                  </a:cubicBezTo>
                  <a:lnTo>
                    <a:pt x="291616" y="2213464"/>
                  </a:lnTo>
                  <a:cubicBezTo>
                    <a:pt x="251078" y="2152113"/>
                    <a:pt x="211062" y="2088951"/>
                    <a:pt x="173662" y="2023154"/>
                  </a:cubicBezTo>
                  <a:cubicBezTo>
                    <a:pt x="155005" y="1990214"/>
                    <a:pt x="136960" y="1956697"/>
                    <a:pt x="120483" y="1922276"/>
                  </a:cubicBezTo>
                  <a:cubicBezTo>
                    <a:pt x="104093" y="1887771"/>
                    <a:pt x="88837" y="1852608"/>
                    <a:pt x="75324" y="1816703"/>
                  </a:cubicBezTo>
                  <a:cubicBezTo>
                    <a:pt x="62072" y="1780717"/>
                    <a:pt x="50303" y="1744235"/>
                    <a:pt x="40713" y="1707179"/>
                  </a:cubicBezTo>
                  <a:cubicBezTo>
                    <a:pt x="36180" y="1688650"/>
                    <a:pt x="31560" y="1670039"/>
                    <a:pt x="27811" y="1651346"/>
                  </a:cubicBezTo>
                  <a:lnTo>
                    <a:pt x="22144" y="1623346"/>
                  </a:lnTo>
                  <a:lnTo>
                    <a:pt x="17436" y="1595265"/>
                  </a:lnTo>
                  <a:cubicBezTo>
                    <a:pt x="5144" y="1520328"/>
                    <a:pt x="0" y="1444978"/>
                    <a:pt x="0" y="1370286"/>
                  </a:cubicBezTo>
                  <a:cubicBezTo>
                    <a:pt x="349" y="1223293"/>
                    <a:pt x="16652" y="1076299"/>
                    <a:pt x="48385" y="931939"/>
                  </a:cubicBezTo>
                  <a:cubicBezTo>
                    <a:pt x="80032" y="787663"/>
                    <a:pt x="128504" y="646187"/>
                    <a:pt x="193801" y="511957"/>
                  </a:cubicBezTo>
                  <a:cubicBezTo>
                    <a:pt x="259404" y="377727"/>
                    <a:pt x="339740" y="250559"/>
                    <a:pt x="431660" y="13137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1" name="Freeform: Shape 20">
              <a:extLst>
                <a:ext uri="{FF2B5EF4-FFF2-40B4-BE49-F238E27FC236}">
                  <a16:creationId xmlns:a16="http://schemas.microsoft.com/office/drawing/2014/main" id="{EB03BE98-6C07-41CD-ACA9-5244A3DA10B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361928" y="0"/>
              <a:ext cx="4934374" cy="3484134"/>
            </a:xfrm>
            <a:custGeom>
              <a:avLst/>
              <a:gdLst>
                <a:gd name="connsiteX0" fmla="*/ 585303 w 4934374"/>
                <a:gd name="connsiteY0" fmla="*/ 0 h 3484134"/>
                <a:gd name="connsiteX1" fmla="*/ 1213739 w 4934374"/>
                <a:gd name="connsiteY1" fmla="*/ 0 h 3484134"/>
                <a:gd name="connsiteX2" fmla="*/ 1150162 w 4934374"/>
                <a:gd name="connsiteY2" fmla="*/ 47028 h 3484134"/>
                <a:gd name="connsiteX3" fmla="*/ 626038 w 4934374"/>
                <a:gd name="connsiteY3" fmla="*/ 660944 h 3484134"/>
                <a:gd name="connsiteX4" fmla="*/ 435986 w 4934374"/>
                <a:gd name="connsiteY4" fmla="*/ 1375409 h 3484134"/>
                <a:gd name="connsiteX5" fmla="*/ 750530 w 4934374"/>
                <a:gd name="connsiteY5" fmla="*/ 2038817 h 3484134"/>
                <a:gd name="connsiteX6" fmla="*/ 909024 w 4934374"/>
                <a:gd name="connsiteY6" fmla="*/ 2249384 h 3484134"/>
                <a:gd name="connsiteX7" fmla="*/ 2396223 w 4934374"/>
                <a:gd name="connsiteY7" fmla="*/ 3072468 h 3484134"/>
                <a:gd name="connsiteX8" fmla="*/ 3525201 w 4934374"/>
                <a:gd name="connsiteY8" fmla="*/ 2566101 h 3484134"/>
                <a:gd name="connsiteX9" fmla="*/ 3662596 w 4934374"/>
                <a:gd name="connsiteY9" fmla="*/ 2465552 h 3484134"/>
                <a:gd name="connsiteX10" fmla="*/ 4287500 w 4934374"/>
                <a:gd name="connsiteY10" fmla="*/ 1939915 h 3484134"/>
                <a:gd name="connsiteX11" fmla="*/ 4498563 w 4934374"/>
                <a:gd name="connsiteY11" fmla="*/ 1375409 h 3484134"/>
                <a:gd name="connsiteX12" fmla="*/ 4132831 w 4934374"/>
                <a:gd name="connsiteY12" fmla="*/ 134540 h 3484134"/>
                <a:gd name="connsiteX13" fmla="*/ 4025590 w 4934374"/>
                <a:gd name="connsiteY13" fmla="*/ 0 h 3484134"/>
                <a:gd name="connsiteX14" fmla="*/ 4555675 w 4934374"/>
                <a:gd name="connsiteY14" fmla="*/ 0 h 3484134"/>
                <a:gd name="connsiteX15" fmla="*/ 4605933 w 4934374"/>
                <a:gd name="connsiteY15" fmla="*/ 77740 h 3484134"/>
                <a:gd name="connsiteX16" fmla="*/ 4934374 w 4934374"/>
                <a:gd name="connsiteY16" fmla="*/ 1375327 h 3484134"/>
                <a:gd name="connsiteX17" fmla="*/ 3793540 w 4934374"/>
                <a:gd name="connsiteY17" fmla="*/ 2890475 h 3484134"/>
                <a:gd name="connsiteX18" fmla="*/ 2396135 w 4934374"/>
                <a:gd name="connsiteY18" fmla="*/ 3484134 h 3484134"/>
                <a:gd name="connsiteX19" fmla="*/ 548273 w 4934374"/>
                <a:gd name="connsiteY19" fmla="*/ 2480458 h 3484134"/>
                <a:gd name="connsiteX20" fmla="*/ 0 w 4934374"/>
                <a:gd name="connsiteY20" fmla="*/ 1375327 h 3484134"/>
                <a:gd name="connsiteX21" fmla="*/ 512166 w 4934374"/>
                <a:gd name="connsiteY21" fmla="*/ 77740 h 348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34374" h="3484134">
                  <a:moveTo>
                    <a:pt x="585303" y="0"/>
                  </a:moveTo>
                  <a:lnTo>
                    <a:pt x="1213739" y="0"/>
                  </a:lnTo>
                  <a:lnTo>
                    <a:pt x="1150162" y="47028"/>
                  </a:lnTo>
                  <a:cubicBezTo>
                    <a:pt x="925762" y="228608"/>
                    <a:pt x="749397" y="435224"/>
                    <a:pt x="626038" y="660944"/>
                  </a:cubicBezTo>
                  <a:cubicBezTo>
                    <a:pt x="499976" y="891687"/>
                    <a:pt x="435986" y="1132066"/>
                    <a:pt x="435986" y="1375409"/>
                  </a:cubicBezTo>
                  <a:cubicBezTo>
                    <a:pt x="435986" y="1620481"/>
                    <a:pt x="538074" y="1763604"/>
                    <a:pt x="750530" y="2038817"/>
                  </a:cubicBezTo>
                  <a:cubicBezTo>
                    <a:pt x="801792" y="2105190"/>
                    <a:pt x="854797" y="2173870"/>
                    <a:pt x="909024" y="2249384"/>
                  </a:cubicBezTo>
                  <a:cubicBezTo>
                    <a:pt x="1323389" y="2826326"/>
                    <a:pt x="1768180" y="3072468"/>
                    <a:pt x="2396223" y="3072468"/>
                  </a:cubicBezTo>
                  <a:cubicBezTo>
                    <a:pt x="2808409" y="3072468"/>
                    <a:pt x="3110835" y="2871947"/>
                    <a:pt x="3525201" y="2566101"/>
                  </a:cubicBezTo>
                  <a:cubicBezTo>
                    <a:pt x="3571493" y="2531926"/>
                    <a:pt x="3617786" y="2498162"/>
                    <a:pt x="3662596" y="2465552"/>
                  </a:cubicBezTo>
                  <a:cubicBezTo>
                    <a:pt x="3905479" y="2288583"/>
                    <a:pt x="4134849" y="2121414"/>
                    <a:pt x="4287500" y="1939915"/>
                  </a:cubicBezTo>
                  <a:cubicBezTo>
                    <a:pt x="4433440" y="1766404"/>
                    <a:pt x="4498563" y="1592317"/>
                    <a:pt x="4498563" y="1375409"/>
                  </a:cubicBezTo>
                  <a:cubicBezTo>
                    <a:pt x="4498563" y="899696"/>
                    <a:pt x="4369741" y="465973"/>
                    <a:pt x="4132831" y="134540"/>
                  </a:cubicBezTo>
                  <a:lnTo>
                    <a:pt x="4025590" y="0"/>
                  </a:lnTo>
                  <a:lnTo>
                    <a:pt x="4555675" y="0"/>
                  </a:lnTo>
                  <a:lnTo>
                    <a:pt x="4605933" y="77740"/>
                  </a:lnTo>
                  <a:cubicBezTo>
                    <a:pt x="4820335" y="448137"/>
                    <a:pt x="4934374" y="894662"/>
                    <a:pt x="4934374" y="1375327"/>
                  </a:cubicBezTo>
                  <a:cubicBezTo>
                    <a:pt x="4934374" y="2116884"/>
                    <a:pt x="4369100" y="2465635"/>
                    <a:pt x="3793540" y="2890475"/>
                  </a:cubicBezTo>
                  <a:cubicBezTo>
                    <a:pt x="3374293" y="3199945"/>
                    <a:pt x="2970389" y="3484134"/>
                    <a:pt x="2396135" y="3484134"/>
                  </a:cubicBezTo>
                  <a:cubicBezTo>
                    <a:pt x="1544564" y="3484134"/>
                    <a:pt x="991670" y="3097832"/>
                    <a:pt x="548273" y="2480458"/>
                  </a:cubicBezTo>
                  <a:cubicBezTo>
                    <a:pt x="282201" y="2110049"/>
                    <a:pt x="0" y="1856001"/>
                    <a:pt x="0" y="1375327"/>
                  </a:cubicBezTo>
                  <a:cubicBezTo>
                    <a:pt x="0" y="894662"/>
                    <a:pt x="195505" y="448137"/>
                    <a:pt x="512166" y="7774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 name="Freeform: Shape 21">
              <a:extLst>
                <a:ext uri="{FF2B5EF4-FFF2-40B4-BE49-F238E27FC236}">
                  <a16:creationId xmlns:a16="http://schemas.microsoft.com/office/drawing/2014/main" id="{D13CCE92-2C5E-48BC-9713-FBEEDBAE614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361928" y="0"/>
              <a:ext cx="4934374" cy="3484134"/>
            </a:xfrm>
            <a:custGeom>
              <a:avLst/>
              <a:gdLst>
                <a:gd name="connsiteX0" fmla="*/ 585303 w 4934374"/>
                <a:gd name="connsiteY0" fmla="*/ 0 h 3484134"/>
                <a:gd name="connsiteX1" fmla="*/ 1354934 w 4934374"/>
                <a:gd name="connsiteY1" fmla="*/ 0 h 3484134"/>
                <a:gd name="connsiteX2" fmla="*/ 1206830 w 4934374"/>
                <a:gd name="connsiteY2" fmla="*/ 109531 h 3484134"/>
                <a:gd name="connsiteX3" fmla="*/ 703453 w 4934374"/>
                <a:gd name="connsiteY3" fmla="*/ 698660 h 3484134"/>
                <a:gd name="connsiteX4" fmla="*/ 523079 w 4934374"/>
                <a:gd name="connsiteY4" fmla="*/ 1375409 h 3484134"/>
                <a:gd name="connsiteX5" fmla="*/ 820885 w 4934374"/>
                <a:gd name="connsiteY5" fmla="*/ 1990313 h 3484134"/>
                <a:gd name="connsiteX6" fmla="*/ 981122 w 4934374"/>
                <a:gd name="connsiteY6" fmla="*/ 2203186 h 3484134"/>
                <a:gd name="connsiteX7" fmla="*/ 1592426 w 4934374"/>
                <a:gd name="connsiteY7" fmla="*/ 2792645 h 3484134"/>
                <a:gd name="connsiteX8" fmla="*/ 2396135 w 4934374"/>
                <a:gd name="connsiteY8" fmla="*/ 2990119 h 3484134"/>
                <a:gd name="connsiteX9" fmla="*/ 2913112 w 4934374"/>
                <a:gd name="connsiteY9" fmla="*/ 2864371 h 3484134"/>
                <a:gd name="connsiteX10" fmla="*/ 3471411 w 4934374"/>
                <a:gd name="connsiteY10" fmla="*/ 2501292 h 3484134"/>
                <a:gd name="connsiteX11" fmla="*/ 3609242 w 4934374"/>
                <a:gd name="connsiteY11" fmla="*/ 2400414 h 3484134"/>
                <a:gd name="connsiteX12" fmla="*/ 4219151 w 4934374"/>
                <a:gd name="connsiteY12" fmla="*/ 1888693 h 3484134"/>
                <a:gd name="connsiteX13" fmla="*/ 4411296 w 4934374"/>
                <a:gd name="connsiteY13" fmla="*/ 1375409 h 3484134"/>
                <a:gd name="connsiteX14" fmla="*/ 3957874 w 4934374"/>
                <a:gd name="connsiteY14" fmla="*/ 51887 h 3484134"/>
                <a:gd name="connsiteX15" fmla="*/ 3906637 w 4934374"/>
                <a:gd name="connsiteY15" fmla="*/ 0 h 3484134"/>
                <a:gd name="connsiteX16" fmla="*/ 4555675 w 4934374"/>
                <a:gd name="connsiteY16" fmla="*/ 0 h 3484134"/>
                <a:gd name="connsiteX17" fmla="*/ 4605933 w 4934374"/>
                <a:gd name="connsiteY17" fmla="*/ 77740 h 3484134"/>
                <a:gd name="connsiteX18" fmla="*/ 4934374 w 4934374"/>
                <a:gd name="connsiteY18" fmla="*/ 1375327 h 3484134"/>
                <a:gd name="connsiteX19" fmla="*/ 3793540 w 4934374"/>
                <a:gd name="connsiteY19" fmla="*/ 2890475 h 3484134"/>
                <a:gd name="connsiteX20" fmla="*/ 2396135 w 4934374"/>
                <a:gd name="connsiteY20" fmla="*/ 3484134 h 3484134"/>
                <a:gd name="connsiteX21" fmla="*/ 548273 w 4934374"/>
                <a:gd name="connsiteY21" fmla="*/ 2480458 h 3484134"/>
                <a:gd name="connsiteX22" fmla="*/ 0 w 4934374"/>
                <a:gd name="connsiteY22" fmla="*/ 1375327 h 3484134"/>
                <a:gd name="connsiteX23" fmla="*/ 512166 w 4934374"/>
                <a:gd name="connsiteY23" fmla="*/ 77740 h 348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34374" h="3484134">
                  <a:moveTo>
                    <a:pt x="585303" y="0"/>
                  </a:moveTo>
                  <a:lnTo>
                    <a:pt x="1354934" y="0"/>
                  </a:lnTo>
                  <a:lnTo>
                    <a:pt x="1206830" y="109531"/>
                  </a:lnTo>
                  <a:cubicBezTo>
                    <a:pt x="994024" y="281725"/>
                    <a:pt x="820013" y="485457"/>
                    <a:pt x="703453" y="698660"/>
                  </a:cubicBezTo>
                  <a:cubicBezTo>
                    <a:pt x="583756" y="917627"/>
                    <a:pt x="523079" y="1145324"/>
                    <a:pt x="523079" y="1375409"/>
                  </a:cubicBezTo>
                  <a:cubicBezTo>
                    <a:pt x="523079" y="1595282"/>
                    <a:pt x="614356" y="1722842"/>
                    <a:pt x="820885" y="1990313"/>
                  </a:cubicBezTo>
                  <a:cubicBezTo>
                    <a:pt x="872582" y="2057263"/>
                    <a:pt x="926023" y="2126519"/>
                    <a:pt x="981122" y="2203186"/>
                  </a:cubicBezTo>
                  <a:cubicBezTo>
                    <a:pt x="1175968" y="2474445"/>
                    <a:pt x="1375871" y="2667309"/>
                    <a:pt x="1592426" y="2792645"/>
                  </a:cubicBezTo>
                  <a:cubicBezTo>
                    <a:pt x="1821970" y="2925557"/>
                    <a:pt x="2084904" y="2990119"/>
                    <a:pt x="2396135" y="2990119"/>
                  </a:cubicBezTo>
                  <a:cubicBezTo>
                    <a:pt x="2572762" y="2990119"/>
                    <a:pt x="2737009" y="2950179"/>
                    <a:pt x="2913112" y="2864371"/>
                  </a:cubicBezTo>
                  <a:cubicBezTo>
                    <a:pt x="3093922" y="2776257"/>
                    <a:pt x="3272903" y="2647792"/>
                    <a:pt x="3471411" y="2501292"/>
                  </a:cubicBezTo>
                  <a:cubicBezTo>
                    <a:pt x="3517964" y="2466952"/>
                    <a:pt x="3564344" y="2433106"/>
                    <a:pt x="3609242" y="2400414"/>
                  </a:cubicBezTo>
                  <a:cubicBezTo>
                    <a:pt x="3847766" y="2226574"/>
                    <a:pt x="4073038" y="2062368"/>
                    <a:pt x="4219151" y="1888693"/>
                  </a:cubicBezTo>
                  <a:cubicBezTo>
                    <a:pt x="4353844" y="1728606"/>
                    <a:pt x="4411296" y="1575106"/>
                    <a:pt x="4411296" y="1375409"/>
                  </a:cubicBezTo>
                  <a:cubicBezTo>
                    <a:pt x="4411296" y="851089"/>
                    <a:pt x="4250274" y="381038"/>
                    <a:pt x="3957874" y="51887"/>
                  </a:cubicBezTo>
                  <a:lnTo>
                    <a:pt x="3906637" y="0"/>
                  </a:lnTo>
                  <a:lnTo>
                    <a:pt x="4555675" y="0"/>
                  </a:lnTo>
                  <a:lnTo>
                    <a:pt x="4605933" y="77740"/>
                  </a:lnTo>
                  <a:cubicBezTo>
                    <a:pt x="4820335" y="448137"/>
                    <a:pt x="4934374" y="894662"/>
                    <a:pt x="4934374" y="1375327"/>
                  </a:cubicBezTo>
                  <a:cubicBezTo>
                    <a:pt x="4934374" y="2116884"/>
                    <a:pt x="4369100" y="2465635"/>
                    <a:pt x="3793540" y="2890475"/>
                  </a:cubicBezTo>
                  <a:cubicBezTo>
                    <a:pt x="3374293" y="3199945"/>
                    <a:pt x="2970389" y="3484134"/>
                    <a:pt x="2396135" y="3484134"/>
                  </a:cubicBezTo>
                  <a:cubicBezTo>
                    <a:pt x="1544564" y="3484134"/>
                    <a:pt x="991670" y="3097832"/>
                    <a:pt x="548273" y="2480458"/>
                  </a:cubicBezTo>
                  <a:cubicBezTo>
                    <a:pt x="282201" y="2110049"/>
                    <a:pt x="0" y="1856001"/>
                    <a:pt x="0" y="1375327"/>
                  </a:cubicBezTo>
                  <a:cubicBezTo>
                    <a:pt x="0" y="894662"/>
                    <a:pt x="195505" y="448137"/>
                    <a:pt x="512166" y="7774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2" name="Titel 1">
            <a:extLst>
              <a:ext uri="{FF2B5EF4-FFF2-40B4-BE49-F238E27FC236}">
                <a16:creationId xmlns:a16="http://schemas.microsoft.com/office/drawing/2014/main" id="{17C8ED0B-3495-0DCD-DD84-7F0F0AEF2214}"/>
              </a:ext>
            </a:extLst>
          </p:cNvPr>
          <p:cNvSpPr>
            <a:spLocks noGrp="1"/>
          </p:cNvSpPr>
          <p:nvPr>
            <p:ph type="title"/>
          </p:nvPr>
        </p:nvSpPr>
        <p:spPr>
          <a:xfrm>
            <a:off x="804672" y="802955"/>
            <a:ext cx="5145024" cy="1454051"/>
          </a:xfrm>
        </p:spPr>
        <p:txBody>
          <a:bodyPr anchor="b">
            <a:normAutofit/>
          </a:bodyPr>
          <a:lstStyle/>
          <a:p>
            <a:r>
              <a:rPr lang="da-DK" sz="3600" b="1" dirty="0">
                <a:solidFill>
                  <a:schemeClr val="tx2"/>
                </a:solidFill>
                <a:effectLst>
                  <a:outerShdw blurRad="38100" dist="38100" dir="2700000" algn="tl">
                    <a:srgbClr val="000000">
                      <a:alpha val="43137"/>
                    </a:srgbClr>
                  </a:outerShdw>
                </a:effectLst>
              </a:rPr>
              <a:t>Status på OK26 </a:t>
            </a:r>
            <a:br>
              <a:rPr lang="da-DK" sz="3600" b="1" dirty="0">
                <a:solidFill>
                  <a:schemeClr val="tx2"/>
                </a:solidFill>
                <a:effectLst>
                  <a:outerShdw blurRad="38100" dist="38100" dir="2700000" algn="tl">
                    <a:srgbClr val="000000">
                      <a:alpha val="43137"/>
                    </a:srgbClr>
                  </a:outerShdw>
                </a:effectLst>
              </a:rPr>
            </a:br>
            <a:r>
              <a:rPr lang="da-DK" sz="3600" b="1" dirty="0">
                <a:solidFill>
                  <a:schemeClr val="tx2"/>
                </a:solidFill>
                <a:effectLst>
                  <a:outerShdw blurRad="38100" dist="38100" dir="2700000" algn="tl">
                    <a:srgbClr val="000000">
                      <a:alpha val="43137"/>
                    </a:srgbClr>
                  </a:outerShdw>
                </a:effectLst>
              </a:rPr>
              <a:t>Kirsten Løth</a:t>
            </a:r>
          </a:p>
        </p:txBody>
      </p:sp>
      <p:pic>
        <p:nvPicPr>
          <p:cNvPr id="5" name="Picture 12" descr="Et billede, der indeholder Grafik, cirkel, symbol, logo&#10;&#10;AI-genereret indhold kan være ukorrekt.">
            <a:extLst>
              <a:ext uri="{FF2B5EF4-FFF2-40B4-BE49-F238E27FC236}">
                <a16:creationId xmlns:a16="http://schemas.microsoft.com/office/drawing/2014/main" id="{FCD04DC9-823D-A945-EFA5-20C16D77741E}"/>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424494" y="67765"/>
            <a:ext cx="4154625" cy="2340439"/>
          </a:xfrm>
          <a:prstGeom prst="rect">
            <a:avLst/>
          </a:prstGeom>
          <a:noFill/>
          <a:extLst>
            <a:ext uri="{909E8E84-426E-40DD-AFC4-6F175D3DCCD1}">
              <a14:hiddenFill xmlns:a14="http://schemas.microsoft.com/office/drawing/2010/main">
                <a:solidFill>
                  <a:srgbClr val="FFFFFF"/>
                </a:solidFill>
              </a14:hiddenFill>
            </a:ext>
          </a:extLst>
        </p:spPr>
      </p:pic>
      <p:sp>
        <p:nvSpPr>
          <p:cNvPr id="3" name="Pladsholder til indhold 2">
            <a:extLst>
              <a:ext uri="{FF2B5EF4-FFF2-40B4-BE49-F238E27FC236}">
                <a16:creationId xmlns:a16="http://schemas.microsoft.com/office/drawing/2014/main" id="{FC488B84-00B6-9BD1-0AF3-851273055772}"/>
              </a:ext>
            </a:extLst>
          </p:cNvPr>
          <p:cNvSpPr>
            <a:spLocks noGrp="1"/>
          </p:cNvSpPr>
          <p:nvPr>
            <p:ph idx="1"/>
          </p:nvPr>
        </p:nvSpPr>
        <p:spPr>
          <a:xfrm>
            <a:off x="804672" y="2421682"/>
            <a:ext cx="4553909" cy="3639289"/>
          </a:xfrm>
        </p:spPr>
        <p:txBody>
          <a:bodyPr anchor="ctr">
            <a:normAutofit/>
          </a:bodyPr>
          <a:lstStyle/>
          <a:p>
            <a:r>
              <a:rPr lang="da-DK" sz="2500" b="1" dirty="0">
                <a:solidFill>
                  <a:schemeClr val="tx2"/>
                </a:solidFill>
              </a:rPr>
              <a:t>Kravpræsentation </a:t>
            </a:r>
          </a:p>
          <a:p>
            <a:r>
              <a:rPr lang="da-DK" sz="2500" b="1" dirty="0">
                <a:solidFill>
                  <a:schemeClr val="tx2"/>
                </a:solidFill>
              </a:rPr>
              <a:t>Midtvejsforhandling </a:t>
            </a:r>
          </a:p>
          <a:p>
            <a:r>
              <a:rPr lang="da-DK" sz="2500" b="1" dirty="0">
                <a:solidFill>
                  <a:schemeClr val="tx2"/>
                </a:solidFill>
              </a:rPr>
              <a:t>næste skridt </a:t>
            </a:r>
          </a:p>
        </p:txBody>
      </p:sp>
      <p:pic>
        <p:nvPicPr>
          <p:cNvPr id="4" name="Billede 3" descr="Et billede, der indeholder logo, Font/skrifttype, symbol, cirkel&#10;&#10;AI-genereret indhold kan være ukorrekt.">
            <a:extLst>
              <a:ext uri="{FF2B5EF4-FFF2-40B4-BE49-F238E27FC236}">
                <a16:creationId xmlns:a16="http://schemas.microsoft.com/office/drawing/2014/main" id="{4F15EBAF-4438-C584-3FBB-81607B51D9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8225" y="3575103"/>
            <a:ext cx="3098335" cy="3090139"/>
          </a:xfrm>
          <a:prstGeom prst="ellipse">
            <a:avLst/>
          </a:prstGeom>
        </p:spPr>
      </p:pic>
    </p:spTree>
    <p:extLst>
      <p:ext uri="{BB962C8B-B14F-4D97-AF65-F5344CB8AC3E}">
        <p14:creationId xmlns:p14="http://schemas.microsoft.com/office/powerpoint/2010/main" val="22350249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E0D2088-8F3C-FB34-E0DB-FE732C651DE7}"/>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D8652F08-FE8C-38F0-A0EF-C7F0BFB4CB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8B296AEC-A2C2-8095-1AA0-F470BB47EF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E03CCF72-396A-B1F5-95FE-CDE04B879A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98DECFF2-1BFF-B381-148F-1576CC20A3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4B27AFAA-26C9-04A6-77F5-68130708136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D70661D-DF34-8241-32F7-02618D8EA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8F49B95A-1849-E72C-C94B-745CC4C3AFCA}"/>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017C53F-6598-DAD8-F529-118DFB08F7C5}"/>
              </a:ext>
            </a:extLst>
          </p:cNvPr>
          <p:cNvSpPr>
            <a:spLocks noGrp="1"/>
          </p:cNvSpPr>
          <p:nvPr>
            <p:ph idx="1"/>
          </p:nvPr>
        </p:nvSpPr>
        <p:spPr>
          <a:xfrm>
            <a:off x="1367624" y="2490436"/>
            <a:ext cx="9708995" cy="3567173"/>
          </a:xfrm>
        </p:spPr>
        <p:txBody>
          <a:bodyPr anchor="ctr">
            <a:normAutofit/>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Status OK 26 v Kirsten Løth</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Velkomstrunde – Nyt fra TR</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Ferie regl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30454766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278ADA9-6383-4BDD-80D2-8899A40268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484B7147-B0F6-40ED-B5A2-FF72BC8198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36D2DE0-0628-4A9A-A59D-7BA8B5EB3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48E405C9-94BE-41DA-928C-DEC9A8550E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815929" y="148929"/>
            <a:ext cx="6560142" cy="6560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6ECF6FC4-97E2-8D52-B974-341395FBB203}"/>
              </a:ext>
            </a:extLst>
          </p:cNvPr>
          <p:cNvSpPr>
            <a:spLocks noGrp="1"/>
          </p:cNvSpPr>
          <p:nvPr>
            <p:ph type="ctrTitle"/>
          </p:nvPr>
        </p:nvSpPr>
        <p:spPr>
          <a:xfrm>
            <a:off x="3315031" y="1380754"/>
            <a:ext cx="5561938" cy="2513516"/>
          </a:xfrm>
        </p:spPr>
        <p:txBody>
          <a:bodyPr>
            <a:normAutofit/>
          </a:bodyPr>
          <a:lstStyle/>
          <a:p>
            <a:r>
              <a:rPr lang="da-DK" sz="3800" b="1" dirty="0">
                <a:effectLst/>
                <a:latin typeface="Verdana" panose="020B0604030504040204" pitchFamily="34" charset="0"/>
                <a:ea typeface="Times New Roman" panose="02020603050405020304" pitchFamily="18" charset="0"/>
              </a:rPr>
              <a:t>Velkomst runde – Nyt fra TR/institutionerne</a:t>
            </a:r>
            <a:br>
              <a:rPr lang="da-DK" sz="3800" b="1" dirty="0">
                <a:effectLst/>
                <a:latin typeface="Times New Roman" panose="02020603050405020304" pitchFamily="18" charset="0"/>
                <a:ea typeface="Times New Roman" panose="02020603050405020304" pitchFamily="18" charset="0"/>
              </a:rPr>
            </a:br>
            <a:endParaRPr lang="da-DK" sz="3800" dirty="0"/>
          </a:p>
        </p:txBody>
      </p:sp>
      <p:sp>
        <p:nvSpPr>
          <p:cNvPr id="3" name="Undertitel 2">
            <a:extLst>
              <a:ext uri="{FF2B5EF4-FFF2-40B4-BE49-F238E27FC236}">
                <a16:creationId xmlns:a16="http://schemas.microsoft.com/office/drawing/2014/main" id="{50FEB607-8A44-C344-82B2-3A9DEF1359B2}"/>
              </a:ext>
            </a:extLst>
          </p:cNvPr>
          <p:cNvSpPr>
            <a:spLocks noGrp="1"/>
          </p:cNvSpPr>
          <p:nvPr>
            <p:ph type="subTitle" idx="1"/>
          </p:nvPr>
        </p:nvSpPr>
        <p:spPr>
          <a:xfrm>
            <a:off x="3315031" y="4076802"/>
            <a:ext cx="5561938" cy="1534587"/>
          </a:xfrm>
        </p:spPr>
        <p:txBody>
          <a:bodyPr>
            <a:normAutofit/>
          </a:bodyPr>
          <a:lstStyle/>
          <a:p>
            <a:r>
              <a:rPr lang="da-DK" dirty="0"/>
              <a:t>Alle fortæller kort hvem de er og hvad der fylder i institutionen og som TR </a:t>
            </a:r>
          </a:p>
        </p:txBody>
      </p:sp>
      <p:sp>
        <p:nvSpPr>
          <p:cNvPr id="16" name="Arc 15">
            <a:extLst>
              <a:ext uri="{FF2B5EF4-FFF2-40B4-BE49-F238E27FC236}">
                <a16:creationId xmlns:a16="http://schemas.microsoft.com/office/drawing/2014/main" id="{D2091A72-D5BB-42AC-8FD3-F7747D9086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9222429" flipV="1">
            <a:off x="2494119" y="6170"/>
            <a:ext cx="6816262" cy="6816262"/>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6ED12BFC-A737-46AF-8411-481112D54B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00995" y="5310973"/>
            <a:ext cx="705948" cy="6867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655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F6BD95B-EF33-4715-3A22-F90714526D66}"/>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BC76B513-DB81-2B73-EF2D-01C31E79D9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BFA01C7A-23A1-EF88-A9AD-AF235A3E9A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0611CCF9-9E99-6F20-E340-BEF4C7721B2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E6337775-71DE-427D-974B-BC2553C8E5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9529F364-829E-644E-245E-CCFE911E03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776AE88B-FBC5-8196-0F4C-C8653B5DDC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61E82B73-DEAB-9F0F-67F1-4923C82A9A69}"/>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FB4FA665-043E-9142-93B7-B39BCF674A29}"/>
              </a:ext>
            </a:extLst>
          </p:cNvPr>
          <p:cNvSpPr>
            <a:spLocks noGrp="1"/>
          </p:cNvSpPr>
          <p:nvPr>
            <p:ph idx="1"/>
          </p:nvPr>
        </p:nvSpPr>
        <p:spPr>
          <a:xfrm>
            <a:off x="1367624" y="2490436"/>
            <a:ext cx="9708995" cy="3567173"/>
          </a:xfrm>
        </p:spPr>
        <p:txBody>
          <a:bodyPr anchor="ctr">
            <a:normAutofit/>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Status OK 26 v Kirsten Løth</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Ferie regler</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16208795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3C27DF-0887-1AC7-5B6F-522D6F0C4224}"/>
              </a:ext>
            </a:extLst>
          </p:cNvPr>
          <p:cNvSpPr>
            <a:spLocks noGrp="1"/>
          </p:cNvSpPr>
          <p:nvPr>
            <p:ph type="title"/>
          </p:nvPr>
        </p:nvSpPr>
        <p:spPr>
          <a:xfrm>
            <a:off x="638881" y="630936"/>
            <a:ext cx="10714919" cy="3438144"/>
          </a:xfrm>
        </p:spPr>
        <p:txBody>
          <a:bodyPr vert="horz" lIns="91440" tIns="45720" rIns="91440" bIns="45720" rtlCol="0" anchor="b">
            <a:normAutofit/>
          </a:bodyPr>
          <a:lstStyle/>
          <a:p>
            <a:pPr algn="ctr"/>
            <a:r>
              <a:rPr lang="da-DK" sz="9600" b="1" kern="1200" dirty="0">
                <a:solidFill>
                  <a:schemeClr val="tx1"/>
                </a:solidFill>
                <a:latin typeface="+mj-lt"/>
                <a:ea typeface="+mj-ea"/>
                <a:cs typeface="+mj-cs"/>
              </a:rPr>
              <a:t>Ferie</a:t>
            </a:r>
            <a:br>
              <a:rPr lang="da-DK" sz="9600" b="1" kern="1200" dirty="0">
                <a:solidFill>
                  <a:schemeClr val="tx1"/>
                </a:solidFill>
                <a:latin typeface="+mj-lt"/>
                <a:ea typeface="+mj-ea"/>
                <a:cs typeface="+mj-cs"/>
              </a:rPr>
            </a:br>
            <a:endParaRPr lang="da-DK" sz="5300" b="1" kern="1200" dirty="0">
              <a:solidFill>
                <a:schemeClr val="tx1"/>
              </a:solidFill>
              <a:latin typeface="+mj-lt"/>
              <a:ea typeface="+mj-ea"/>
              <a:cs typeface="+mj-cs"/>
            </a:endParaRPr>
          </a:p>
        </p:txBody>
      </p:sp>
      <p:sp>
        <p:nvSpPr>
          <p:cNvPr id="4" name="Pladsholder til slidenummer 3">
            <a:extLst>
              <a:ext uri="{FF2B5EF4-FFF2-40B4-BE49-F238E27FC236}">
                <a16:creationId xmlns:a16="http://schemas.microsoft.com/office/drawing/2014/main" id="{B4AE5ACF-0B6A-5067-0889-1D5DA6C313DE}"/>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120C884-657D-47A8-AFE3-E7B7EAA09FD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5" name="Billede 4" descr="Et billede, der indeholder sky, køretøj, Landkøretøj, bil&#10;&#10;AI-genereret indhold kan være ukorrekt.">
            <a:extLst>
              <a:ext uri="{FF2B5EF4-FFF2-40B4-BE49-F238E27FC236}">
                <a16:creationId xmlns:a16="http://schemas.microsoft.com/office/drawing/2014/main" id="{58323967-1B4C-775F-61B5-FC1F47E12789}"/>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62500" y="4705349"/>
            <a:ext cx="2943225" cy="1362075"/>
          </a:xfrm>
          <a:prstGeom prst="rect">
            <a:avLst/>
          </a:prstGeom>
        </p:spPr>
      </p:pic>
    </p:spTree>
    <p:extLst>
      <p:ext uri="{BB962C8B-B14F-4D97-AF65-F5344CB8AC3E}">
        <p14:creationId xmlns:p14="http://schemas.microsoft.com/office/powerpoint/2010/main" val="993544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159" name="Rectangle 6158">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Billede 2" descr="Et billede, der indeholder sort-hvid, kunst, Symmetri, Grafik&#10;&#10;AI-genereret indhold kan være ukorrekt.">
            <a:extLst>
              <a:ext uri="{FF2B5EF4-FFF2-40B4-BE49-F238E27FC236}">
                <a16:creationId xmlns:a16="http://schemas.microsoft.com/office/drawing/2014/main" id="{50B9CBD1-2C07-FFD4-114F-56EEA42633C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3075" r="8671"/>
          <a:stretch>
            <a:fillRect/>
          </a:stretch>
        </p:blipFill>
        <p:spPr>
          <a:xfrm>
            <a:off x="6858000" y="345569"/>
            <a:ext cx="5188086" cy="5728584"/>
          </a:xfrm>
          <a:prstGeom prst="rect">
            <a:avLst/>
          </a:prstGeom>
        </p:spPr>
      </p:pic>
      <p:sp>
        <p:nvSpPr>
          <p:cNvPr id="6161" name="Rectangle 6160">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46" name="Rectangle 2">
            <a:extLst>
              <a:ext uri="{FF2B5EF4-FFF2-40B4-BE49-F238E27FC236}">
                <a16:creationId xmlns:a16="http://schemas.microsoft.com/office/drawing/2014/main" id="{0C4F9668-9837-C62C-FB1E-07AC5E733F7B}"/>
              </a:ext>
            </a:extLst>
          </p:cNvPr>
          <p:cNvSpPr>
            <a:spLocks noGrp="1" noChangeArrowheads="1"/>
          </p:cNvSpPr>
          <p:nvPr>
            <p:ph type="title"/>
          </p:nvPr>
        </p:nvSpPr>
        <p:spPr>
          <a:xfrm>
            <a:off x="731195" y="112206"/>
            <a:ext cx="5188086" cy="1899912"/>
          </a:xfrm>
        </p:spPr>
        <p:txBody>
          <a:bodyPr>
            <a:normAutofit/>
          </a:bodyPr>
          <a:lstStyle/>
          <a:p>
            <a:pPr eaLnBrk="1" hangingPunct="1">
              <a:defRPr/>
            </a:pPr>
            <a:r>
              <a:rPr lang="da-DK" sz="4000" b="1" dirty="0"/>
              <a:t>Retten til at holde ferie </a:t>
            </a:r>
            <a:br>
              <a:rPr lang="da-DK" sz="4000" b="1" dirty="0"/>
            </a:br>
            <a:r>
              <a:rPr lang="da-DK" sz="4000" b="1" dirty="0"/>
              <a:t>(ferieaftalen)</a:t>
            </a:r>
          </a:p>
        </p:txBody>
      </p:sp>
      <p:sp>
        <p:nvSpPr>
          <p:cNvPr id="6147" name="Rectangle 3">
            <a:extLst>
              <a:ext uri="{FF2B5EF4-FFF2-40B4-BE49-F238E27FC236}">
                <a16:creationId xmlns:a16="http://schemas.microsoft.com/office/drawing/2014/main" id="{608514F0-9736-62BB-BE43-FDB4BDD4F915}"/>
              </a:ext>
            </a:extLst>
          </p:cNvPr>
          <p:cNvSpPr>
            <a:spLocks noGrp="1" noChangeArrowheads="1"/>
          </p:cNvSpPr>
          <p:nvPr>
            <p:ph type="body" idx="1"/>
          </p:nvPr>
        </p:nvSpPr>
        <p:spPr>
          <a:xfrm>
            <a:off x="838200" y="2434201"/>
            <a:ext cx="5257800" cy="3742762"/>
          </a:xfrm>
        </p:spPr>
        <p:txBody>
          <a:bodyPr>
            <a:normAutofit fontScale="92500" lnSpcReduction="10000"/>
          </a:bodyPr>
          <a:lstStyle/>
          <a:p>
            <a:pPr eaLnBrk="1" hangingPunct="1">
              <a:defRPr/>
            </a:pPr>
            <a:endParaRPr lang="da-DK" sz="2000" dirty="0"/>
          </a:p>
          <a:p>
            <a:pPr eaLnBrk="1" hangingPunct="1">
              <a:defRPr/>
            </a:pPr>
            <a:r>
              <a:rPr lang="da-DK" sz="2400" dirty="0"/>
              <a:t>Alle kommunale og selvejende lønmodtagere har ret til 6 ugers ferie om året:</a:t>
            </a:r>
          </a:p>
          <a:p>
            <a:pPr marL="0" indent="0" eaLnBrk="1" hangingPunct="1">
              <a:buNone/>
              <a:defRPr/>
            </a:pPr>
            <a:endParaRPr lang="da-DK" sz="2400" dirty="0"/>
          </a:p>
          <a:p>
            <a:pPr eaLnBrk="1" hangingPunct="1">
              <a:defRPr/>
            </a:pPr>
            <a:r>
              <a:rPr lang="da-DK" sz="2400" dirty="0"/>
              <a:t>5 ugers ferie </a:t>
            </a:r>
          </a:p>
          <a:p>
            <a:pPr marL="0" indent="0" eaLnBrk="1" hangingPunct="1">
              <a:buNone/>
              <a:defRPr/>
            </a:pPr>
            <a:endParaRPr lang="da-DK" sz="2400" dirty="0"/>
          </a:p>
          <a:p>
            <a:pPr eaLnBrk="1" hangingPunct="1">
              <a:defRPr/>
            </a:pPr>
            <a:r>
              <a:rPr lang="da-DK" sz="2400" dirty="0"/>
              <a:t>1 uges 6. ferieuge</a:t>
            </a:r>
          </a:p>
          <a:p>
            <a:pPr eaLnBrk="1" hangingPunct="1">
              <a:defRPr/>
            </a:pPr>
            <a:endParaRPr lang="da-DK" sz="2400" dirty="0"/>
          </a:p>
          <a:p>
            <a:pPr eaLnBrk="1" hangingPunct="1">
              <a:defRPr/>
            </a:pPr>
            <a:r>
              <a:rPr lang="da-DK" sz="2400" dirty="0"/>
              <a:t>Ferie tæller som gennemsnitsdage</a:t>
            </a:r>
          </a:p>
          <a:p>
            <a:pPr marL="0" indent="0">
              <a:buNone/>
              <a:defRPr/>
            </a:pPr>
            <a:endParaRPr lang="da-DK" sz="2000" dirty="0"/>
          </a:p>
        </p:txBody>
      </p:sp>
    </p:spTree>
    <p:extLst>
      <p:ext uri="{BB962C8B-B14F-4D97-AF65-F5344CB8AC3E}">
        <p14:creationId xmlns:p14="http://schemas.microsoft.com/office/powerpoint/2010/main" val="25474280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itelsider">
  <a:themeElements>
    <a:clrScheme name="Brugerdefineret 3">
      <a:dk1>
        <a:sysClr val="windowText" lastClr="000000"/>
      </a:dk1>
      <a:lt1>
        <a:sysClr val="window" lastClr="FFFFFF"/>
      </a:lt1>
      <a:dk2>
        <a:srgbClr val="1F497D"/>
      </a:dk2>
      <a:lt2>
        <a:srgbClr val="EEECE1"/>
      </a:lt2>
      <a:accent1>
        <a:srgbClr val="073820"/>
      </a:accent1>
      <a:accent2>
        <a:srgbClr val="EEECE1"/>
      </a:accent2>
      <a:accent3>
        <a:srgbClr val="632523"/>
      </a:accent3>
      <a:accent4>
        <a:srgbClr val="000000"/>
      </a:accent4>
      <a:accent5>
        <a:srgbClr val="4BACC6"/>
      </a:accent5>
      <a:accent6>
        <a:srgbClr val="F79646"/>
      </a:accent6>
      <a:hlink>
        <a:srgbClr val="0000FF"/>
      </a:hlink>
      <a:folHlink>
        <a:srgbClr val="800080"/>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Processer">
  <a:themeElements>
    <a:clrScheme name="Rapportskabelon">
      <a:dk1>
        <a:sysClr val="windowText" lastClr="000000"/>
      </a:dk1>
      <a:lt1>
        <a:sysClr val="window" lastClr="FFFFFF"/>
      </a:lt1>
      <a:dk2>
        <a:srgbClr val="574F61"/>
      </a:dk2>
      <a:lt2>
        <a:srgbClr val="EEECE1"/>
      </a:lt2>
      <a:accent1>
        <a:srgbClr val="00502D"/>
      </a:accent1>
      <a:accent2>
        <a:srgbClr val="A59E83"/>
      </a:accent2>
      <a:accent3>
        <a:srgbClr val="3A4F58"/>
      </a:accent3>
      <a:accent4>
        <a:srgbClr val="4C705D"/>
      </a:accent4>
      <a:accent5>
        <a:srgbClr val="573333"/>
      </a:accent5>
      <a:accent6>
        <a:srgbClr val="FFDB43"/>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andardsider m. billede">
  <a:themeElements>
    <a:clrScheme name="Rapportskabelon">
      <a:dk1>
        <a:sysClr val="windowText" lastClr="000000"/>
      </a:dk1>
      <a:lt1>
        <a:sysClr val="window" lastClr="FFFFFF"/>
      </a:lt1>
      <a:dk2>
        <a:srgbClr val="574F61"/>
      </a:dk2>
      <a:lt2>
        <a:srgbClr val="EEECE1"/>
      </a:lt2>
      <a:accent1>
        <a:srgbClr val="00502D"/>
      </a:accent1>
      <a:accent2>
        <a:srgbClr val="A59E83"/>
      </a:accent2>
      <a:accent3>
        <a:srgbClr val="3A4F58"/>
      </a:accent3>
      <a:accent4>
        <a:srgbClr val="4C705D"/>
      </a:accent4>
      <a:accent5>
        <a:srgbClr val="573333"/>
      </a:accent5>
      <a:accent6>
        <a:srgbClr val="FFDB43"/>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itelsider">
  <a:themeElements>
    <a:clrScheme name="Brugerdefineret 3">
      <a:dk1>
        <a:sysClr val="windowText" lastClr="000000"/>
      </a:dk1>
      <a:lt1>
        <a:sysClr val="window" lastClr="FFFFFF"/>
      </a:lt1>
      <a:dk2>
        <a:srgbClr val="1F497D"/>
      </a:dk2>
      <a:lt2>
        <a:srgbClr val="EEECE1"/>
      </a:lt2>
      <a:accent1>
        <a:srgbClr val="073820"/>
      </a:accent1>
      <a:accent2>
        <a:srgbClr val="EEECE1"/>
      </a:accent2>
      <a:accent3>
        <a:srgbClr val="632523"/>
      </a:accent3>
      <a:accent4>
        <a:srgbClr val="000000"/>
      </a:accent4>
      <a:accent5>
        <a:srgbClr val="4BACC6"/>
      </a:accent5>
      <a:accent6>
        <a:srgbClr val="F79646"/>
      </a:accent6>
      <a:hlink>
        <a:srgbClr val="0000FF"/>
      </a:hlink>
      <a:folHlink>
        <a:srgbClr val="800080"/>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897</TotalTime>
  <Words>1638</Words>
  <Application>Microsoft Office PowerPoint</Application>
  <PresentationFormat>Widescreen</PresentationFormat>
  <Paragraphs>243</Paragraphs>
  <Slides>33</Slides>
  <Notes>20</Notes>
  <HiddenSlides>0</HiddenSlides>
  <MMClips>0</MMClips>
  <ScaleCrop>false</ScaleCrop>
  <HeadingPairs>
    <vt:vector size="8" baseType="variant">
      <vt:variant>
        <vt:lpstr>Benyttede skrifttyper</vt:lpstr>
      </vt:variant>
      <vt:variant>
        <vt:i4>10</vt:i4>
      </vt:variant>
      <vt:variant>
        <vt:lpstr>Tema</vt:lpstr>
      </vt:variant>
      <vt:variant>
        <vt:i4>11</vt:i4>
      </vt:variant>
      <vt:variant>
        <vt:lpstr>Integrerede OLE-servere</vt:lpstr>
      </vt:variant>
      <vt:variant>
        <vt:i4>2</vt:i4>
      </vt:variant>
      <vt:variant>
        <vt:lpstr>Slidetitler</vt:lpstr>
      </vt:variant>
      <vt:variant>
        <vt:i4>33</vt:i4>
      </vt:variant>
    </vt:vector>
  </HeadingPairs>
  <TitlesOfParts>
    <vt:vector size="56" baseType="lpstr">
      <vt:lpstr>Aptos</vt:lpstr>
      <vt:lpstr>Aptos Display</vt:lpstr>
      <vt:lpstr>Arial</vt:lpstr>
      <vt:lpstr>Calibri</vt:lpstr>
      <vt:lpstr>Calibri Light</vt:lpstr>
      <vt:lpstr>Segoe UI</vt:lpstr>
      <vt:lpstr>SourceSans3</vt:lpstr>
      <vt:lpstr>Times New Roman</vt:lpstr>
      <vt:lpstr>Verdana</vt:lpstr>
      <vt:lpstr>Wingdings</vt:lpstr>
      <vt:lpstr>Office-tema</vt:lpstr>
      <vt:lpstr>2_Indhold</vt:lpstr>
      <vt:lpstr>1_Titelsider</vt:lpstr>
      <vt:lpstr>2_Processer</vt:lpstr>
      <vt:lpstr>Standardsider m. billede</vt:lpstr>
      <vt:lpstr>5_Indhold</vt:lpstr>
      <vt:lpstr>Titelsider</vt:lpstr>
      <vt:lpstr>Indhold</vt:lpstr>
      <vt:lpstr>1_Indhold</vt:lpstr>
      <vt:lpstr>1_Office-tema</vt:lpstr>
      <vt:lpstr>2_Office-tema</vt:lpstr>
      <vt:lpstr>think-cell Slide</vt:lpstr>
      <vt:lpstr>Document</vt:lpstr>
      <vt:lpstr>TR-møde Frederiksberg</vt:lpstr>
      <vt:lpstr>PowerPoint-præsentation</vt:lpstr>
      <vt:lpstr>Dagsorden:</vt:lpstr>
      <vt:lpstr>Status på OK26  Kirsten Løth</vt:lpstr>
      <vt:lpstr>Dagsorden:</vt:lpstr>
      <vt:lpstr>Velkomst runde – Nyt fra TR/institutionerne </vt:lpstr>
      <vt:lpstr>Dagsorden:</vt:lpstr>
      <vt:lpstr>Ferie </vt:lpstr>
      <vt:lpstr>Retten til at holde ferie  (ferieaftalen)</vt:lpstr>
      <vt:lpstr>Adgang til ferie med løn  </vt:lpstr>
      <vt:lpstr>Perioder i ferieåret</vt:lpstr>
      <vt:lpstr> Hvordan og hvor placeres ferien</vt:lpstr>
      <vt:lpstr>Aftale om 6. ferieuge </vt:lpstr>
      <vt:lpstr>Arbejdsgivers varsling af ferie </vt:lpstr>
      <vt:lpstr>Når ferieønsker er godkendt af ledelse</vt:lpstr>
      <vt:lpstr>Feriens start og feriens afslutning</vt:lpstr>
      <vt:lpstr>Sygdom opstået før ferien påbegyndes </vt:lpstr>
      <vt:lpstr>Sygdom under ferien</vt:lpstr>
      <vt:lpstr>Overførsel af ferie   udover 4 uger efter eget ønske</vt:lpstr>
      <vt:lpstr>Udbetaling/overførsel af ikke-afholdt ferie</vt:lpstr>
      <vt:lpstr>Særlig feriegodtgørelse og feriegodtgørelse </vt:lpstr>
      <vt:lpstr>Dagsorden:</vt:lpstr>
      <vt:lpstr>Afdelings MED Møder</vt:lpstr>
      <vt:lpstr>Nyt fra Anne og Jannike</vt:lpstr>
      <vt:lpstr>EU-domme om overtidsbetaling til deltidsansatte. Fra oktober TR mødet.   Ny dom: Offentlige overenskomster stemmer ikke overens med EU-regler om deltidsansatte Deltidsansatte og fuldtidsansatte på det offentlige arbejdsmarked skal have samme honorering for timer, der ligger ud over deres normale arbejdstid.  Det er udgangspunktet i den konklusion, der er kommet efter, at de faglige organisationer i Forhandlingsfællesskabet har fået medhold i en faglig voldgiftssag om deltidsansattes merarbejde på det kommunale, regionale og statslige arbejdsmarked, som er blevet afgjort den 4. februar 2026.  </vt:lpstr>
      <vt:lpstr>Fritvalgstillæg 1.1.26</vt:lpstr>
      <vt:lpstr>Februar “Nyt fra TR I LFS”</vt:lpstr>
      <vt:lpstr>LFS Datoer 2026</vt:lpstr>
      <vt:lpstr>PowerPoint-præsentation</vt:lpstr>
      <vt:lpstr>medlemsmøde: Unge under 30 år og LFS</vt:lpstr>
      <vt:lpstr>PowerPoint-præsentation</vt:lpstr>
      <vt:lpstr>Dagsorden:</vt:lpstr>
      <vt:lpstr>Tak for i da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møde Frederiksberg</dc:title>
  <dc:creator>Emil Solvind</dc:creator>
  <cp:lastModifiedBy>Emil Solvind</cp:lastModifiedBy>
  <cp:revision>204</cp:revision>
  <cp:lastPrinted>2025-01-13T11:47:16Z</cp:lastPrinted>
  <dcterms:created xsi:type="dcterms:W3CDTF">2021-04-16T07:24:15Z</dcterms:created>
  <dcterms:modified xsi:type="dcterms:W3CDTF">2026-02-17T09:00:19Z</dcterms:modified>
</cp:coreProperties>
</file>